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slides/slide145.xml" ContentType="application/vnd.openxmlformats-officedocument.presentationml.slide+xml"/>
  <Override PartName="/ppt/slides/slide146.xml" ContentType="application/vnd.openxmlformats-officedocument.presentationml.slide+xml"/>
  <Override PartName="/ppt/slides/slide147.xml" ContentType="application/vnd.openxmlformats-officedocument.presentationml.slide+xml"/>
  <Override PartName="/ppt/slides/slide148.xml" ContentType="application/vnd.openxmlformats-officedocument.presentationml.slide+xml"/>
  <Override PartName="/ppt/slides/slide149.xml" ContentType="application/vnd.openxmlformats-officedocument.presentationml.slide+xml"/>
  <Override PartName="/ppt/slides/slide150.xml" ContentType="application/vnd.openxmlformats-officedocument.presentationml.slide+xml"/>
  <Override PartName="/ppt/slides/slide151.xml" ContentType="application/vnd.openxmlformats-officedocument.presentationml.slide+xml"/>
  <Override PartName="/ppt/slides/slide152.xml" ContentType="application/vnd.openxmlformats-officedocument.presentationml.slide+xml"/>
  <Override PartName="/ppt/slides/slide15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2.xml" ContentType="application/vnd.openxmlformats-officedocument.theme+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3.xml" ContentType="application/vnd.openxmlformats-officedocument.them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4.xml" ContentType="application/vnd.openxmlformats-officedocument.theme+xml"/>
  <Override PartName="/ppt/tags/tag19.xml" ContentType="application/vnd.openxmlformats-officedocument.presentationml.tags+xml"/>
  <Override PartName="/ppt/tags/tag20.xml" ContentType="application/vnd.openxmlformats-officedocument.presentationml.tags+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21.xml" ContentType="application/vnd.openxmlformats-officedocument.presentationml.tags+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1" r:id="rId1"/>
    <p:sldMasterId id="2147483866" r:id="rId2"/>
    <p:sldMasterId id="2147483838" r:id="rId3"/>
    <p:sldMasterId id="2147483858" r:id="rId4"/>
  </p:sldMasterIdLst>
  <p:notesMasterIdLst>
    <p:notesMasterId r:id="rId158"/>
  </p:notesMasterIdLst>
  <p:handoutMasterIdLst>
    <p:handoutMasterId r:id="rId159"/>
  </p:handoutMasterIdLst>
  <p:sldIdLst>
    <p:sldId id="256" r:id="rId5"/>
    <p:sldId id="265" r:id="rId6"/>
    <p:sldId id="296" r:id="rId7"/>
    <p:sldId id="297" r:id="rId8"/>
    <p:sldId id="298" r:id="rId9"/>
    <p:sldId id="303" r:id="rId10"/>
    <p:sldId id="279" r:id="rId11"/>
    <p:sldId id="304" r:id="rId12"/>
    <p:sldId id="302" r:id="rId13"/>
    <p:sldId id="305" r:id="rId14"/>
    <p:sldId id="306" r:id="rId15"/>
    <p:sldId id="320" r:id="rId16"/>
    <p:sldId id="316" r:id="rId17"/>
    <p:sldId id="299" r:id="rId18"/>
    <p:sldId id="308" r:id="rId19"/>
    <p:sldId id="309" r:id="rId20"/>
    <p:sldId id="310" r:id="rId21"/>
    <p:sldId id="311" r:id="rId22"/>
    <p:sldId id="312" r:id="rId23"/>
    <p:sldId id="313" r:id="rId24"/>
    <p:sldId id="314" r:id="rId25"/>
    <p:sldId id="317" r:id="rId26"/>
    <p:sldId id="315" r:id="rId27"/>
    <p:sldId id="324" r:id="rId28"/>
    <p:sldId id="325" r:id="rId29"/>
    <p:sldId id="318" r:id="rId30"/>
    <p:sldId id="319" r:id="rId31"/>
    <p:sldId id="326" r:id="rId32"/>
    <p:sldId id="327" r:id="rId33"/>
    <p:sldId id="321" r:id="rId34"/>
    <p:sldId id="342" r:id="rId35"/>
    <p:sldId id="323" r:id="rId36"/>
    <p:sldId id="328" r:id="rId37"/>
    <p:sldId id="329" r:id="rId38"/>
    <p:sldId id="351" r:id="rId39"/>
    <p:sldId id="331" r:id="rId40"/>
    <p:sldId id="332" r:id="rId41"/>
    <p:sldId id="333" r:id="rId42"/>
    <p:sldId id="350" r:id="rId43"/>
    <p:sldId id="335" r:id="rId44"/>
    <p:sldId id="336" r:id="rId45"/>
    <p:sldId id="337" r:id="rId46"/>
    <p:sldId id="349" r:id="rId47"/>
    <p:sldId id="339" r:id="rId48"/>
    <p:sldId id="340" r:id="rId49"/>
    <p:sldId id="341" r:id="rId50"/>
    <p:sldId id="348" r:id="rId51"/>
    <p:sldId id="343" r:id="rId52"/>
    <p:sldId id="344" r:id="rId53"/>
    <p:sldId id="345" r:id="rId54"/>
    <p:sldId id="346" r:id="rId55"/>
    <p:sldId id="356" r:id="rId56"/>
    <p:sldId id="357" r:id="rId57"/>
    <p:sldId id="358" r:id="rId58"/>
    <p:sldId id="359" r:id="rId59"/>
    <p:sldId id="388" r:id="rId60"/>
    <p:sldId id="389" r:id="rId61"/>
    <p:sldId id="390" r:id="rId62"/>
    <p:sldId id="391" r:id="rId63"/>
    <p:sldId id="384" r:id="rId64"/>
    <p:sldId id="385" r:id="rId65"/>
    <p:sldId id="386" r:id="rId66"/>
    <p:sldId id="387" r:id="rId67"/>
    <p:sldId id="380" r:id="rId68"/>
    <p:sldId id="381" r:id="rId69"/>
    <p:sldId id="382" r:id="rId70"/>
    <p:sldId id="383" r:id="rId71"/>
    <p:sldId id="376" r:id="rId72"/>
    <p:sldId id="377" r:id="rId73"/>
    <p:sldId id="378" r:id="rId74"/>
    <p:sldId id="379" r:id="rId75"/>
    <p:sldId id="372" r:id="rId76"/>
    <p:sldId id="373" r:id="rId77"/>
    <p:sldId id="374" r:id="rId78"/>
    <p:sldId id="375" r:id="rId79"/>
    <p:sldId id="368" r:id="rId80"/>
    <p:sldId id="369" r:id="rId81"/>
    <p:sldId id="370" r:id="rId82"/>
    <p:sldId id="371" r:id="rId83"/>
    <p:sldId id="364" r:id="rId84"/>
    <p:sldId id="365" r:id="rId85"/>
    <p:sldId id="366" r:id="rId86"/>
    <p:sldId id="367" r:id="rId87"/>
    <p:sldId id="360" r:id="rId88"/>
    <p:sldId id="361" r:id="rId89"/>
    <p:sldId id="362" r:id="rId90"/>
    <p:sldId id="363" r:id="rId91"/>
    <p:sldId id="392" r:id="rId92"/>
    <p:sldId id="393" r:id="rId93"/>
    <p:sldId id="396" r:id="rId94"/>
    <p:sldId id="395" r:id="rId95"/>
    <p:sldId id="426" r:id="rId96"/>
    <p:sldId id="427" r:id="rId97"/>
    <p:sldId id="428" r:id="rId98"/>
    <p:sldId id="398" r:id="rId99"/>
    <p:sldId id="399" r:id="rId100"/>
    <p:sldId id="400" r:id="rId101"/>
    <p:sldId id="401" r:id="rId102"/>
    <p:sldId id="402" r:id="rId103"/>
    <p:sldId id="403" r:id="rId104"/>
    <p:sldId id="404" r:id="rId105"/>
    <p:sldId id="405" r:id="rId106"/>
    <p:sldId id="406" r:id="rId107"/>
    <p:sldId id="407" r:id="rId108"/>
    <p:sldId id="408" r:id="rId109"/>
    <p:sldId id="429" r:id="rId110"/>
    <p:sldId id="434" r:id="rId111"/>
    <p:sldId id="430" r:id="rId112"/>
    <p:sldId id="431" r:id="rId113"/>
    <p:sldId id="432" r:id="rId114"/>
    <p:sldId id="433" r:id="rId115"/>
    <p:sldId id="435" r:id="rId116"/>
    <p:sldId id="437" r:id="rId117"/>
    <p:sldId id="436" r:id="rId118"/>
    <p:sldId id="409" r:id="rId119"/>
    <p:sldId id="438" r:id="rId120"/>
    <p:sldId id="439" r:id="rId121"/>
    <p:sldId id="410" r:id="rId122"/>
    <p:sldId id="411" r:id="rId123"/>
    <p:sldId id="412" r:id="rId124"/>
    <p:sldId id="445" r:id="rId125"/>
    <p:sldId id="446" r:id="rId126"/>
    <p:sldId id="447" r:id="rId127"/>
    <p:sldId id="414" r:id="rId128"/>
    <p:sldId id="415" r:id="rId129"/>
    <p:sldId id="416" r:id="rId130"/>
    <p:sldId id="455" r:id="rId131"/>
    <p:sldId id="449" r:id="rId132"/>
    <p:sldId id="457" r:id="rId133"/>
    <p:sldId id="456" r:id="rId134"/>
    <p:sldId id="452" r:id="rId135"/>
    <p:sldId id="450" r:id="rId136"/>
    <p:sldId id="458" r:id="rId137"/>
    <p:sldId id="454" r:id="rId138"/>
    <p:sldId id="459" r:id="rId139"/>
    <p:sldId id="418" r:id="rId140"/>
    <p:sldId id="419" r:id="rId141"/>
    <p:sldId id="420" r:id="rId142"/>
    <p:sldId id="421" r:id="rId143"/>
    <p:sldId id="422" r:id="rId144"/>
    <p:sldId id="423" r:id="rId145"/>
    <p:sldId id="424" r:id="rId146"/>
    <p:sldId id="425" r:id="rId147"/>
    <p:sldId id="440" r:id="rId148"/>
    <p:sldId id="441" r:id="rId149"/>
    <p:sldId id="442" r:id="rId150"/>
    <p:sldId id="443" r:id="rId151"/>
    <p:sldId id="273" r:id="rId152"/>
    <p:sldId id="274" r:id="rId153"/>
    <p:sldId id="277" r:id="rId154"/>
    <p:sldId id="276" r:id="rId155"/>
    <p:sldId id="300" r:id="rId156"/>
    <p:sldId id="285" r:id="rId157"/>
  </p:sldIdLst>
  <p:sldSz cx="12192000" cy="6858000"/>
  <p:notesSz cx="6858000" cy="9144000"/>
  <p:custDataLst>
    <p:tags r:id="rId160"/>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Sekcja domyślna" id="{63586DE7-2512-49E1-82B6-F9F471AF850F}">
          <p14:sldIdLst>
            <p14:sldId id="256"/>
            <p14:sldId id="265"/>
            <p14:sldId id="296"/>
            <p14:sldId id="297"/>
          </p14:sldIdLst>
        </p14:section>
        <p14:section name="Introduction" id="{B68239C8-BA4E-4881-8B2D-33796DFB5429}">
          <p14:sldIdLst>
            <p14:sldId id="298"/>
            <p14:sldId id="303"/>
            <p14:sldId id="279"/>
            <p14:sldId id="304"/>
            <p14:sldId id="302"/>
            <p14:sldId id="305"/>
            <p14:sldId id="306"/>
          </p14:sldIdLst>
        </p14:section>
        <p14:section name="What’s new in C# 7.1" id="{AA3AF807-62C4-45C5-BEDF-0CDE6447CACD}">
          <p14:sldIdLst>
            <p14:sldId id="320"/>
            <p14:sldId id="316"/>
            <p14:sldId id="299"/>
            <p14:sldId id="308"/>
            <p14:sldId id="309"/>
            <p14:sldId id="310"/>
            <p14:sldId id="311"/>
            <p14:sldId id="312"/>
            <p14:sldId id="313"/>
            <p14:sldId id="314"/>
            <p14:sldId id="317"/>
            <p14:sldId id="315"/>
            <p14:sldId id="324"/>
            <p14:sldId id="325"/>
            <p14:sldId id="318"/>
            <p14:sldId id="319"/>
            <p14:sldId id="326"/>
            <p14:sldId id="327"/>
          </p14:sldIdLst>
        </p14:section>
        <p14:section name="What’s new in C# 7.2" id="{D50DB775-3229-49E7-A924-2252477192C7}">
          <p14:sldIdLst>
            <p14:sldId id="321"/>
            <p14:sldId id="342"/>
            <p14:sldId id="323"/>
            <p14:sldId id="328"/>
            <p14:sldId id="329"/>
            <p14:sldId id="351"/>
            <p14:sldId id="331"/>
            <p14:sldId id="332"/>
            <p14:sldId id="333"/>
            <p14:sldId id="350"/>
            <p14:sldId id="335"/>
            <p14:sldId id="336"/>
            <p14:sldId id="337"/>
            <p14:sldId id="349"/>
            <p14:sldId id="339"/>
            <p14:sldId id="340"/>
            <p14:sldId id="341"/>
            <p14:sldId id="348"/>
            <p14:sldId id="343"/>
            <p14:sldId id="344"/>
            <p14:sldId id="345"/>
            <p14:sldId id="346"/>
            <p14:sldId id="356"/>
            <p14:sldId id="357"/>
            <p14:sldId id="358"/>
            <p14:sldId id="359"/>
            <p14:sldId id="388"/>
            <p14:sldId id="389"/>
            <p14:sldId id="390"/>
            <p14:sldId id="391"/>
            <p14:sldId id="384"/>
            <p14:sldId id="385"/>
            <p14:sldId id="386"/>
            <p14:sldId id="387"/>
            <p14:sldId id="380"/>
            <p14:sldId id="381"/>
            <p14:sldId id="382"/>
            <p14:sldId id="383"/>
            <p14:sldId id="376"/>
            <p14:sldId id="377"/>
            <p14:sldId id="378"/>
            <p14:sldId id="379"/>
            <p14:sldId id="372"/>
            <p14:sldId id="373"/>
            <p14:sldId id="374"/>
            <p14:sldId id="375"/>
            <p14:sldId id="368"/>
            <p14:sldId id="369"/>
            <p14:sldId id="370"/>
            <p14:sldId id="371"/>
            <p14:sldId id="364"/>
            <p14:sldId id="365"/>
            <p14:sldId id="366"/>
            <p14:sldId id="367"/>
            <p14:sldId id="360"/>
            <p14:sldId id="361"/>
            <p14:sldId id="362"/>
            <p14:sldId id="363"/>
          </p14:sldIdLst>
        </p14:section>
        <p14:section name="What's new in C# 8.0" id="{54970758-9D88-4D41-8B82-C2C94D2F0855}">
          <p14:sldIdLst>
            <p14:sldId id="392"/>
            <p14:sldId id="393"/>
            <p14:sldId id="396"/>
            <p14:sldId id="395"/>
            <p14:sldId id="426"/>
            <p14:sldId id="427"/>
            <p14:sldId id="428"/>
            <p14:sldId id="398"/>
            <p14:sldId id="399"/>
            <p14:sldId id="400"/>
            <p14:sldId id="401"/>
            <p14:sldId id="402"/>
            <p14:sldId id="403"/>
            <p14:sldId id="404"/>
            <p14:sldId id="405"/>
            <p14:sldId id="406"/>
            <p14:sldId id="407"/>
            <p14:sldId id="408"/>
            <p14:sldId id="429"/>
            <p14:sldId id="434"/>
            <p14:sldId id="430"/>
            <p14:sldId id="431"/>
            <p14:sldId id="432"/>
            <p14:sldId id="433"/>
            <p14:sldId id="435"/>
            <p14:sldId id="437"/>
            <p14:sldId id="436"/>
            <p14:sldId id="409"/>
            <p14:sldId id="438"/>
            <p14:sldId id="439"/>
            <p14:sldId id="410"/>
            <p14:sldId id="411"/>
            <p14:sldId id="412"/>
            <p14:sldId id="445"/>
            <p14:sldId id="446"/>
            <p14:sldId id="447"/>
            <p14:sldId id="414"/>
            <p14:sldId id="415"/>
            <p14:sldId id="416"/>
            <p14:sldId id="455"/>
            <p14:sldId id="449"/>
            <p14:sldId id="457"/>
            <p14:sldId id="456"/>
            <p14:sldId id="452"/>
            <p14:sldId id="450"/>
            <p14:sldId id="458"/>
            <p14:sldId id="454"/>
            <p14:sldId id="459"/>
            <p14:sldId id="418"/>
            <p14:sldId id="419"/>
            <p14:sldId id="420"/>
            <p14:sldId id="421"/>
            <p14:sldId id="422"/>
            <p14:sldId id="423"/>
            <p14:sldId id="424"/>
            <p14:sldId id="425"/>
            <p14:sldId id="440"/>
            <p14:sldId id="441"/>
            <p14:sldId id="442"/>
            <p14:sldId id="443"/>
            <p14:sldId id="273"/>
            <p14:sldId id="274"/>
            <p14:sldId id="277"/>
            <p14:sldId id="276"/>
            <p14:sldId id="300"/>
            <p14:sldId id="285"/>
          </p14:sldIdLst>
        </p14:section>
      </p14:sectionLst>
    </p:ext>
    <p:ext uri="{EFAFB233-063F-42B5-8137-9DF3F51BA10A}">
      <p15:sldGuideLst xmlns:p15="http://schemas.microsoft.com/office/powerpoint/2012/main">
        <p15:guide id="5" orient="horz" pos="2341" userDrawn="1">
          <p15:clr>
            <a:srgbClr val="A4A3A4"/>
          </p15:clr>
        </p15:guide>
        <p15:guide id="7" pos="3659"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Tomasz Strzałka" initials="TS" lastIdx="1" clrIdx="0">
    <p:extLst>
      <p:ext uri="{19B8F6BF-5375-455C-9EA6-DF929625EA0E}">
        <p15:presenceInfo xmlns:p15="http://schemas.microsoft.com/office/powerpoint/2012/main" userId="e6f75e599a2ed17f"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C2980"/>
    <a:srgbClr val="12ABDB"/>
    <a:srgbClr val="93E416"/>
    <a:srgbClr val="860864"/>
    <a:srgbClr val="00C37B"/>
    <a:srgbClr val="88D5ED"/>
    <a:srgbClr val="F5F5F5"/>
    <a:srgbClr val="FE304C"/>
    <a:srgbClr val="FF7E83"/>
    <a:srgbClr val="C8FF1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Styl pośredni 2 — Ak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6196" autoAdjust="0"/>
    <p:restoredTop sz="88153" autoAdjust="0"/>
  </p:normalViewPr>
  <p:slideViewPr>
    <p:cSldViewPr>
      <p:cViewPr>
        <p:scale>
          <a:sx n="100" d="100"/>
          <a:sy n="100" d="100"/>
        </p:scale>
        <p:origin x="924" y="120"/>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p:cViewPr varScale="1">
        <p:scale>
          <a:sx n="88" d="100"/>
          <a:sy n="88" d="100"/>
        </p:scale>
        <p:origin x="3822" y="84"/>
      </p:cViewPr>
      <p:guideLst/>
    </p:cSldViewPr>
  </p:notes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117" Type="http://schemas.openxmlformats.org/officeDocument/2006/relationships/slide" Target="slides/slide113.xml"/><Relationship Id="rId21" Type="http://schemas.openxmlformats.org/officeDocument/2006/relationships/slide" Target="slides/slide17.xml"/><Relationship Id="rId42" Type="http://schemas.openxmlformats.org/officeDocument/2006/relationships/slide" Target="slides/slide38.xml"/><Relationship Id="rId47" Type="http://schemas.openxmlformats.org/officeDocument/2006/relationships/slide" Target="slides/slide43.xml"/><Relationship Id="rId63" Type="http://schemas.openxmlformats.org/officeDocument/2006/relationships/slide" Target="slides/slide59.xml"/><Relationship Id="rId68" Type="http://schemas.openxmlformats.org/officeDocument/2006/relationships/slide" Target="slides/slide64.xml"/><Relationship Id="rId84" Type="http://schemas.openxmlformats.org/officeDocument/2006/relationships/slide" Target="slides/slide80.xml"/><Relationship Id="rId89" Type="http://schemas.openxmlformats.org/officeDocument/2006/relationships/slide" Target="slides/slide85.xml"/><Relationship Id="rId112" Type="http://schemas.openxmlformats.org/officeDocument/2006/relationships/slide" Target="slides/slide108.xml"/><Relationship Id="rId133" Type="http://schemas.openxmlformats.org/officeDocument/2006/relationships/slide" Target="slides/slide129.xml"/><Relationship Id="rId138" Type="http://schemas.openxmlformats.org/officeDocument/2006/relationships/slide" Target="slides/slide134.xml"/><Relationship Id="rId154" Type="http://schemas.openxmlformats.org/officeDocument/2006/relationships/slide" Target="slides/slide150.xml"/><Relationship Id="rId159" Type="http://schemas.openxmlformats.org/officeDocument/2006/relationships/handoutMaster" Target="handoutMasters/handoutMaster1.xml"/><Relationship Id="rId16" Type="http://schemas.openxmlformats.org/officeDocument/2006/relationships/slide" Target="slides/slide12.xml"/><Relationship Id="rId107" Type="http://schemas.openxmlformats.org/officeDocument/2006/relationships/slide" Target="slides/slide103.xml"/><Relationship Id="rId11" Type="http://schemas.openxmlformats.org/officeDocument/2006/relationships/slide" Target="slides/slide7.xml"/><Relationship Id="rId32" Type="http://schemas.openxmlformats.org/officeDocument/2006/relationships/slide" Target="slides/slide28.xml"/><Relationship Id="rId37" Type="http://schemas.openxmlformats.org/officeDocument/2006/relationships/slide" Target="slides/slide33.xml"/><Relationship Id="rId53" Type="http://schemas.openxmlformats.org/officeDocument/2006/relationships/slide" Target="slides/slide49.xml"/><Relationship Id="rId58" Type="http://schemas.openxmlformats.org/officeDocument/2006/relationships/slide" Target="slides/slide54.xml"/><Relationship Id="rId74" Type="http://schemas.openxmlformats.org/officeDocument/2006/relationships/slide" Target="slides/slide70.xml"/><Relationship Id="rId79" Type="http://schemas.openxmlformats.org/officeDocument/2006/relationships/slide" Target="slides/slide75.xml"/><Relationship Id="rId102" Type="http://schemas.openxmlformats.org/officeDocument/2006/relationships/slide" Target="slides/slide98.xml"/><Relationship Id="rId123" Type="http://schemas.openxmlformats.org/officeDocument/2006/relationships/slide" Target="slides/slide119.xml"/><Relationship Id="rId128" Type="http://schemas.openxmlformats.org/officeDocument/2006/relationships/slide" Target="slides/slide124.xml"/><Relationship Id="rId144" Type="http://schemas.openxmlformats.org/officeDocument/2006/relationships/slide" Target="slides/slide140.xml"/><Relationship Id="rId149" Type="http://schemas.openxmlformats.org/officeDocument/2006/relationships/slide" Target="slides/slide145.xml"/><Relationship Id="rId5" Type="http://schemas.openxmlformats.org/officeDocument/2006/relationships/slide" Target="slides/slide1.xml"/><Relationship Id="rId90" Type="http://schemas.openxmlformats.org/officeDocument/2006/relationships/slide" Target="slides/slide86.xml"/><Relationship Id="rId95" Type="http://schemas.openxmlformats.org/officeDocument/2006/relationships/slide" Target="slides/slide91.xml"/><Relationship Id="rId160" Type="http://schemas.openxmlformats.org/officeDocument/2006/relationships/tags" Target="tags/tag1.xml"/><Relationship Id="rId165" Type="http://schemas.openxmlformats.org/officeDocument/2006/relationships/tableStyles" Target="tableStyles.xml"/><Relationship Id="rId22" Type="http://schemas.openxmlformats.org/officeDocument/2006/relationships/slide" Target="slides/slide18.xml"/><Relationship Id="rId27" Type="http://schemas.openxmlformats.org/officeDocument/2006/relationships/slide" Target="slides/slide23.xml"/><Relationship Id="rId43" Type="http://schemas.openxmlformats.org/officeDocument/2006/relationships/slide" Target="slides/slide39.xml"/><Relationship Id="rId48" Type="http://schemas.openxmlformats.org/officeDocument/2006/relationships/slide" Target="slides/slide44.xml"/><Relationship Id="rId64" Type="http://schemas.openxmlformats.org/officeDocument/2006/relationships/slide" Target="slides/slide60.xml"/><Relationship Id="rId69" Type="http://schemas.openxmlformats.org/officeDocument/2006/relationships/slide" Target="slides/slide65.xml"/><Relationship Id="rId113" Type="http://schemas.openxmlformats.org/officeDocument/2006/relationships/slide" Target="slides/slide109.xml"/><Relationship Id="rId118" Type="http://schemas.openxmlformats.org/officeDocument/2006/relationships/slide" Target="slides/slide114.xml"/><Relationship Id="rId134" Type="http://schemas.openxmlformats.org/officeDocument/2006/relationships/slide" Target="slides/slide130.xml"/><Relationship Id="rId139" Type="http://schemas.openxmlformats.org/officeDocument/2006/relationships/slide" Target="slides/slide135.xml"/><Relationship Id="rId80" Type="http://schemas.openxmlformats.org/officeDocument/2006/relationships/slide" Target="slides/slide76.xml"/><Relationship Id="rId85" Type="http://schemas.openxmlformats.org/officeDocument/2006/relationships/slide" Target="slides/slide81.xml"/><Relationship Id="rId150" Type="http://schemas.openxmlformats.org/officeDocument/2006/relationships/slide" Target="slides/slide146.xml"/><Relationship Id="rId155" Type="http://schemas.openxmlformats.org/officeDocument/2006/relationships/slide" Target="slides/slide151.xml"/><Relationship Id="rId12" Type="http://schemas.openxmlformats.org/officeDocument/2006/relationships/slide" Target="slides/slide8.xml"/><Relationship Id="rId17" Type="http://schemas.openxmlformats.org/officeDocument/2006/relationships/slide" Target="slides/slide13.xml"/><Relationship Id="rId33" Type="http://schemas.openxmlformats.org/officeDocument/2006/relationships/slide" Target="slides/slide29.xml"/><Relationship Id="rId38" Type="http://schemas.openxmlformats.org/officeDocument/2006/relationships/slide" Target="slides/slide34.xml"/><Relationship Id="rId59" Type="http://schemas.openxmlformats.org/officeDocument/2006/relationships/slide" Target="slides/slide55.xml"/><Relationship Id="rId103" Type="http://schemas.openxmlformats.org/officeDocument/2006/relationships/slide" Target="slides/slide99.xml"/><Relationship Id="rId108" Type="http://schemas.openxmlformats.org/officeDocument/2006/relationships/slide" Target="slides/slide104.xml"/><Relationship Id="rId124" Type="http://schemas.openxmlformats.org/officeDocument/2006/relationships/slide" Target="slides/slide120.xml"/><Relationship Id="rId129" Type="http://schemas.openxmlformats.org/officeDocument/2006/relationships/slide" Target="slides/slide125.xml"/><Relationship Id="rId54" Type="http://schemas.openxmlformats.org/officeDocument/2006/relationships/slide" Target="slides/slide50.xml"/><Relationship Id="rId70" Type="http://schemas.openxmlformats.org/officeDocument/2006/relationships/slide" Target="slides/slide66.xml"/><Relationship Id="rId75" Type="http://schemas.openxmlformats.org/officeDocument/2006/relationships/slide" Target="slides/slide71.xml"/><Relationship Id="rId91" Type="http://schemas.openxmlformats.org/officeDocument/2006/relationships/slide" Target="slides/slide87.xml"/><Relationship Id="rId96" Type="http://schemas.openxmlformats.org/officeDocument/2006/relationships/slide" Target="slides/slide92.xml"/><Relationship Id="rId140" Type="http://schemas.openxmlformats.org/officeDocument/2006/relationships/slide" Target="slides/slide136.xml"/><Relationship Id="rId145" Type="http://schemas.openxmlformats.org/officeDocument/2006/relationships/slide" Target="slides/slide141.xml"/><Relationship Id="rId161" Type="http://schemas.openxmlformats.org/officeDocument/2006/relationships/commentAuthors" Target="commentAuthors.xml"/><Relationship Id="rId1" Type="http://schemas.openxmlformats.org/officeDocument/2006/relationships/slideMaster" Target="slideMasters/slideMaster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6" Type="http://schemas.openxmlformats.org/officeDocument/2006/relationships/slide" Target="slides/slide102.xml"/><Relationship Id="rId114" Type="http://schemas.openxmlformats.org/officeDocument/2006/relationships/slide" Target="slides/slide110.xml"/><Relationship Id="rId119" Type="http://schemas.openxmlformats.org/officeDocument/2006/relationships/slide" Target="slides/slide115.xml"/><Relationship Id="rId127" Type="http://schemas.openxmlformats.org/officeDocument/2006/relationships/slide" Target="slides/slide123.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slide" Target="slides/slide61.xml"/><Relationship Id="rId73" Type="http://schemas.openxmlformats.org/officeDocument/2006/relationships/slide" Target="slides/slide69.xml"/><Relationship Id="rId78" Type="http://schemas.openxmlformats.org/officeDocument/2006/relationships/slide" Target="slides/slide74.xml"/><Relationship Id="rId81" Type="http://schemas.openxmlformats.org/officeDocument/2006/relationships/slide" Target="slides/slide77.xml"/><Relationship Id="rId86" Type="http://schemas.openxmlformats.org/officeDocument/2006/relationships/slide" Target="slides/slide82.xml"/><Relationship Id="rId94" Type="http://schemas.openxmlformats.org/officeDocument/2006/relationships/slide" Target="slides/slide90.xml"/><Relationship Id="rId99" Type="http://schemas.openxmlformats.org/officeDocument/2006/relationships/slide" Target="slides/slide95.xml"/><Relationship Id="rId101" Type="http://schemas.openxmlformats.org/officeDocument/2006/relationships/slide" Target="slides/slide97.xml"/><Relationship Id="rId122" Type="http://schemas.openxmlformats.org/officeDocument/2006/relationships/slide" Target="slides/slide118.xml"/><Relationship Id="rId130" Type="http://schemas.openxmlformats.org/officeDocument/2006/relationships/slide" Target="slides/slide126.xml"/><Relationship Id="rId135" Type="http://schemas.openxmlformats.org/officeDocument/2006/relationships/slide" Target="slides/slide131.xml"/><Relationship Id="rId143" Type="http://schemas.openxmlformats.org/officeDocument/2006/relationships/slide" Target="slides/slide139.xml"/><Relationship Id="rId148" Type="http://schemas.openxmlformats.org/officeDocument/2006/relationships/slide" Target="slides/slide144.xml"/><Relationship Id="rId151" Type="http://schemas.openxmlformats.org/officeDocument/2006/relationships/slide" Target="slides/slide147.xml"/><Relationship Id="rId156" Type="http://schemas.openxmlformats.org/officeDocument/2006/relationships/slide" Target="slides/slide152.xml"/><Relationship Id="rId164" Type="http://schemas.openxmlformats.org/officeDocument/2006/relationships/theme" Target="theme/theme1.xml"/><Relationship Id="rId4" Type="http://schemas.openxmlformats.org/officeDocument/2006/relationships/slideMaster" Target="slideMasters/slideMaster4.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 Id="rId109" Type="http://schemas.openxmlformats.org/officeDocument/2006/relationships/slide" Target="slides/slide105.xml"/><Relationship Id="rId34" Type="http://schemas.openxmlformats.org/officeDocument/2006/relationships/slide" Target="slides/slide30.xml"/><Relationship Id="rId50" Type="http://schemas.openxmlformats.org/officeDocument/2006/relationships/slide" Target="slides/slide46.xml"/><Relationship Id="rId55" Type="http://schemas.openxmlformats.org/officeDocument/2006/relationships/slide" Target="slides/slide51.xml"/><Relationship Id="rId76" Type="http://schemas.openxmlformats.org/officeDocument/2006/relationships/slide" Target="slides/slide72.xml"/><Relationship Id="rId97" Type="http://schemas.openxmlformats.org/officeDocument/2006/relationships/slide" Target="slides/slide93.xml"/><Relationship Id="rId104" Type="http://schemas.openxmlformats.org/officeDocument/2006/relationships/slide" Target="slides/slide100.xml"/><Relationship Id="rId120" Type="http://schemas.openxmlformats.org/officeDocument/2006/relationships/slide" Target="slides/slide116.xml"/><Relationship Id="rId125" Type="http://schemas.openxmlformats.org/officeDocument/2006/relationships/slide" Target="slides/slide121.xml"/><Relationship Id="rId141" Type="http://schemas.openxmlformats.org/officeDocument/2006/relationships/slide" Target="slides/slide137.xml"/><Relationship Id="rId146" Type="http://schemas.openxmlformats.org/officeDocument/2006/relationships/slide" Target="slides/slide142.xml"/><Relationship Id="rId7" Type="http://schemas.openxmlformats.org/officeDocument/2006/relationships/slide" Target="slides/slide3.xml"/><Relationship Id="rId71" Type="http://schemas.openxmlformats.org/officeDocument/2006/relationships/slide" Target="slides/slide67.xml"/><Relationship Id="rId92" Type="http://schemas.openxmlformats.org/officeDocument/2006/relationships/slide" Target="slides/slide88.xml"/><Relationship Id="rId162" Type="http://schemas.openxmlformats.org/officeDocument/2006/relationships/presProps" Target="presProps.xml"/><Relationship Id="rId2" Type="http://schemas.openxmlformats.org/officeDocument/2006/relationships/slideMaster" Target="slideMasters/slideMaster2.xml"/><Relationship Id="rId29" Type="http://schemas.openxmlformats.org/officeDocument/2006/relationships/slide" Target="slides/slide25.xml"/><Relationship Id="rId24" Type="http://schemas.openxmlformats.org/officeDocument/2006/relationships/slide" Target="slides/slide20.xml"/><Relationship Id="rId40" Type="http://schemas.openxmlformats.org/officeDocument/2006/relationships/slide" Target="slides/slide36.xml"/><Relationship Id="rId45" Type="http://schemas.openxmlformats.org/officeDocument/2006/relationships/slide" Target="slides/slide41.xml"/><Relationship Id="rId66" Type="http://schemas.openxmlformats.org/officeDocument/2006/relationships/slide" Target="slides/slide62.xml"/><Relationship Id="rId87" Type="http://schemas.openxmlformats.org/officeDocument/2006/relationships/slide" Target="slides/slide83.xml"/><Relationship Id="rId110" Type="http://schemas.openxmlformats.org/officeDocument/2006/relationships/slide" Target="slides/slide106.xml"/><Relationship Id="rId115" Type="http://schemas.openxmlformats.org/officeDocument/2006/relationships/slide" Target="slides/slide111.xml"/><Relationship Id="rId131" Type="http://schemas.openxmlformats.org/officeDocument/2006/relationships/slide" Target="slides/slide127.xml"/><Relationship Id="rId136" Type="http://schemas.openxmlformats.org/officeDocument/2006/relationships/slide" Target="slides/slide132.xml"/><Relationship Id="rId157" Type="http://schemas.openxmlformats.org/officeDocument/2006/relationships/slide" Target="slides/slide153.xml"/><Relationship Id="rId61" Type="http://schemas.openxmlformats.org/officeDocument/2006/relationships/slide" Target="slides/slide57.xml"/><Relationship Id="rId82" Type="http://schemas.openxmlformats.org/officeDocument/2006/relationships/slide" Target="slides/slide78.xml"/><Relationship Id="rId152" Type="http://schemas.openxmlformats.org/officeDocument/2006/relationships/slide" Target="slides/slide148.xml"/><Relationship Id="rId19" Type="http://schemas.openxmlformats.org/officeDocument/2006/relationships/slide" Target="slides/slide15.xml"/><Relationship Id="rId14" Type="http://schemas.openxmlformats.org/officeDocument/2006/relationships/slide" Target="slides/slide10.xml"/><Relationship Id="rId30" Type="http://schemas.openxmlformats.org/officeDocument/2006/relationships/slide" Target="slides/slide26.xml"/><Relationship Id="rId35" Type="http://schemas.openxmlformats.org/officeDocument/2006/relationships/slide" Target="slides/slide31.xml"/><Relationship Id="rId56" Type="http://schemas.openxmlformats.org/officeDocument/2006/relationships/slide" Target="slides/slide52.xml"/><Relationship Id="rId77" Type="http://schemas.openxmlformats.org/officeDocument/2006/relationships/slide" Target="slides/slide73.xml"/><Relationship Id="rId100" Type="http://schemas.openxmlformats.org/officeDocument/2006/relationships/slide" Target="slides/slide96.xml"/><Relationship Id="rId105" Type="http://schemas.openxmlformats.org/officeDocument/2006/relationships/slide" Target="slides/slide101.xml"/><Relationship Id="rId126" Type="http://schemas.openxmlformats.org/officeDocument/2006/relationships/slide" Target="slides/slide122.xml"/><Relationship Id="rId147" Type="http://schemas.openxmlformats.org/officeDocument/2006/relationships/slide" Target="slides/slide143.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slide" Target="slides/slide68.xml"/><Relationship Id="rId93" Type="http://schemas.openxmlformats.org/officeDocument/2006/relationships/slide" Target="slides/slide89.xml"/><Relationship Id="rId98" Type="http://schemas.openxmlformats.org/officeDocument/2006/relationships/slide" Target="slides/slide94.xml"/><Relationship Id="rId121" Type="http://schemas.openxmlformats.org/officeDocument/2006/relationships/slide" Target="slides/slide117.xml"/><Relationship Id="rId142" Type="http://schemas.openxmlformats.org/officeDocument/2006/relationships/slide" Target="slides/slide138.xml"/><Relationship Id="rId163" Type="http://schemas.openxmlformats.org/officeDocument/2006/relationships/viewProps" Target="viewProps.xml"/><Relationship Id="rId3" Type="http://schemas.openxmlformats.org/officeDocument/2006/relationships/slideMaster" Target="slideMasters/slideMaster3.xml"/><Relationship Id="rId25" Type="http://schemas.openxmlformats.org/officeDocument/2006/relationships/slide" Target="slides/slide21.xml"/><Relationship Id="rId46" Type="http://schemas.openxmlformats.org/officeDocument/2006/relationships/slide" Target="slides/slide42.xml"/><Relationship Id="rId67" Type="http://schemas.openxmlformats.org/officeDocument/2006/relationships/slide" Target="slides/slide63.xml"/><Relationship Id="rId116" Type="http://schemas.openxmlformats.org/officeDocument/2006/relationships/slide" Target="slides/slide112.xml"/><Relationship Id="rId137" Type="http://schemas.openxmlformats.org/officeDocument/2006/relationships/slide" Target="slides/slide133.xml"/><Relationship Id="rId158" Type="http://schemas.openxmlformats.org/officeDocument/2006/relationships/notesMaster" Target="notesMasters/notesMaster1.xml"/><Relationship Id="rId20" Type="http://schemas.openxmlformats.org/officeDocument/2006/relationships/slide" Target="slides/slide16.xml"/><Relationship Id="rId41" Type="http://schemas.openxmlformats.org/officeDocument/2006/relationships/slide" Target="slides/slide37.xml"/><Relationship Id="rId62" Type="http://schemas.openxmlformats.org/officeDocument/2006/relationships/slide" Target="slides/slide58.xml"/><Relationship Id="rId83" Type="http://schemas.openxmlformats.org/officeDocument/2006/relationships/slide" Target="slides/slide79.xml"/><Relationship Id="rId88" Type="http://schemas.openxmlformats.org/officeDocument/2006/relationships/slide" Target="slides/slide84.xml"/><Relationship Id="rId111" Type="http://schemas.openxmlformats.org/officeDocument/2006/relationships/slide" Target="slides/slide107.xml"/><Relationship Id="rId132" Type="http://schemas.openxmlformats.org/officeDocument/2006/relationships/slide" Target="slides/slide128.xml"/><Relationship Id="rId153" Type="http://schemas.openxmlformats.org/officeDocument/2006/relationships/slide" Target="slides/slide149.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DEA4E65F-6A4F-4EB5-A74C-FADEA244AA6B}" type="doc">
      <dgm:prSet loTypeId="urn:microsoft.com/office/officeart/2005/8/layout/chevron1" loCatId="process" qsTypeId="urn:microsoft.com/office/officeart/2005/8/quickstyle/simple1" qsCatId="simple" csTypeId="urn:microsoft.com/office/officeart/2005/8/colors/accent1_2" csCatId="accent1" phldr="1"/>
      <dgm:spPr/>
    </dgm:pt>
    <dgm:pt modelId="{DCD4FCDF-E313-460F-8DAD-347636A5583F}">
      <dgm:prSet phldrT="[Text]" custT="1"/>
      <dgm:spPr>
        <a:solidFill>
          <a:srgbClr val="909090"/>
        </a:solidFill>
        <a:ln>
          <a:noFill/>
        </a:ln>
      </dgm:spPr>
      <dgm:t>
        <a:bodyPr/>
        <a:lstStyle/>
        <a:p>
          <a:r>
            <a:rPr lang="en-US" sz="1200" dirty="0"/>
            <a:t>1</a:t>
          </a:r>
        </a:p>
      </dgm:t>
    </dgm:pt>
    <dgm:pt modelId="{78DFE2C1-B7D0-4095-A24E-F3525B08BB14}" type="parTrans" cxnId="{561870F2-3231-4CC4-9CA0-6C12D3957F60}">
      <dgm:prSet/>
      <dgm:spPr/>
      <dgm:t>
        <a:bodyPr/>
        <a:lstStyle/>
        <a:p>
          <a:endParaRPr lang="en-US" sz="1200"/>
        </a:p>
      </dgm:t>
    </dgm:pt>
    <dgm:pt modelId="{4683D5E5-987E-41ED-AFC8-423AAA111372}" type="sibTrans" cxnId="{561870F2-3231-4CC4-9CA0-6C12D3957F60}">
      <dgm:prSet/>
      <dgm:spPr/>
      <dgm:t>
        <a:bodyPr/>
        <a:lstStyle/>
        <a:p>
          <a:endParaRPr lang="en-US" sz="1200"/>
        </a:p>
      </dgm:t>
    </dgm:pt>
    <dgm:pt modelId="{812EE15D-26CC-47B4-A54A-14B3175E4372}">
      <dgm:prSet phldrT="[Text]" custT="1"/>
      <dgm:spPr>
        <a:solidFill>
          <a:srgbClr val="909090"/>
        </a:solidFill>
        <a:ln>
          <a:noFill/>
        </a:ln>
      </dgm:spPr>
      <dgm:t>
        <a:bodyPr/>
        <a:lstStyle/>
        <a:p>
          <a:r>
            <a:rPr lang="en-US" sz="1200" dirty="0"/>
            <a:t>2</a:t>
          </a:r>
        </a:p>
      </dgm:t>
    </dgm:pt>
    <dgm:pt modelId="{640A1614-F681-40D5-AFBD-BF9D541ABA0C}" type="parTrans" cxnId="{683C22EB-5176-4A8F-8F48-E83B15A11855}">
      <dgm:prSet/>
      <dgm:spPr/>
      <dgm:t>
        <a:bodyPr/>
        <a:lstStyle/>
        <a:p>
          <a:endParaRPr lang="en-US" sz="1200"/>
        </a:p>
      </dgm:t>
    </dgm:pt>
    <dgm:pt modelId="{CB394813-21B6-4BF9-B903-2ABBF146C78A}" type="sibTrans" cxnId="{683C22EB-5176-4A8F-8F48-E83B15A11855}">
      <dgm:prSet/>
      <dgm:spPr/>
      <dgm:t>
        <a:bodyPr/>
        <a:lstStyle/>
        <a:p>
          <a:endParaRPr lang="en-US" sz="1200"/>
        </a:p>
      </dgm:t>
    </dgm:pt>
    <dgm:pt modelId="{10C17986-FB66-44F1-9FDA-06F32EBD1A71}">
      <dgm:prSet phldrT="[Text]" custT="1"/>
      <dgm:spPr>
        <a:solidFill>
          <a:srgbClr val="909090"/>
        </a:solidFill>
        <a:ln>
          <a:noFill/>
        </a:ln>
      </dgm:spPr>
      <dgm:t>
        <a:bodyPr/>
        <a:lstStyle/>
        <a:p>
          <a:r>
            <a:rPr lang="en-US" sz="1200" dirty="0"/>
            <a:t>3</a:t>
          </a:r>
        </a:p>
      </dgm:t>
    </dgm:pt>
    <dgm:pt modelId="{D808421F-3C65-4E06-8D48-18D079AF744A}" type="parTrans" cxnId="{567128AC-5F36-4ED3-A3AA-64A288534820}">
      <dgm:prSet/>
      <dgm:spPr/>
      <dgm:t>
        <a:bodyPr/>
        <a:lstStyle/>
        <a:p>
          <a:endParaRPr lang="en-US" sz="1200"/>
        </a:p>
      </dgm:t>
    </dgm:pt>
    <dgm:pt modelId="{01890D2E-2FCC-470F-A5F2-5E3D3EB6C611}" type="sibTrans" cxnId="{567128AC-5F36-4ED3-A3AA-64A288534820}">
      <dgm:prSet/>
      <dgm:spPr/>
      <dgm:t>
        <a:bodyPr/>
        <a:lstStyle/>
        <a:p>
          <a:endParaRPr lang="en-US" sz="1200"/>
        </a:p>
      </dgm:t>
    </dgm:pt>
    <dgm:pt modelId="{6A2BAF1A-3266-471C-87EC-1024EB2CD399}">
      <dgm:prSet phldrT="[Text]" custT="1"/>
      <dgm:spPr>
        <a:solidFill>
          <a:srgbClr val="909090"/>
        </a:solidFill>
        <a:ln>
          <a:noFill/>
        </a:ln>
      </dgm:spPr>
      <dgm:t>
        <a:bodyPr/>
        <a:lstStyle/>
        <a:p>
          <a:r>
            <a:rPr lang="en-US" sz="1200" dirty="0"/>
            <a:t>4</a:t>
          </a:r>
        </a:p>
      </dgm:t>
    </dgm:pt>
    <dgm:pt modelId="{99DB6D02-C583-43A8-8E2C-17ACC5A3A80F}" type="parTrans" cxnId="{D5038DAA-1A66-4E38-B66A-9F0E87818C88}">
      <dgm:prSet/>
      <dgm:spPr/>
      <dgm:t>
        <a:bodyPr/>
        <a:lstStyle/>
        <a:p>
          <a:endParaRPr lang="en-US" sz="1200"/>
        </a:p>
      </dgm:t>
    </dgm:pt>
    <dgm:pt modelId="{D58E27F2-2AD4-44A0-A375-8CF9A03F161B}" type="sibTrans" cxnId="{D5038DAA-1A66-4E38-B66A-9F0E87818C88}">
      <dgm:prSet/>
      <dgm:spPr/>
      <dgm:t>
        <a:bodyPr/>
        <a:lstStyle/>
        <a:p>
          <a:endParaRPr lang="en-US" sz="1200"/>
        </a:p>
      </dgm:t>
    </dgm:pt>
    <dgm:pt modelId="{8E47EE55-D025-438A-AAE6-75F9AF66618D}">
      <dgm:prSet phldrT="[Text]" custT="1"/>
      <dgm:spPr>
        <a:solidFill>
          <a:srgbClr val="909090"/>
        </a:solidFill>
        <a:ln>
          <a:noFill/>
        </a:ln>
      </dgm:spPr>
      <dgm:t>
        <a:bodyPr/>
        <a:lstStyle/>
        <a:p>
          <a:r>
            <a:rPr lang="en-US" sz="1200" dirty="0"/>
            <a:t>5</a:t>
          </a:r>
        </a:p>
      </dgm:t>
    </dgm:pt>
    <dgm:pt modelId="{4EF0B2FC-576A-4A4E-8A56-EB17272369B0}" type="parTrans" cxnId="{D1E16B60-334C-40A3-9F2B-9DA513D049B4}">
      <dgm:prSet/>
      <dgm:spPr/>
      <dgm:t>
        <a:bodyPr/>
        <a:lstStyle/>
        <a:p>
          <a:endParaRPr lang="en-US" sz="1200"/>
        </a:p>
      </dgm:t>
    </dgm:pt>
    <dgm:pt modelId="{277ADFB8-6234-4BB1-A67A-2E528B964EE6}" type="sibTrans" cxnId="{D1E16B60-334C-40A3-9F2B-9DA513D049B4}">
      <dgm:prSet/>
      <dgm:spPr/>
      <dgm:t>
        <a:bodyPr/>
        <a:lstStyle/>
        <a:p>
          <a:endParaRPr lang="en-US" sz="1200"/>
        </a:p>
      </dgm:t>
    </dgm:pt>
    <dgm:pt modelId="{C56D219E-55E4-4253-ACF0-FFBEA46ED886}">
      <dgm:prSet phldrT="[Text]" custT="1"/>
      <dgm:spPr>
        <a:solidFill>
          <a:srgbClr val="909090"/>
        </a:solidFill>
        <a:ln>
          <a:noFill/>
        </a:ln>
      </dgm:spPr>
      <dgm:t>
        <a:bodyPr/>
        <a:lstStyle/>
        <a:p>
          <a:r>
            <a:rPr lang="en-US" sz="1200" dirty="0"/>
            <a:t>6</a:t>
          </a:r>
        </a:p>
      </dgm:t>
    </dgm:pt>
    <dgm:pt modelId="{39F8EB1D-AA99-4E52-B360-A23B3D142885}" type="parTrans" cxnId="{CC049CE0-A6F9-4D0D-BA14-07C238F5887E}">
      <dgm:prSet/>
      <dgm:spPr/>
      <dgm:t>
        <a:bodyPr/>
        <a:lstStyle/>
        <a:p>
          <a:endParaRPr lang="en-US" sz="1200"/>
        </a:p>
      </dgm:t>
    </dgm:pt>
    <dgm:pt modelId="{FD005A4B-AA23-4BC2-87CA-3AF94A4C7A55}" type="sibTrans" cxnId="{CC049CE0-A6F9-4D0D-BA14-07C238F5887E}">
      <dgm:prSet/>
      <dgm:spPr/>
      <dgm:t>
        <a:bodyPr/>
        <a:lstStyle/>
        <a:p>
          <a:endParaRPr lang="en-US" sz="1200"/>
        </a:p>
      </dgm:t>
    </dgm:pt>
    <dgm:pt modelId="{CD8E970A-2DE3-41FE-9EFC-957169F5AC58}">
      <dgm:prSet phldrT="[Text]" custT="1"/>
      <dgm:spPr>
        <a:solidFill>
          <a:srgbClr val="909090"/>
        </a:solidFill>
        <a:ln>
          <a:noFill/>
        </a:ln>
      </dgm:spPr>
      <dgm:t>
        <a:bodyPr/>
        <a:lstStyle/>
        <a:p>
          <a:r>
            <a:rPr lang="en-US" sz="1200" dirty="0"/>
            <a:t>7</a:t>
          </a:r>
        </a:p>
      </dgm:t>
    </dgm:pt>
    <dgm:pt modelId="{A80D56DA-6F32-4BB5-9110-859358ADD801}" type="parTrans" cxnId="{FD5A4F48-648E-4728-B845-3CAB1983E934}">
      <dgm:prSet/>
      <dgm:spPr/>
      <dgm:t>
        <a:bodyPr/>
        <a:lstStyle/>
        <a:p>
          <a:endParaRPr lang="en-US" sz="1200"/>
        </a:p>
      </dgm:t>
    </dgm:pt>
    <dgm:pt modelId="{50B9E4CB-087E-4BD4-8655-182FE10816A7}" type="sibTrans" cxnId="{FD5A4F48-648E-4728-B845-3CAB1983E934}">
      <dgm:prSet/>
      <dgm:spPr/>
      <dgm:t>
        <a:bodyPr/>
        <a:lstStyle/>
        <a:p>
          <a:endParaRPr lang="en-US" sz="1200"/>
        </a:p>
      </dgm:t>
    </dgm:pt>
    <dgm:pt modelId="{C7AB93FB-007C-4A3D-9A37-884AFA217472}">
      <dgm:prSet phldrT="[Text]" custT="1"/>
      <dgm:spPr>
        <a:solidFill>
          <a:srgbClr val="909090"/>
        </a:solidFill>
        <a:ln>
          <a:noFill/>
        </a:ln>
      </dgm:spPr>
      <dgm:t>
        <a:bodyPr/>
        <a:lstStyle/>
        <a:p>
          <a:r>
            <a:rPr lang="en-US" sz="1200" dirty="0"/>
            <a:t>8</a:t>
          </a:r>
        </a:p>
      </dgm:t>
    </dgm:pt>
    <dgm:pt modelId="{D296447F-614F-4E79-AF74-8B6B0D4D1B79}" type="parTrans" cxnId="{B78DDB4C-EE44-482A-A1EA-05D1BDF7AB74}">
      <dgm:prSet/>
      <dgm:spPr/>
      <dgm:t>
        <a:bodyPr/>
        <a:lstStyle/>
        <a:p>
          <a:endParaRPr lang="en-US" sz="1200"/>
        </a:p>
      </dgm:t>
    </dgm:pt>
    <dgm:pt modelId="{FE62E837-622E-45E6-B6D1-4EDA55F3D4D0}" type="sibTrans" cxnId="{B78DDB4C-EE44-482A-A1EA-05D1BDF7AB74}">
      <dgm:prSet/>
      <dgm:spPr/>
      <dgm:t>
        <a:bodyPr/>
        <a:lstStyle/>
        <a:p>
          <a:endParaRPr lang="en-US" sz="1200"/>
        </a:p>
      </dgm:t>
    </dgm:pt>
    <dgm:pt modelId="{C5DD6DA5-EC62-490F-BF1A-7EC46AD7B10B}">
      <dgm:prSet phldrT="[Text]" custT="1"/>
      <dgm:spPr>
        <a:solidFill>
          <a:srgbClr val="909090"/>
        </a:solidFill>
        <a:ln>
          <a:noFill/>
        </a:ln>
      </dgm:spPr>
      <dgm:t>
        <a:bodyPr/>
        <a:lstStyle/>
        <a:p>
          <a:r>
            <a:rPr lang="en-US" sz="1200" dirty="0"/>
            <a:t>9</a:t>
          </a:r>
        </a:p>
      </dgm:t>
    </dgm:pt>
    <dgm:pt modelId="{EFF6E3C4-7333-4691-B2E8-D4677AAEC692}" type="parTrans" cxnId="{26568C8F-1F2F-45A5-A9DD-3301218EF3AE}">
      <dgm:prSet/>
      <dgm:spPr/>
      <dgm:t>
        <a:bodyPr/>
        <a:lstStyle/>
        <a:p>
          <a:endParaRPr lang="en-US" sz="1200"/>
        </a:p>
      </dgm:t>
    </dgm:pt>
    <dgm:pt modelId="{13825021-157D-4CB9-A4E9-675B06A043F5}" type="sibTrans" cxnId="{26568C8F-1F2F-45A5-A9DD-3301218EF3AE}">
      <dgm:prSet/>
      <dgm:spPr/>
      <dgm:t>
        <a:bodyPr/>
        <a:lstStyle/>
        <a:p>
          <a:endParaRPr lang="en-US" sz="1200"/>
        </a:p>
      </dgm:t>
    </dgm:pt>
    <dgm:pt modelId="{E6809FF6-FEA0-4457-9AC4-997DE7AB8B47}">
      <dgm:prSet phldrT="[Text]" custT="1"/>
      <dgm:spPr>
        <a:solidFill>
          <a:srgbClr val="909090"/>
        </a:solidFill>
        <a:ln>
          <a:noFill/>
        </a:ln>
      </dgm:spPr>
      <dgm:t>
        <a:bodyPr/>
        <a:lstStyle/>
        <a:p>
          <a:r>
            <a:rPr lang="en-US" sz="1200" dirty="0"/>
            <a:t>10</a:t>
          </a:r>
        </a:p>
      </dgm:t>
    </dgm:pt>
    <dgm:pt modelId="{A8C9EB7D-C541-428A-8BB1-8DE1F02D9D7D}" type="parTrans" cxnId="{4BA71936-B328-492A-BF08-509FD644BDD5}">
      <dgm:prSet/>
      <dgm:spPr/>
      <dgm:t>
        <a:bodyPr/>
        <a:lstStyle/>
        <a:p>
          <a:endParaRPr lang="en-US" sz="1200"/>
        </a:p>
      </dgm:t>
    </dgm:pt>
    <dgm:pt modelId="{F0438051-73A5-4FAD-BA75-7FED4F2C2DDE}" type="sibTrans" cxnId="{4BA71936-B328-492A-BF08-509FD644BDD5}">
      <dgm:prSet/>
      <dgm:spPr/>
      <dgm:t>
        <a:bodyPr/>
        <a:lstStyle/>
        <a:p>
          <a:endParaRPr lang="en-US" sz="1200"/>
        </a:p>
      </dgm:t>
    </dgm:pt>
    <dgm:pt modelId="{8EB256DF-04F2-42CC-A9F4-594E6661BF13}">
      <dgm:prSet phldrT="[Text]" custT="1"/>
      <dgm:spPr>
        <a:solidFill>
          <a:srgbClr val="909090"/>
        </a:solidFill>
        <a:ln>
          <a:noFill/>
        </a:ln>
      </dgm:spPr>
      <dgm:t>
        <a:bodyPr/>
        <a:lstStyle/>
        <a:p>
          <a:r>
            <a:rPr lang="en-US" sz="1200" dirty="0"/>
            <a:t>11</a:t>
          </a:r>
        </a:p>
      </dgm:t>
    </dgm:pt>
    <dgm:pt modelId="{47CBC85A-C057-4FF2-8782-FD8B70200BA5}" type="parTrans" cxnId="{9784C313-225C-4C7C-8419-9033EA7FAEBE}">
      <dgm:prSet/>
      <dgm:spPr/>
      <dgm:t>
        <a:bodyPr/>
        <a:lstStyle/>
        <a:p>
          <a:endParaRPr lang="en-US" sz="1200"/>
        </a:p>
      </dgm:t>
    </dgm:pt>
    <dgm:pt modelId="{AF7BB3E1-59A1-4532-AD1A-C4B73F43D5C3}" type="sibTrans" cxnId="{9784C313-225C-4C7C-8419-9033EA7FAEBE}">
      <dgm:prSet/>
      <dgm:spPr/>
      <dgm:t>
        <a:bodyPr/>
        <a:lstStyle/>
        <a:p>
          <a:endParaRPr lang="en-US" sz="1200"/>
        </a:p>
      </dgm:t>
    </dgm:pt>
    <dgm:pt modelId="{4A0075F2-1C6B-4462-9325-F74A65AA3E8C}">
      <dgm:prSet phldrT="[Text]" custT="1"/>
      <dgm:spPr>
        <a:solidFill>
          <a:srgbClr val="909090"/>
        </a:solidFill>
        <a:ln>
          <a:noFill/>
        </a:ln>
      </dgm:spPr>
      <dgm:t>
        <a:bodyPr/>
        <a:lstStyle/>
        <a:p>
          <a:r>
            <a:rPr lang="en-US" sz="1200" dirty="0"/>
            <a:t>12</a:t>
          </a:r>
        </a:p>
      </dgm:t>
    </dgm:pt>
    <dgm:pt modelId="{ACBC1C87-4D64-457B-88F2-63D0290DE775}" type="parTrans" cxnId="{F01AF299-FA0D-44BF-B223-8C29A3D91A19}">
      <dgm:prSet/>
      <dgm:spPr/>
      <dgm:t>
        <a:bodyPr/>
        <a:lstStyle/>
        <a:p>
          <a:endParaRPr lang="en-US" sz="1200"/>
        </a:p>
      </dgm:t>
    </dgm:pt>
    <dgm:pt modelId="{3006C3C8-DE88-4967-9634-77D5B083C996}" type="sibTrans" cxnId="{F01AF299-FA0D-44BF-B223-8C29A3D91A19}">
      <dgm:prSet/>
      <dgm:spPr/>
      <dgm:t>
        <a:bodyPr/>
        <a:lstStyle/>
        <a:p>
          <a:endParaRPr lang="en-US" sz="1200"/>
        </a:p>
      </dgm:t>
    </dgm:pt>
    <dgm:pt modelId="{4FD328E6-4E2A-45B0-9CFC-30089AF3C4DF}" type="pres">
      <dgm:prSet presAssocID="{DEA4E65F-6A4F-4EB5-A74C-FADEA244AA6B}" presName="Name0" presStyleCnt="0">
        <dgm:presLayoutVars>
          <dgm:dir/>
          <dgm:animLvl val="lvl"/>
          <dgm:resizeHandles val="exact"/>
        </dgm:presLayoutVars>
      </dgm:prSet>
      <dgm:spPr/>
    </dgm:pt>
    <dgm:pt modelId="{654DC66B-AB6E-41D5-8258-66B713ABEAA1}" type="pres">
      <dgm:prSet presAssocID="{DCD4FCDF-E313-460F-8DAD-347636A5583F}" presName="parTxOnly" presStyleLbl="node1" presStyleIdx="0" presStyleCnt="12">
        <dgm:presLayoutVars>
          <dgm:chMax val="0"/>
          <dgm:chPref val="0"/>
          <dgm:bulletEnabled val="1"/>
        </dgm:presLayoutVars>
      </dgm:prSet>
      <dgm:spPr/>
    </dgm:pt>
    <dgm:pt modelId="{5D9528CE-0DED-4C73-9A42-40567E0B1292}" type="pres">
      <dgm:prSet presAssocID="{4683D5E5-987E-41ED-AFC8-423AAA111372}" presName="parTxOnlySpace" presStyleCnt="0"/>
      <dgm:spPr/>
    </dgm:pt>
    <dgm:pt modelId="{AE43D2F4-E066-43DD-A51F-54768B31D8F7}" type="pres">
      <dgm:prSet presAssocID="{812EE15D-26CC-47B4-A54A-14B3175E4372}" presName="parTxOnly" presStyleLbl="node1" presStyleIdx="1" presStyleCnt="12">
        <dgm:presLayoutVars>
          <dgm:chMax val="0"/>
          <dgm:chPref val="0"/>
          <dgm:bulletEnabled val="1"/>
        </dgm:presLayoutVars>
      </dgm:prSet>
      <dgm:spPr/>
    </dgm:pt>
    <dgm:pt modelId="{EEA67D94-D984-4874-A4C1-33C071307E83}" type="pres">
      <dgm:prSet presAssocID="{CB394813-21B6-4BF9-B903-2ABBF146C78A}" presName="parTxOnlySpace" presStyleCnt="0"/>
      <dgm:spPr/>
    </dgm:pt>
    <dgm:pt modelId="{3463B6B8-78B7-4A47-8DC0-96832BECA9F3}" type="pres">
      <dgm:prSet presAssocID="{10C17986-FB66-44F1-9FDA-06F32EBD1A71}" presName="parTxOnly" presStyleLbl="node1" presStyleIdx="2" presStyleCnt="12">
        <dgm:presLayoutVars>
          <dgm:chMax val="0"/>
          <dgm:chPref val="0"/>
          <dgm:bulletEnabled val="1"/>
        </dgm:presLayoutVars>
      </dgm:prSet>
      <dgm:spPr/>
    </dgm:pt>
    <dgm:pt modelId="{9D3C2C16-7DF7-407E-B25A-78C91273AB5A}" type="pres">
      <dgm:prSet presAssocID="{01890D2E-2FCC-470F-A5F2-5E3D3EB6C611}" presName="parTxOnlySpace" presStyleCnt="0"/>
      <dgm:spPr/>
    </dgm:pt>
    <dgm:pt modelId="{571B7F73-FA6F-40DA-9CDC-9E2646942D82}" type="pres">
      <dgm:prSet presAssocID="{6A2BAF1A-3266-471C-87EC-1024EB2CD399}" presName="parTxOnly" presStyleLbl="node1" presStyleIdx="3" presStyleCnt="12">
        <dgm:presLayoutVars>
          <dgm:chMax val="0"/>
          <dgm:chPref val="0"/>
          <dgm:bulletEnabled val="1"/>
        </dgm:presLayoutVars>
      </dgm:prSet>
      <dgm:spPr/>
    </dgm:pt>
    <dgm:pt modelId="{A53D56E0-8117-4146-8441-DFEBE207C53F}" type="pres">
      <dgm:prSet presAssocID="{D58E27F2-2AD4-44A0-A375-8CF9A03F161B}" presName="parTxOnlySpace" presStyleCnt="0"/>
      <dgm:spPr/>
    </dgm:pt>
    <dgm:pt modelId="{80822898-6590-4A10-B3EC-F724FA0FACFE}" type="pres">
      <dgm:prSet presAssocID="{8E47EE55-D025-438A-AAE6-75F9AF66618D}" presName="parTxOnly" presStyleLbl="node1" presStyleIdx="4" presStyleCnt="12">
        <dgm:presLayoutVars>
          <dgm:chMax val="0"/>
          <dgm:chPref val="0"/>
          <dgm:bulletEnabled val="1"/>
        </dgm:presLayoutVars>
      </dgm:prSet>
      <dgm:spPr/>
    </dgm:pt>
    <dgm:pt modelId="{932708C2-4DAC-4B36-B51A-95829E80068F}" type="pres">
      <dgm:prSet presAssocID="{277ADFB8-6234-4BB1-A67A-2E528B964EE6}" presName="parTxOnlySpace" presStyleCnt="0"/>
      <dgm:spPr/>
    </dgm:pt>
    <dgm:pt modelId="{3FE731B8-7460-462D-AD93-CA99F5C17993}" type="pres">
      <dgm:prSet presAssocID="{C56D219E-55E4-4253-ACF0-FFBEA46ED886}" presName="parTxOnly" presStyleLbl="node1" presStyleIdx="5" presStyleCnt="12">
        <dgm:presLayoutVars>
          <dgm:chMax val="0"/>
          <dgm:chPref val="0"/>
          <dgm:bulletEnabled val="1"/>
        </dgm:presLayoutVars>
      </dgm:prSet>
      <dgm:spPr/>
    </dgm:pt>
    <dgm:pt modelId="{4C87C674-F80A-4D30-A607-2D47B7296E10}" type="pres">
      <dgm:prSet presAssocID="{FD005A4B-AA23-4BC2-87CA-3AF94A4C7A55}" presName="parTxOnlySpace" presStyleCnt="0"/>
      <dgm:spPr/>
    </dgm:pt>
    <dgm:pt modelId="{378651A3-5EFA-4DE1-8ECE-2D26DC02264B}" type="pres">
      <dgm:prSet presAssocID="{CD8E970A-2DE3-41FE-9EFC-957169F5AC58}" presName="parTxOnly" presStyleLbl="node1" presStyleIdx="6" presStyleCnt="12">
        <dgm:presLayoutVars>
          <dgm:chMax val="0"/>
          <dgm:chPref val="0"/>
          <dgm:bulletEnabled val="1"/>
        </dgm:presLayoutVars>
      </dgm:prSet>
      <dgm:spPr/>
    </dgm:pt>
    <dgm:pt modelId="{13E75D84-EBD0-4068-9E00-4E631793DE81}" type="pres">
      <dgm:prSet presAssocID="{50B9E4CB-087E-4BD4-8655-182FE10816A7}" presName="parTxOnlySpace" presStyleCnt="0"/>
      <dgm:spPr/>
    </dgm:pt>
    <dgm:pt modelId="{CBF85DBC-6958-46B3-8486-210441D9CAB7}" type="pres">
      <dgm:prSet presAssocID="{C7AB93FB-007C-4A3D-9A37-884AFA217472}" presName="parTxOnly" presStyleLbl="node1" presStyleIdx="7" presStyleCnt="12">
        <dgm:presLayoutVars>
          <dgm:chMax val="0"/>
          <dgm:chPref val="0"/>
          <dgm:bulletEnabled val="1"/>
        </dgm:presLayoutVars>
      </dgm:prSet>
      <dgm:spPr/>
    </dgm:pt>
    <dgm:pt modelId="{869011F7-F1FC-4C96-9213-273939FC109C}" type="pres">
      <dgm:prSet presAssocID="{FE62E837-622E-45E6-B6D1-4EDA55F3D4D0}" presName="parTxOnlySpace" presStyleCnt="0"/>
      <dgm:spPr/>
    </dgm:pt>
    <dgm:pt modelId="{790B2AE0-AF78-414A-BC58-9F9DD3793BC1}" type="pres">
      <dgm:prSet presAssocID="{C5DD6DA5-EC62-490F-BF1A-7EC46AD7B10B}" presName="parTxOnly" presStyleLbl="node1" presStyleIdx="8" presStyleCnt="12">
        <dgm:presLayoutVars>
          <dgm:chMax val="0"/>
          <dgm:chPref val="0"/>
          <dgm:bulletEnabled val="1"/>
        </dgm:presLayoutVars>
      </dgm:prSet>
      <dgm:spPr/>
    </dgm:pt>
    <dgm:pt modelId="{3225EFDF-024E-40E4-8B40-BA2DB05E5975}" type="pres">
      <dgm:prSet presAssocID="{13825021-157D-4CB9-A4E9-675B06A043F5}" presName="parTxOnlySpace" presStyleCnt="0"/>
      <dgm:spPr/>
    </dgm:pt>
    <dgm:pt modelId="{7EF8B96B-DA16-464E-8B0C-F2875C186912}" type="pres">
      <dgm:prSet presAssocID="{E6809FF6-FEA0-4457-9AC4-997DE7AB8B47}" presName="parTxOnly" presStyleLbl="node1" presStyleIdx="9" presStyleCnt="12">
        <dgm:presLayoutVars>
          <dgm:chMax val="0"/>
          <dgm:chPref val="0"/>
          <dgm:bulletEnabled val="1"/>
        </dgm:presLayoutVars>
      </dgm:prSet>
      <dgm:spPr/>
    </dgm:pt>
    <dgm:pt modelId="{4EEDD525-2F87-44B7-8A34-CFC77D4764C1}" type="pres">
      <dgm:prSet presAssocID="{F0438051-73A5-4FAD-BA75-7FED4F2C2DDE}" presName="parTxOnlySpace" presStyleCnt="0"/>
      <dgm:spPr/>
    </dgm:pt>
    <dgm:pt modelId="{383AC0A2-6E1E-4D81-AC1D-9FB0CBC3A3EA}" type="pres">
      <dgm:prSet presAssocID="{8EB256DF-04F2-42CC-A9F4-594E6661BF13}" presName="parTxOnly" presStyleLbl="node1" presStyleIdx="10" presStyleCnt="12">
        <dgm:presLayoutVars>
          <dgm:chMax val="0"/>
          <dgm:chPref val="0"/>
          <dgm:bulletEnabled val="1"/>
        </dgm:presLayoutVars>
      </dgm:prSet>
      <dgm:spPr/>
    </dgm:pt>
    <dgm:pt modelId="{E0DD25B2-4BC4-4534-AB4B-E14E51F7EA99}" type="pres">
      <dgm:prSet presAssocID="{AF7BB3E1-59A1-4532-AD1A-C4B73F43D5C3}" presName="parTxOnlySpace" presStyleCnt="0"/>
      <dgm:spPr/>
    </dgm:pt>
    <dgm:pt modelId="{7C6EA6C0-116C-4575-A329-19B523129479}" type="pres">
      <dgm:prSet presAssocID="{4A0075F2-1C6B-4462-9325-F74A65AA3E8C}" presName="parTxOnly" presStyleLbl="node1" presStyleIdx="11" presStyleCnt="12">
        <dgm:presLayoutVars>
          <dgm:chMax val="0"/>
          <dgm:chPref val="0"/>
          <dgm:bulletEnabled val="1"/>
        </dgm:presLayoutVars>
      </dgm:prSet>
      <dgm:spPr/>
    </dgm:pt>
  </dgm:ptLst>
  <dgm:cxnLst>
    <dgm:cxn modelId="{9784C313-225C-4C7C-8419-9033EA7FAEBE}" srcId="{DEA4E65F-6A4F-4EB5-A74C-FADEA244AA6B}" destId="{8EB256DF-04F2-42CC-A9F4-594E6661BF13}" srcOrd="10" destOrd="0" parTransId="{47CBC85A-C057-4FF2-8782-FD8B70200BA5}" sibTransId="{AF7BB3E1-59A1-4532-AD1A-C4B73F43D5C3}"/>
    <dgm:cxn modelId="{34E4A416-0C19-4952-AFBD-1A7E2E9233D6}" type="presOf" srcId="{C56D219E-55E4-4253-ACF0-FFBEA46ED886}" destId="{3FE731B8-7460-462D-AD93-CA99F5C17993}" srcOrd="0" destOrd="0" presId="urn:microsoft.com/office/officeart/2005/8/layout/chevron1"/>
    <dgm:cxn modelId="{A34F1E1F-B21A-4A03-BDC9-65BFEE74FD8E}" type="presOf" srcId="{DEA4E65F-6A4F-4EB5-A74C-FADEA244AA6B}" destId="{4FD328E6-4E2A-45B0-9CFC-30089AF3C4DF}" srcOrd="0" destOrd="0" presId="urn:microsoft.com/office/officeart/2005/8/layout/chevron1"/>
    <dgm:cxn modelId="{4BA71936-B328-492A-BF08-509FD644BDD5}" srcId="{DEA4E65F-6A4F-4EB5-A74C-FADEA244AA6B}" destId="{E6809FF6-FEA0-4457-9AC4-997DE7AB8B47}" srcOrd="9" destOrd="0" parTransId="{A8C9EB7D-C541-428A-8BB1-8DE1F02D9D7D}" sibTransId="{F0438051-73A5-4FAD-BA75-7FED4F2C2DDE}"/>
    <dgm:cxn modelId="{7484B038-5903-422A-AC6D-71216E781146}" type="presOf" srcId="{6A2BAF1A-3266-471C-87EC-1024EB2CD399}" destId="{571B7F73-FA6F-40DA-9CDC-9E2646942D82}" srcOrd="0" destOrd="0" presId="urn:microsoft.com/office/officeart/2005/8/layout/chevron1"/>
    <dgm:cxn modelId="{BAA01E3D-2A81-4504-8C9D-B6ADC46CF1F8}" type="presOf" srcId="{C5DD6DA5-EC62-490F-BF1A-7EC46AD7B10B}" destId="{790B2AE0-AF78-414A-BC58-9F9DD3793BC1}" srcOrd="0" destOrd="0" presId="urn:microsoft.com/office/officeart/2005/8/layout/chevron1"/>
    <dgm:cxn modelId="{D1E16B60-334C-40A3-9F2B-9DA513D049B4}" srcId="{DEA4E65F-6A4F-4EB5-A74C-FADEA244AA6B}" destId="{8E47EE55-D025-438A-AAE6-75F9AF66618D}" srcOrd="4" destOrd="0" parTransId="{4EF0B2FC-576A-4A4E-8A56-EB17272369B0}" sibTransId="{277ADFB8-6234-4BB1-A67A-2E528B964EE6}"/>
    <dgm:cxn modelId="{FD5A4F48-648E-4728-B845-3CAB1983E934}" srcId="{DEA4E65F-6A4F-4EB5-A74C-FADEA244AA6B}" destId="{CD8E970A-2DE3-41FE-9EFC-957169F5AC58}" srcOrd="6" destOrd="0" parTransId="{A80D56DA-6F32-4BB5-9110-859358ADD801}" sibTransId="{50B9E4CB-087E-4BD4-8655-182FE10816A7}"/>
    <dgm:cxn modelId="{2BB1D44C-9A8D-4A33-A387-C8959EFA6909}" type="presOf" srcId="{E6809FF6-FEA0-4457-9AC4-997DE7AB8B47}" destId="{7EF8B96B-DA16-464E-8B0C-F2875C186912}" srcOrd="0" destOrd="0" presId="urn:microsoft.com/office/officeart/2005/8/layout/chevron1"/>
    <dgm:cxn modelId="{B78DDB4C-EE44-482A-A1EA-05D1BDF7AB74}" srcId="{DEA4E65F-6A4F-4EB5-A74C-FADEA244AA6B}" destId="{C7AB93FB-007C-4A3D-9A37-884AFA217472}" srcOrd="7" destOrd="0" parTransId="{D296447F-614F-4E79-AF74-8B6B0D4D1B79}" sibTransId="{FE62E837-622E-45E6-B6D1-4EDA55F3D4D0}"/>
    <dgm:cxn modelId="{C1F9A256-43C0-43A4-BC4F-4097655FBB30}" type="presOf" srcId="{DCD4FCDF-E313-460F-8DAD-347636A5583F}" destId="{654DC66B-AB6E-41D5-8258-66B713ABEAA1}" srcOrd="0" destOrd="0" presId="urn:microsoft.com/office/officeart/2005/8/layout/chevron1"/>
    <dgm:cxn modelId="{51FAAA88-84F4-4A3B-AAF1-00BC80A0BC93}" type="presOf" srcId="{CD8E970A-2DE3-41FE-9EFC-957169F5AC58}" destId="{378651A3-5EFA-4DE1-8ECE-2D26DC02264B}" srcOrd="0" destOrd="0" presId="urn:microsoft.com/office/officeart/2005/8/layout/chevron1"/>
    <dgm:cxn modelId="{E142848F-6C02-4607-B246-9807CC6E692B}" type="presOf" srcId="{10C17986-FB66-44F1-9FDA-06F32EBD1A71}" destId="{3463B6B8-78B7-4A47-8DC0-96832BECA9F3}" srcOrd="0" destOrd="0" presId="urn:microsoft.com/office/officeart/2005/8/layout/chevron1"/>
    <dgm:cxn modelId="{26568C8F-1F2F-45A5-A9DD-3301218EF3AE}" srcId="{DEA4E65F-6A4F-4EB5-A74C-FADEA244AA6B}" destId="{C5DD6DA5-EC62-490F-BF1A-7EC46AD7B10B}" srcOrd="8" destOrd="0" parTransId="{EFF6E3C4-7333-4691-B2E8-D4677AAEC692}" sibTransId="{13825021-157D-4CB9-A4E9-675B06A043F5}"/>
    <dgm:cxn modelId="{F01AF299-FA0D-44BF-B223-8C29A3D91A19}" srcId="{DEA4E65F-6A4F-4EB5-A74C-FADEA244AA6B}" destId="{4A0075F2-1C6B-4462-9325-F74A65AA3E8C}" srcOrd="11" destOrd="0" parTransId="{ACBC1C87-4D64-457B-88F2-63D0290DE775}" sibTransId="{3006C3C8-DE88-4967-9634-77D5B083C996}"/>
    <dgm:cxn modelId="{3A6C70AA-B311-43CC-80C9-60DF846F3F42}" type="presOf" srcId="{8E47EE55-D025-438A-AAE6-75F9AF66618D}" destId="{80822898-6590-4A10-B3EC-F724FA0FACFE}" srcOrd="0" destOrd="0" presId="urn:microsoft.com/office/officeart/2005/8/layout/chevron1"/>
    <dgm:cxn modelId="{D5038DAA-1A66-4E38-B66A-9F0E87818C88}" srcId="{DEA4E65F-6A4F-4EB5-A74C-FADEA244AA6B}" destId="{6A2BAF1A-3266-471C-87EC-1024EB2CD399}" srcOrd="3" destOrd="0" parTransId="{99DB6D02-C583-43A8-8E2C-17ACC5A3A80F}" sibTransId="{D58E27F2-2AD4-44A0-A375-8CF9A03F161B}"/>
    <dgm:cxn modelId="{3ED3A9AA-C135-4205-ACDD-C8A890AC07AD}" type="presOf" srcId="{8EB256DF-04F2-42CC-A9F4-594E6661BF13}" destId="{383AC0A2-6E1E-4D81-AC1D-9FB0CBC3A3EA}" srcOrd="0" destOrd="0" presId="urn:microsoft.com/office/officeart/2005/8/layout/chevron1"/>
    <dgm:cxn modelId="{74E404AC-C3DC-4A7E-B506-8CAEAD31ABFB}" type="presOf" srcId="{812EE15D-26CC-47B4-A54A-14B3175E4372}" destId="{AE43D2F4-E066-43DD-A51F-54768B31D8F7}" srcOrd="0" destOrd="0" presId="urn:microsoft.com/office/officeart/2005/8/layout/chevron1"/>
    <dgm:cxn modelId="{567128AC-5F36-4ED3-A3AA-64A288534820}" srcId="{DEA4E65F-6A4F-4EB5-A74C-FADEA244AA6B}" destId="{10C17986-FB66-44F1-9FDA-06F32EBD1A71}" srcOrd="2" destOrd="0" parTransId="{D808421F-3C65-4E06-8D48-18D079AF744A}" sibTransId="{01890D2E-2FCC-470F-A5F2-5E3D3EB6C611}"/>
    <dgm:cxn modelId="{DD90A3CA-DC8A-42F8-9523-CB00220BFEA9}" type="presOf" srcId="{C7AB93FB-007C-4A3D-9A37-884AFA217472}" destId="{CBF85DBC-6958-46B3-8486-210441D9CAB7}" srcOrd="0" destOrd="0" presId="urn:microsoft.com/office/officeart/2005/8/layout/chevron1"/>
    <dgm:cxn modelId="{CC049CE0-A6F9-4D0D-BA14-07C238F5887E}" srcId="{DEA4E65F-6A4F-4EB5-A74C-FADEA244AA6B}" destId="{C56D219E-55E4-4253-ACF0-FFBEA46ED886}" srcOrd="5" destOrd="0" parTransId="{39F8EB1D-AA99-4E52-B360-A23B3D142885}" sibTransId="{FD005A4B-AA23-4BC2-87CA-3AF94A4C7A55}"/>
    <dgm:cxn modelId="{508F73E7-5D00-453D-8F96-5746E05FDE14}" type="presOf" srcId="{4A0075F2-1C6B-4462-9325-F74A65AA3E8C}" destId="{7C6EA6C0-116C-4575-A329-19B523129479}" srcOrd="0" destOrd="0" presId="urn:microsoft.com/office/officeart/2005/8/layout/chevron1"/>
    <dgm:cxn modelId="{683C22EB-5176-4A8F-8F48-E83B15A11855}" srcId="{DEA4E65F-6A4F-4EB5-A74C-FADEA244AA6B}" destId="{812EE15D-26CC-47B4-A54A-14B3175E4372}" srcOrd="1" destOrd="0" parTransId="{640A1614-F681-40D5-AFBD-BF9D541ABA0C}" sibTransId="{CB394813-21B6-4BF9-B903-2ABBF146C78A}"/>
    <dgm:cxn modelId="{561870F2-3231-4CC4-9CA0-6C12D3957F60}" srcId="{DEA4E65F-6A4F-4EB5-A74C-FADEA244AA6B}" destId="{DCD4FCDF-E313-460F-8DAD-347636A5583F}" srcOrd="0" destOrd="0" parTransId="{78DFE2C1-B7D0-4095-A24E-F3525B08BB14}" sibTransId="{4683D5E5-987E-41ED-AFC8-423AAA111372}"/>
    <dgm:cxn modelId="{0781C039-C3BF-49EC-AADF-6C1C3CB20C2E}" type="presParOf" srcId="{4FD328E6-4E2A-45B0-9CFC-30089AF3C4DF}" destId="{654DC66B-AB6E-41D5-8258-66B713ABEAA1}" srcOrd="0" destOrd="0" presId="urn:microsoft.com/office/officeart/2005/8/layout/chevron1"/>
    <dgm:cxn modelId="{BF447893-BA20-46B1-BB14-6EB71CF34B0A}" type="presParOf" srcId="{4FD328E6-4E2A-45B0-9CFC-30089AF3C4DF}" destId="{5D9528CE-0DED-4C73-9A42-40567E0B1292}" srcOrd="1" destOrd="0" presId="urn:microsoft.com/office/officeart/2005/8/layout/chevron1"/>
    <dgm:cxn modelId="{CACD3DC0-AD2C-4B8E-A024-E3E355CB4105}" type="presParOf" srcId="{4FD328E6-4E2A-45B0-9CFC-30089AF3C4DF}" destId="{AE43D2F4-E066-43DD-A51F-54768B31D8F7}" srcOrd="2" destOrd="0" presId="urn:microsoft.com/office/officeart/2005/8/layout/chevron1"/>
    <dgm:cxn modelId="{FBE24AFD-4AD2-4F17-A14E-846C68B4FEE4}" type="presParOf" srcId="{4FD328E6-4E2A-45B0-9CFC-30089AF3C4DF}" destId="{EEA67D94-D984-4874-A4C1-33C071307E83}" srcOrd="3" destOrd="0" presId="urn:microsoft.com/office/officeart/2005/8/layout/chevron1"/>
    <dgm:cxn modelId="{3F5F4981-AA6D-4F3E-8CBD-E9A593BEFAA1}" type="presParOf" srcId="{4FD328E6-4E2A-45B0-9CFC-30089AF3C4DF}" destId="{3463B6B8-78B7-4A47-8DC0-96832BECA9F3}" srcOrd="4" destOrd="0" presId="urn:microsoft.com/office/officeart/2005/8/layout/chevron1"/>
    <dgm:cxn modelId="{0CE073EC-217A-4200-8291-D3F72060C966}" type="presParOf" srcId="{4FD328E6-4E2A-45B0-9CFC-30089AF3C4DF}" destId="{9D3C2C16-7DF7-407E-B25A-78C91273AB5A}" srcOrd="5" destOrd="0" presId="urn:microsoft.com/office/officeart/2005/8/layout/chevron1"/>
    <dgm:cxn modelId="{0A0FC8FF-AF72-4830-A365-27D0EBCACF61}" type="presParOf" srcId="{4FD328E6-4E2A-45B0-9CFC-30089AF3C4DF}" destId="{571B7F73-FA6F-40DA-9CDC-9E2646942D82}" srcOrd="6" destOrd="0" presId="urn:microsoft.com/office/officeart/2005/8/layout/chevron1"/>
    <dgm:cxn modelId="{63A39146-AB0D-498B-86AD-857050CEF88E}" type="presParOf" srcId="{4FD328E6-4E2A-45B0-9CFC-30089AF3C4DF}" destId="{A53D56E0-8117-4146-8441-DFEBE207C53F}" srcOrd="7" destOrd="0" presId="urn:microsoft.com/office/officeart/2005/8/layout/chevron1"/>
    <dgm:cxn modelId="{9891DA5E-4DCE-4948-98EB-47905AAFB3D0}" type="presParOf" srcId="{4FD328E6-4E2A-45B0-9CFC-30089AF3C4DF}" destId="{80822898-6590-4A10-B3EC-F724FA0FACFE}" srcOrd="8" destOrd="0" presId="urn:microsoft.com/office/officeart/2005/8/layout/chevron1"/>
    <dgm:cxn modelId="{3A839EA4-C343-47E4-92A9-2F964EF2D1BD}" type="presParOf" srcId="{4FD328E6-4E2A-45B0-9CFC-30089AF3C4DF}" destId="{932708C2-4DAC-4B36-B51A-95829E80068F}" srcOrd="9" destOrd="0" presId="urn:microsoft.com/office/officeart/2005/8/layout/chevron1"/>
    <dgm:cxn modelId="{0499B56E-1DF2-42C5-9793-FB60D9434455}" type="presParOf" srcId="{4FD328E6-4E2A-45B0-9CFC-30089AF3C4DF}" destId="{3FE731B8-7460-462D-AD93-CA99F5C17993}" srcOrd="10" destOrd="0" presId="urn:microsoft.com/office/officeart/2005/8/layout/chevron1"/>
    <dgm:cxn modelId="{1BE9DCE7-F2B5-49B9-9E26-DE33D1828065}" type="presParOf" srcId="{4FD328E6-4E2A-45B0-9CFC-30089AF3C4DF}" destId="{4C87C674-F80A-4D30-A607-2D47B7296E10}" srcOrd="11" destOrd="0" presId="urn:microsoft.com/office/officeart/2005/8/layout/chevron1"/>
    <dgm:cxn modelId="{B27515D7-9C11-4BCB-A9C2-6104B89EEDFD}" type="presParOf" srcId="{4FD328E6-4E2A-45B0-9CFC-30089AF3C4DF}" destId="{378651A3-5EFA-4DE1-8ECE-2D26DC02264B}" srcOrd="12" destOrd="0" presId="urn:microsoft.com/office/officeart/2005/8/layout/chevron1"/>
    <dgm:cxn modelId="{EA9FFA75-4360-41DE-AB36-9225FA95E3DC}" type="presParOf" srcId="{4FD328E6-4E2A-45B0-9CFC-30089AF3C4DF}" destId="{13E75D84-EBD0-4068-9E00-4E631793DE81}" srcOrd="13" destOrd="0" presId="urn:microsoft.com/office/officeart/2005/8/layout/chevron1"/>
    <dgm:cxn modelId="{0CB7D490-F3E8-413B-BEE3-0BD2C05913C5}" type="presParOf" srcId="{4FD328E6-4E2A-45B0-9CFC-30089AF3C4DF}" destId="{CBF85DBC-6958-46B3-8486-210441D9CAB7}" srcOrd="14" destOrd="0" presId="urn:microsoft.com/office/officeart/2005/8/layout/chevron1"/>
    <dgm:cxn modelId="{D693D1F7-E1D0-432B-A0A8-3D14ED5AAA27}" type="presParOf" srcId="{4FD328E6-4E2A-45B0-9CFC-30089AF3C4DF}" destId="{869011F7-F1FC-4C96-9213-273939FC109C}" srcOrd="15" destOrd="0" presId="urn:microsoft.com/office/officeart/2005/8/layout/chevron1"/>
    <dgm:cxn modelId="{EF591657-D01E-4CBC-88E8-B125D9C8ACC6}" type="presParOf" srcId="{4FD328E6-4E2A-45B0-9CFC-30089AF3C4DF}" destId="{790B2AE0-AF78-414A-BC58-9F9DD3793BC1}" srcOrd="16" destOrd="0" presId="urn:microsoft.com/office/officeart/2005/8/layout/chevron1"/>
    <dgm:cxn modelId="{2FEE98A8-3E9D-47E1-8F90-C122893A3B5B}" type="presParOf" srcId="{4FD328E6-4E2A-45B0-9CFC-30089AF3C4DF}" destId="{3225EFDF-024E-40E4-8B40-BA2DB05E5975}" srcOrd="17" destOrd="0" presId="urn:microsoft.com/office/officeart/2005/8/layout/chevron1"/>
    <dgm:cxn modelId="{F570058F-95A5-41E4-8CFD-3A4A3D8A0E6E}" type="presParOf" srcId="{4FD328E6-4E2A-45B0-9CFC-30089AF3C4DF}" destId="{7EF8B96B-DA16-464E-8B0C-F2875C186912}" srcOrd="18" destOrd="0" presId="urn:microsoft.com/office/officeart/2005/8/layout/chevron1"/>
    <dgm:cxn modelId="{B96E4078-B0DC-4650-AD23-A0DBD64B9C4F}" type="presParOf" srcId="{4FD328E6-4E2A-45B0-9CFC-30089AF3C4DF}" destId="{4EEDD525-2F87-44B7-8A34-CFC77D4764C1}" srcOrd="19" destOrd="0" presId="urn:microsoft.com/office/officeart/2005/8/layout/chevron1"/>
    <dgm:cxn modelId="{378D9A4F-5E2D-44A5-A7F9-1C4449165138}" type="presParOf" srcId="{4FD328E6-4E2A-45B0-9CFC-30089AF3C4DF}" destId="{383AC0A2-6E1E-4D81-AC1D-9FB0CBC3A3EA}" srcOrd="20" destOrd="0" presId="urn:microsoft.com/office/officeart/2005/8/layout/chevron1"/>
    <dgm:cxn modelId="{24CD2656-DBD5-4A95-82E2-926CE1261244}" type="presParOf" srcId="{4FD328E6-4E2A-45B0-9CFC-30089AF3C4DF}" destId="{E0DD25B2-4BC4-4534-AB4B-E14E51F7EA99}" srcOrd="21" destOrd="0" presId="urn:microsoft.com/office/officeart/2005/8/layout/chevron1"/>
    <dgm:cxn modelId="{669D0400-215F-4C53-BF8C-6E3068108CF9}" type="presParOf" srcId="{4FD328E6-4E2A-45B0-9CFC-30089AF3C4DF}" destId="{7C6EA6C0-116C-4575-A329-19B523129479}" srcOrd="22" destOrd="0" presId="urn:microsoft.com/office/officeart/2005/8/layout/chevron1"/>
  </dgm:cxnLst>
  <dgm:bg>
    <a:noFill/>
  </dgm:bg>
  <dgm:whole>
    <a:ln>
      <a:noFill/>
    </a:ln>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54DC66B-AB6E-41D5-8258-66B713ABEAA1}">
      <dsp:nvSpPr>
        <dsp:cNvPr id="0" name=""/>
        <dsp:cNvSpPr/>
      </dsp:nvSpPr>
      <dsp:spPr>
        <a:xfrm>
          <a:off x="3433" y="75393"/>
          <a:ext cx="845405" cy="338162"/>
        </a:xfrm>
        <a:prstGeom prst="chevron">
          <a:avLst/>
        </a:prstGeom>
        <a:solidFill>
          <a:srgbClr val="90909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16002" rIns="16002" bIns="16002" numCol="1" spcCol="1270" anchor="ctr" anchorCtr="0">
          <a:noAutofit/>
        </a:bodyPr>
        <a:lstStyle/>
        <a:p>
          <a:pPr marL="0" lvl="0" indent="0" algn="ctr" defTabSz="533400">
            <a:lnSpc>
              <a:spcPct val="90000"/>
            </a:lnSpc>
            <a:spcBef>
              <a:spcPct val="0"/>
            </a:spcBef>
            <a:spcAft>
              <a:spcPct val="35000"/>
            </a:spcAft>
            <a:buNone/>
          </a:pPr>
          <a:r>
            <a:rPr lang="en-US" sz="1200" kern="1200" dirty="0"/>
            <a:t>1</a:t>
          </a:r>
        </a:p>
      </dsp:txBody>
      <dsp:txXfrm>
        <a:off x="172514" y="75393"/>
        <a:ext cx="507243" cy="338162"/>
      </dsp:txXfrm>
    </dsp:sp>
    <dsp:sp modelId="{AE43D2F4-E066-43DD-A51F-54768B31D8F7}">
      <dsp:nvSpPr>
        <dsp:cNvPr id="0" name=""/>
        <dsp:cNvSpPr/>
      </dsp:nvSpPr>
      <dsp:spPr>
        <a:xfrm>
          <a:off x="764298" y="75393"/>
          <a:ext cx="845405" cy="338162"/>
        </a:xfrm>
        <a:prstGeom prst="chevron">
          <a:avLst/>
        </a:prstGeom>
        <a:solidFill>
          <a:srgbClr val="90909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16002" rIns="16002" bIns="16002" numCol="1" spcCol="1270" anchor="ctr" anchorCtr="0">
          <a:noAutofit/>
        </a:bodyPr>
        <a:lstStyle/>
        <a:p>
          <a:pPr marL="0" lvl="0" indent="0" algn="ctr" defTabSz="533400">
            <a:lnSpc>
              <a:spcPct val="90000"/>
            </a:lnSpc>
            <a:spcBef>
              <a:spcPct val="0"/>
            </a:spcBef>
            <a:spcAft>
              <a:spcPct val="35000"/>
            </a:spcAft>
            <a:buNone/>
          </a:pPr>
          <a:r>
            <a:rPr lang="en-US" sz="1200" kern="1200" dirty="0"/>
            <a:t>2</a:t>
          </a:r>
        </a:p>
      </dsp:txBody>
      <dsp:txXfrm>
        <a:off x="933379" y="75393"/>
        <a:ext cx="507243" cy="338162"/>
      </dsp:txXfrm>
    </dsp:sp>
    <dsp:sp modelId="{3463B6B8-78B7-4A47-8DC0-96832BECA9F3}">
      <dsp:nvSpPr>
        <dsp:cNvPr id="0" name=""/>
        <dsp:cNvSpPr/>
      </dsp:nvSpPr>
      <dsp:spPr>
        <a:xfrm>
          <a:off x="1525163" y="75393"/>
          <a:ext cx="845405" cy="338162"/>
        </a:xfrm>
        <a:prstGeom prst="chevron">
          <a:avLst/>
        </a:prstGeom>
        <a:solidFill>
          <a:srgbClr val="90909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16002" rIns="16002" bIns="16002" numCol="1" spcCol="1270" anchor="ctr" anchorCtr="0">
          <a:noAutofit/>
        </a:bodyPr>
        <a:lstStyle/>
        <a:p>
          <a:pPr marL="0" lvl="0" indent="0" algn="ctr" defTabSz="533400">
            <a:lnSpc>
              <a:spcPct val="90000"/>
            </a:lnSpc>
            <a:spcBef>
              <a:spcPct val="0"/>
            </a:spcBef>
            <a:spcAft>
              <a:spcPct val="35000"/>
            </a:spcAft>
            <a:buNone/>
          </a:pPr>
          <a:r>
            <a:rPr lang="en-US" sz="1200" kern="1200" dirty="0"/>
            <a:t>3</a:t>
          </a:r>
        </a:p>
      </dsp:txBody>
      <dsp:txXfrm>
        <a:off x="1694244" y="75393"/>
        <a:ext cx="507243" cy="338162"/>
      </dsp:txXfrm>
    </dsp:sp>
    <dsp:sp modelId="{571B7F73-FA6F-40DA-9CDC-9E2646942D82}">
      <dsp:nvSpPr>
        <dsp:cNvPr id="0" name=""/>
        <dsp:cNvSpPr/>
      </dsp:nvSpPr>
      <dsp:spPr>
        <a:xfrm>
          <a:off x="2286028" y="75393"/>
          <a:ext cx="845405" cy="338162"/>
        </a:xfrm>
        <a:prstGeom prst="chevron">
          <a:avLst/>
        </a:prstGeom>
        <a:solidFill>
          <a:srgbClr val="90909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16002" rIns="16002" bIns="16002" numCol="1" spcCol="1270" anchor="ctr" anchorCtr="0">
          <a:noAutofit/>
        </a:bodyPr>
        <a:lstStyle/>
        <a:p>
          <a:pPr marL="0" lvl="0" indent="0" algn="ctr" defTabSz="533400">
            <a:lnSpc>
              <a:spcPct val="90000"/>
            </a:lnSpc>
            <a:spcBef>
              <a:spcPct val="0"/>
            </a:spcBef>
            <a:spcAft>
              <a:spcPct val="35000"/>
            </a:spcAft>
            <a:buNone/>
          </a:pPr>
          <a:r>
            <a:rPr lang="en-US" sz="1200" kern="1200" dirty="0"/>
            <a:t>4</a:t>
          </a:r>
        </a:p>
      </dsp:txBody>
      <dsp:txXfrm>
        <a:off x="2455109" y="75393"/>
        <a:ext cx="507243" cy="338162"/>
      </dsp:txXfrm>
    </dsp:sp>
    <dsp:sp modelId="{80822898-6590-4A10-B3EC-F724FA0FACFE}">
      <dsp:nvSpPr>
        <dsp:cNvPr id="0" name=""/>
        <dsp:cNvSpPr/>
      </dsp:nvSpPr>
      <dsp:spPr>
        <a:xfrm>
          <a:off x="3046893" y="75393"/>
          <a:ext cx="845405" cy="338162"/>
        </a:xfrm>
        <a:prstGeom prst="chevron">
          <a:avLst/>
        </a:prstGeom>
        <a:solidFill>
          <a:srgbClr val="90909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16002" rIns="16002" bIns="16002" numCol="1" spcCol="1270" anchor="ctr" anchorCtr="0">
          <a:noAutofit/>
        </a:bodyPr>
        <a:lstStyle/>
        <a:p>
          <a:pPr marL="0" lvl="0" indent="0" algn="ctr" defTabSz="533400">
            <a:lnSpc>
              <a:spcPct val="90000"/>
            </a:lnSpc>
            <a:spcBef>
              <a:spcPct val="0"/>
            </a:spcBef>
            <a:spcAft>
              <a:spcPct val="35000"/>
            </a:spcAft>
            <a:buNone/>
          </a:pPr>
          <a:r>
            <a:rPr lang="en-US" sz="1200" kern="1200" dirty="0"/>
            <a:t>5</a:t>
          </a:r>
        </a:p>
      </dsp:txBody>
      <dsp:txXfrm>
        <a:off x="3215974" y="75393"/>
        <a:ext cx="507243" cy="338162"/>
      </dsp:txXfrm>
    </dsp:sp>
    <dsp:sp modelId="{3FE731B8-7460-462D-AD93-CA99F5C17993}">
      <dsp:nvSpPr>
        <dsp:cNvPr id="0" name=""/>
        <dsp:cNvSpPr/>
      </dsp:nvSpPr>
      <dsp:spPr>
        <a:xfrm>
          <a:off x="3807758" y="75393"/>
          <a:ext cx="845405" cy="338162"/>
        </a:xfrm>
        <a:prstGeom prst="chevron">
          <a:avLst/>
        </a:prstGeom>
        <a:solidFill>
          <a:srgbClr val="90909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16002" rIns="16002" bIns="16002" numCol="1" spcCol="1270" anchor="ctr" anchorCtr="0">
          <a:noAutofit/>
        </a:bodyPr>
        <a:lstStyle/>
        <a:p>
          <a:pPr marL="0" lvl="0" indent="0" algn="ctr" defTabSz="533400">
            <a:lnSpc>
              <a:spcPct val="90000"/>
            </a:lnSpc>
            <a:spcBef>
              <a:spcPct val="0"/>
            </a:spcBef>
            <a:spcAft>
              <a:spcPct val="35000"/>
            </a:spcAft>
            <a:buNone/>
          </a:pPr>
          <a:r>
            <a:rPr lang="en-US" sz="1200" kern="1200" dirty="0"/>
            <a:t>6</a:t>
          </a:r>
        </a:p>
      </dsp:txBody>
      <dsp:txXfrm>
        <a:off x="3976839" y="75393"/>
        <a:ext cx="507243" cy="338162"/>
      </dsp:txXfrm>
    </dsp:sp>
    <dsp:sp modelId="{378651A3-5EFA-4DE1-8ECE-2D26DC02264B}">
      <dsp:nvSpPr>
        <dsp:cNvPr id="0" name=""/>
        <dsp:cNvSpPr/>
      </dsp:nvSpPr>
      <dsp:spPr>
        <a:xfrm>
          <a:off x="4568623" y="75393"/>
          <a:ext cx="845405" cy="338162"/>
        </a:xfrm>
        <a:prstGeom prst="chevron">
          <a:avLst/>
        </a:prstGeom>
        <a:solidFill>
          <a:srgbClr val="90909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16002" rIns="16002" bIns="16002" numCol="1" spcCol="1270" anchor="ctr" anchorCtr="0">
          <a:noAutofit/>
        </a:bodyPr>
        <a:lstStyle/>
        <a:p>
          <a:pPr marL="0" lvl="0" indent="0" algn="ctr" defTabSz="533400">
            <a:lnSpc>
              <a:spcPct val="90000"/>
            </a:lnSpc>
            <a:spcBef>
              <a:spcPct val="0"/>
            </a:spcBef>
            <a:spcAft>
              <a:spcPct val="35000"/>
            </a:spcAft>
            <a:buNone/>
          </a:pPr>
          <a:r>
            <a:rPr lang="en-US" sz="1200" kern="1200" dirty="0"/>
            <a:t>7</a:t>
          </a:r>
        </a:p>
      </dsp:txBody>
      <dsp:txXfrm>
        <a:off x="4737704" y="75393"/>
        <a:ext cx="507243" cy="338162"/>
      </dsp:txXfrm>
    </dsp:sp>
    <dsp:sp modelId="{CBF85DBC-6958-46B3-8486-210441D9CAB7}">
      <dsp:nvSpPr>
        <dsp:cNvPr id="0" name=""/>
        <dsp:cNvSpPr/>
      </dsp:nvSpPr>
      <dsp:spPr>
        <a:xfrm>
          <a:off x="5329488" y="75393"/>
          <a:ext cx="845405" cy="338162"/>
        </a:xfrm>
        <a:prstGeom prst="chevron">
          <a:avLst/>
        </a:prstGeom>
        <a:solidFill>
          <a:srgbClr val="90909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16002" rIns="16002" bIns="16002" numCol="1" spcCol="1270" anchor="ctr" anchorCtr="0">
          <a:noAutofit/>
        </a:bodyPr>
        <a:lstStyle/>
        <a:p>
          <a:pPr marL="0" lvl="0" indent="0" algn="ctr" defTabSz="533400">
            <a:lnSpc>
              <a:spcPct val="90000"/>
            </a:lnSpc>
            <a:spcBef>
              <a:spcPct val="0"/>
            </a:spcBef>
            <a:spcAft>
              <a:spcPct val="35000"/>
            </a:spcAft>
            <a:buNone/>
          </a:pPr>
          <a:r>
            <a:rPr lang="en-US" sz="1200" kern="1200" dirty="0"/>
            <a:t>8</a:t>
          </a:r>
        </a:p>
      </dsp:txBody>
      <dsp:txXfrm>
        <a:off x="5498569" y="75393"/>
        <a:ext cx="507243" cy="338162"/>
      </dsp:txXfrm>
    </dsp:sp>
    <dsp:sp modelId="{790B2AE0-AF78-414A-BC58-9F9DD3793BC1}">
      <dsp:nvSpPr>
        <dsp:cNvPr id="0" name=""/>
        <dsp:cNvSpPr/>
      </dsp:nvSpPr>
      <dsp:spPr>
        <a:xfrm>
          <a:off x="6090353" y="75393"/>
          <a:ext cx="845405" cy="338162"/>
        </a:xfrm>
        <a:prstGeom prst="chevron">
          <a:avLst/>
        </a:prstGeom>
        <a:solidFill>
          <a:srgbClr val="90909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16002" rIns="16002" bIns="16002" numCol="1" spcCol="1270" anchor="ctr" anchorCtr="0">
          <a:noAutofit/>
        </a:bodyPr>
        <a:lstStyle/>
        <a:p>
          <a:pPr marL="0" lvl="0" indent="0" algn="ctr" defTabSz="533400">
            <a:lnSpc>
              <a:spcPct val="90000"/>
            </a:lnSpc>
            <a:spcBef>
              <a:spcPct val="0"/>
            </a:spcBef>
            <a:spcAft>
              <a:spcPct val="35000"/>
            </a:spcAft>
            <a:buNone/>
          </a:pPr>
          <a:r>
            <a:rPr lang="en-US" sz="1200" kern="1200" dirty="0"/>
            <a:t>9</a:t>
          </a:r>
        </a:p>
      </dsp:txBody>
      <dsp:txXfrm>
        <a:off x="6259434" y="75393"/>
        <a:ext cx="507243" cy="338162"/>
      </dsp:txXfrm>
    </dsp:sp>
    <dsp:sp modelId="{7EF8B96B-DA16-464E-8B0C-F2875C186912}">
      <dsp:nvSpPr>
        <dsp:cNvPr id="0" name=""/>
        <dsp:cNvSpPr/>
      </dsp:nvSpPr>
      <dsp:spPr>
        <a:xfrm>
          <a:off x="6851218" y="75393"/>
          <a:ext cx="845405" cy="338162"/>
        </a:xfrm>
        <a:prstGeom prst="chevron">
          <a:avLst/>
        </a:prstGeom>
        <a:solidFill>
          <a:srgbClr val="90909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16002" rIns="16002" bIns="16002" numCol="1" spcCol="1270" anchor="ctr" anchorCtr="0">
          <a:noAutofit/>
        </a:bodyPr>
        <a:lstStyle/>
        <a:p>
          <a:pPr marL="0" lvl="0" indent="0" algn="ctr" defTabSz="533400">
            <a:lnSpc>
              <a:spcPct val="90000"/>
            </a:lnSpc>
            <a:spcBef>
              <a:spcPct val="0"/>
            </a:spcBef>
            <a:spcAft>
              <a:spcPct val="35000"/>
            </a:spcAft>
            <a:buNone/>
          </a:pPr>
          <a:r>
            <a:rPr lang="en-US" sz="1200" kern="1200" dirty="0"/>
            <a:t>10</a:t>
          </a:r>
        </a:p>
      </dsp:txBody>
      <dsp:txXfrm>
        <a:off x="7020299" y="75393"/>
        <a:ext cx="507243" cy="338162"/>
      </dsp:txXfrm>
    </dsp:sp>
    <dsp:sp modelId="{383AC0A2-6E1E-4D81-AC1D-9FB0CBC3A3EA}">
      <dsp:nvSpPr>
        <dsp:cNvPr id="0" name=""/>
        <dsp:cNvSpPr/>
      </dsp:nvSpPr>
      <dsp:spPr>
        <a:xfrm>
          <a:off x="7612083" y="75393"/>
          <a:ext cx="845405" cy="338162"/>
        </a:xfrm>
        <a:prstGeom prst="chevron">
          <a:avLst/>
        </a:prstGeom>
        <a:solidFill>
          <a:srgbClr val="90909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16002" rIns="16002" bIns="16002" numCol="1" spcCol="1270" anchor="ctr" anchorCtr="0">
          <a:noAutofit/>
        </a:bodyPr>
        <a:lstStyle/>
        <a:p>
          <a:pPr marL="0" lvl="0" indent="0" algn="ctr" defTabSz="533400">
            <a:lnSpc>
              <a:spcPct val="90000"/>
            </a:lnSpc>
            <a:spcBef>
              <a:spcPct val="0"/>
            </a:spcBef>
            <a:spcAft>
              <a:spcPct val="35000"/>
            </a:spcAft>
            <a:buNone/>
          </a:pPr>
          <a:r>
            <a:rPr lang="en-US" sz="1200" kern="1200" dirty="0"/>
            <a:t>11</a:t>
          </a:r>
        </a:p>
      </dsp:txBody>
      <dsp:txXfrm>
        <a:off x="7781164" y="75393"/>
        <a:ext cx="507243" cy="338162"/>
      </dsp:txXfrm>
    </dsp:sp>
    <dsp:sp modelId="{7C6EA6C0-116C-4575-A329-19B523129479}">
      <dsp:nvSpPr>
        <dsp:cNvPr id="0" name=""/>
        <dsp:cNvSpPr/>
      </dsp:nvSpPr>
      <dsp:spPr>
        <a:xfrm>
          <a:off x="8372948" y="75393"/>
          <a:ext cx="845405" cy="338162"/>
        </a:xfrm>
        <a:prstGeom prst="chevron">
          <a:avLst/>
        </a:prstGeom>
        <a:solidFill>
          <a:srgbClr val="90909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16002" rIns="16002" bIns="16002" numCol="1" spcCol="1270" anchor="ctr" anchorCtr="0">
          <a:noAutofit/>
        </a:bodyPr>
        <a:lstStyle/>
        <a:p>
          <a:pPr marL="0" lvl="0" indent="0" algn="ctr" defTabSz="533400">
            <a:lnSpc>
              <a:spcPct val="90000"/>
            </a:lnSpc>
            <a:spcBef>
              <a:spcPct val="0"/>
            </a:spcBef>
            <a:spcAft>
              <a:spcPct val="35000"/>
            </a:spcAft>
            <a:buNone/>
          </a:pPr>
          <a:r>
            <a:rPr lang="en-US" sz="1200" kern="1200" dirty="0"/>
            <a:t>12</a:t>
          </a:r>
        </a:p>
      </dsp:txBody>
      <dsp:txXfrm>
        <a:off x="8542029" y="75393"/>
        <a:ext cx="507243" cy="338162"/>
      </dsp:txXfrm>
    </dsp:sp>
  </dsp:spTree>
</dsp:drawing>
</file>

<file path=ppt/diagrams/layout1.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02/03/2019</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02/03/2019</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1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2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2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dirty="0"/>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1</a:t>
            </a:fld>
            <a:endParaRPr lang="pt-BR"/>
          </a:p>
        </p:txBody>
      </p:sp>
    </p:spTree>
    <p:extLst>
      <p:ext uri="{BB962C8B-B14F-4D97-AF65-F5344CB8AC3E}">
        <p14:creationId xmlns:p14="http://schemas.microsoft.com/office/powerpoint/2010/main" val="202606261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slajdu 1"/>
          <p:cNvSpPr>
            <a:spLocks noGrp="1" noRot="1" noChangeAspect="1"/>
          </p:cNvSpPr>
          <p:nvPr>
            <p:ph type="sldImg"/>
          </p:nvPr>
        </p:nvSpPr>
        <p:spPr/>
      </p:sp>
      <p:sp>
        <p:nvSpPr>
          <p:cNvPr id="3" name="Symbol zastępczy notatek 2"/>
          <p:cNvSpPr>
            <a:spLocks noGrp="1"/>
          </p:cNvSpPr>
          <p:nvPr>
            <p:ph type="body" idx="1"/>
          </p:nvPr>
        </p:nvSpPr>
        <p:spPr/>
        <p:txBody>
          <a:bodyPr/>
          <a:lstStyle/>
          <a:p>
            <a:r>
              <a:rPr lang="en-US" dirty="0"/>
              <a:t>https://docs.microsoft.com/pl-pl/dotnet/csharp/whats-new/csharp-version-history</a:t>
            </a:r>
            <a:br>
              <a:rPr lang="en-US" dirty="0"/>
            </a:br>
            <a:r>
              <a:rPr lang="en-US" dirty="0"/>
              <a:t>https://en.wikipedia.org/wiki/C_Sharp_(programming_language)</a:t>
            </a:r>
          </a:p>
        </p:txBody>
      </p:sp>
      <p:sp>
        <p:nvSpPr>
          <p:cNvPr id="4" name="Symbol zastępczy numeru slajdu 3"/>
          <p:cNvSpPr>
            <a:spLocks noGrp="1"/>
          </p:cNvSpPr>
          <p:nvPr>
            <p:ph type="sldNum" sz="quarter" idx="5"/>
          </p:nvPr>
        </p:nvSpPr>
        <p:spPr/>
        <p:txBody>
          <a:bodyPr/>
          <a:lstStyle/>
          <a:p>
            <a:fld id="{C0696B5C-12A0-4042-B4D0-BD3B9A4F58C6}" type="slidenum">
              <a:rPr lang="pt-BR" smtClean="0"/>
              <a:pPr/>
              <a:t>7</a:t>
            </a:fld>
            <a:endParaRPr lang="pt-BR"/>
          </a:p>
        </p:txBody>
      </p:sp>
    </p:spTree>
    <p:extLst>
      <p:ext uri="{BB962C8B-B14F-4D97-AF65-F5344CB8AC3E}">
        <p14:creationId xmlns:p14="http://schemas.microsoft.com/office/powerpoint/2010/main" val="219974269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slajdu 1"/>
          <p:cNvSpPr>
            <a:spLocks noGrp="1" noRot="1" noChangeAspect="1"/>
          </p:cNvSpPr>
          <p:nvPr>
            <p:ph type="sldImg"/>
          </p:nvPr>
        </p:nvSpPr>
        <p:spPr/>
      </p:sp>
      <p:sp>
        <p:nvSpPr>
          <p:cNvPr id="3" name="Symbol zastępczy notatek 2"/>
          <p:cNvSpPr>
            <a:spLocks noGrp="1"/>
          </p:cNvSpPr>
          <p:nvPr>
            <p:ph type="body" idx="1"/>
          </p:nvPr>
        </p:nvSpPr>
        <p:spPr/>
        <p:txBody>
          <a:bodyPr/>
          <a:lstStyle/>
          <a:p>
            <a:r>
              <a:rPr lang="pl-PL" dirty="0"/>
              <a:t>1) https://docs.microsoft.com/en-us/dotnet/csharp/nullable-references</a:t>
            </a:r>
            <a:endParaRPr lang="en-US" dirty="0"/>
          </a:p>
        </p:txBody>
      </p:sp>
      <p:sp>
        <p:nvSpPr>
          <p:cNvPr id="4" name="Symbol zastępczy numeru slajdu 3"/>
          <p:cNvSpPr>
            <a:spLocks noGrp="1"/>
          </p:cNvSpPr>
          <p:nvPr>
            <p:ph type="sldNum" sz="quarter" idx="5"/>
          </p:nvPr>
        </p:nvSpPr>
        <p:spPr/>
        <p:txBody>
          <a:bodyPr/>
          <a:lstStyle/>
          <a:p>
            <a:fld id="{C0696B5C-12A0-4042-B4D0-BD3B9A4F58C6}" type="slidenum">
              <a:rPr lang="pt-BR" smtClean="0"/>
              <a:pPr/>
              <a:t>90</a:t>
            </a:fld>
            <a:endParaRPr lang="pt-BR"/>
          </a:p>
        </p:txBody>
      </p:sp>
    </p:spTree>
    <p:extLst>
      <p:ext uri="{BB962C8B-B14F-4D97-AF65-F5344CB8AC3E}">
        <p14:creationId xmlns:p14="http://schemas.microsoft.com/office/powerpoint/2010/main" val="167842881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slajdu 1"/>
          <p:cNvSpPr>
            <a:spLocks noGrp="1" noRot="1" noChangeAspect="1"/>
          </p:cNvSpPr>
          <p:nvPr>
            <p:ph type="sldImg"/>
          </p:nvPr>
        </p:nvSpPr>
        <p:spPr/>
      </p:sp>
      <p:sp>
        <p:nvSpPr>
          <p:cNvPr id="3" name="Symbol zastępczy notatek 2"/>
          <p:cNvSpPr>
            <a:spLocks noGrp="1"/>
          </p:cNvSpPr>
          <p:nvPr>
            <p:ph type="body" idx="1"/>
          </p:nvPr>
        </p:nvSpPr>
        <p:spPr/>
        <p:txBody>
          <a:bodyPr/>
          <a:lstStyle/>
          <a:p>
            <a:r>
              <a:rPr lang="en-US" dirty="0"/>
              <a:t>https://github.com/dotnet/csharplang/blob/master/proposals/csharp-8.0/patterns.md</a:t>
            </a:r>
          </a:p>
        </p:txBody>
      </p:sp>
      <p:sp>
        <p:nvSpPr>
          <p:cNvPr id="4" name="Symbol zastępczy numeru slajdu 3"/>
          <p:cNvSpPr>
            <a:spLocks noGrp="1"/>
          </p:cNvSpPr>
          <p:nvPr>
            <p:ph type="sldNum" sz="quarter" idx="5"/>
          </p:nvPr>
        </p:nvSpPr>
        <p:spPr/>
        <p:txBody>
          <a:bodyPr/>
          <a:lstStyle/>
          <a:p>
            <a:fld id="{C0696B5C-12A0-4042-B4D0-BD3B9A4F58C6}" type="slidenum">
              <a:rPr lang="pt-BR" smtClean="0"/>
              <a:pPr/>
              <a:t>119</a:t>
            </a:fld>
            <a:endParaRPr lang="pt-BR"/>
          </a:p>
        </p:txBody>
      </p:sp>
    </p:spTree>
    <p:extLst>
      <p:ext uri="{BB962C8B-B14F-4D97-AF65-F5344CB8AC3E}">
        <p14:creationId xmlns:p14="http://schemas.microsoft.com/office/powerpoint/2010/main" val="108236749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slajdu 1"/>
          <p:cNvSpPr>
            <a:spLocks noGrp="1" noRot="1" noChangeAspect="1"/>
          </p:cNvSpPr>
          <p:nvPr>
            <p:ph type="sldImg"/>
          </p:nvPr>
        </p:nvSpPr>
        <p:spPr/>
      </p:sp>
      <p:sp>
        <p:nvSpPr>
          <p:cNvPr id="3" name="Symbol zastępczy notatek 2"/>
          <p:cNvSpPr>
            <a:spLocks noGrp="1"/>
          </p:cNvSpPr>
          <p:nvPr>
            <p:ph type="body" idx="1"/>
          </p:nvPr>
        </p:nvSpPr>
        <p:spPr/>
        <p:txBody>
          <a:bodyPr/>
          <a:lstStyle/>
          <a:p>
            <a:r>
              <a:rPr lang="en-US" dirty="0"/>
              <a:t>https://docs.microsoft.com/pl-pl/dotnet/csharp/whats-new/csharp-7#is-expression</a:t>
            </a:r>
          </a:p>
        </p:txBody>
      </p:sp>
      <p:sp>
        <p:nvSpPr>
          <p:cNvPr id="4" name="Symbol zastępczy numeru slajdu 3"/>
          <p:cNvSpPr>
            <a:spLocks noGrp="1"/>
          </p:cNvSpPr>
          <p:nvPr>
            <p:ph type="sldNum" sz="quarter" idx="5"/>
          </p:nvPr>
        </p:nvSpPr>
        <p:spPr/>
        <p:txBody>
          <a:bodyPr/>
          <a:lstStyle/>
          <a:p>
            <a:fld id="{C0696B5C-12A0-4042-B4D0-BD3B9A4F58C6}" type="slidenum">
              <a:rPr lang="pt-BR" smtClean="0"/>
              <a:pPr/>
              <a:t>120</a:t>
            </a:fld>
            <a:endParaRPr lang="pt-BR"/>
          </a:p>
        </p:txBody>
      </p:sp>
    </p:spTree>
    <p:extLst>
      <p:ext uri="{BB962C8B-B14F-4D97-AF65-F5344CB8AC3E}">
        <p14:creationId xmlns:p14="http://schemas.microsoft.com/office/powerpoint/2010/main" val="130928625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slajdu 1"/>
          <p:cNvSpPr>
            <a:spLocks noGrp="1" noRot="1" noChangeAspect="1"/>
          </p:cNvSpPr>
          <p:nvPr>
            <p:ph type="sldImg"/>
          </p:nvPr>
        </p:nvSpPr>
        <p:spPr/>
      </p:sp>
      <p:sp>
        <p:nvSpPr>
          <p:cNvPr id="3" name="Symbol zastępczy notatek 2"/>
          <p:cNvSpPr>
            <a:spLocks noGrp="1"/>
          </p:cNvSpPr>
          <p:nvPr>
            <p:ph type="body" idx="1"/>
          </p:nvPr>
        </p:nvSpPr>
        <p:spPr/>
        <p:txBody>
          <a:bodyPr/>
          <a:lstStyle/>
          <a:p>
            <a:r>
              <a:rPr lang="en-US" dirty="0"/>
              <a:t>https://docs.microsoft.com/pl-pl/dotnet/csharp/whats-new/csharp-7#is-expression</a:t>
            </a:r>
          </a:p>
        </p:txBody>
      </p:sp>
      <p:sp>
        <p:nvSpPr>
          <p:cNvPr id="4" name="Symbol zastępczy numeru slajdu 3"/>
          <p:cNvSpPr>
            <a:spLocks noGrp="1"/>
          </p:cNvSpPr>
          <p:nvPr>
            <p:ph type="sldNum" sz="quarter" idx="5"/>
          </p:nvPr>
        </p:nvSpPr>
        <p:spPr/>
        <p:txBody>
          <a:bodyPr/>
          <a:lstStyle/>
          <a:p>
            <a:fld id="{C0696B5C-12A0-4042-B4D0-BD3B9A4F58C6}" type="slidenum">
              <a:rPr lang="pt-BR" smtClean="0"/>
              <a:pPr/>
              <a:t>121</a:t>
            </a:fld>
            <a:endParaRPr lang="pt-BR"/>
          </a:p>
        </p:txBody>
      </p:sp>
    </p:spTree>
    <p:extLst>
      <p:ext uri="{BB962C8B-B14F-4D97-AF65-F5344CB8AC3E}">
        <p14:creationId xmlns:p14="http://schemas.microsoft.com/office/powerpoint/2010/main" val="349664439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slajdu 1"/>
          <p:cNvSpPr>
            <a:spLocks noGrp="1" noRot="1" noChangeAspect="1"/>
          </p:cNvSpPr>
          <p:nvPr>
            <p:ph type="sldImg"/>
          </p:nvPr>
        </p:nvSpPr>
        <p:spPr/>
      </p:sp>
      <p:sp>
        <p:nvSpPr>
          <p:cNvPr id="3" name="Symbol zastępczy notatek 2"/>
          <p:cNvSpPr>
            <a:spLocks noGrp="1"/>
          </p:cNvSpPr>
          <p:nvPr>
            <p:ph type="body" idx="1"/>
          </p:nvPr>
        </p:nvSpPr>
        <p:spPr/>
        <p:txBody>
          <a:bodyPr/>
          <a:lstStyle/>
          <a:p>
            <a:r>
              <a:rPr lang="en-US" dirty="0"/>
              <a:t>https://github.com/dotnet/csharplang/blob/master/proposals/csharp-8.0/patterns.md#declaration-pattern</a:t>
            </a:r>
          </a:p>
          <a:p>
            <a:r>
              <a:rPr lang="en-US" dirty="0"/>
              <a:t>https://github.com/dotnet/csharplang/blob/master/proposals/csharp-8.0/patterns.md#property-pattern</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https://github.com/dotnet/csharplang/blob/master/proposals/csharp-8.0/patterns.md#constant-pattern</a:t>
            </a:r>
          </a:p>
        </p:txBody>
      </p:sp>
      <p:sp>
        <p:nvSpPr>
          <p:cNvPr id="4" name="Symbol zastępczy numeru slajdu 3"/>
          <p:cNvSpPr>
            <a:spLocks noGrp="1"/>
          </p:cNvSpPr>
          <p:nvPr>
            <p:ph type="sldNum" sz="quarter" idx="5"/>
          </p:nvPr>
        </p:nvSpPr>
        <p:spPr/>
        <p:txBody>
          <a:bodyPr/>
          <a:lstStyle/>
          <a:p>
            <a:fld id="{C0696B5C-12A0-4042-B4D0-BD3B9A4F58C6}" type="slidenum">
              <a:rPr lang="pt-BR" smtClean="0"/>
              <a:pPr/>
              <a:t>122</a:t>
            </a:fld>
            <a:endParaRPr lang="pt-BR"/>
          </a:p>
        </p:txBody>
      </p:sp>
    </p:spTree>
    <p:extLst>
      <p:ext uri="{BB962C8B-B14F-4D97-AF65-F5344CB8AC3E}">
        <p14:creationId xmlns:p14="http://schemas.microsoft.com/office/powerpoint/2010/main" val="205325065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slajdu 1"/>
          <p:cNvSpPr>
            <a:spLocks noGrp="1" noRot="1" noChangeAspect="1"/>
          </p:cNvSpPr>
          <p:nvPr>
            <p:ph type="sldImg"/>
          </p:nvPr>
        </p:nvSpPr>
        <p:spPr/>
      </p:sp>
      <p:sp>
        <p:nvSpPr>
          <p:cNvPr id="3" name="Symbol zastępczy notatek 2"/>
          <p:cNvSpPr>
            <a:spLocks noGrp="1"/>
          </p:cNvSpPr>
          <p:nvPr>
            <p:ph type="body" idx="1"/>
          </p:nvPr>
        </p:nvSpPr>
        <p:spPr/>
        <p:txBody>
          <a:bodyPr/>
          <a:lstStyle/>
          <a:p>
            <a:r>
              <a:rPr lang="en-US" dirty="0"/>
              <a:t>https://github.com/dotnet/csharplang/blob/master/proposals/csharp-8.0/patterns.md#property-pattern</a:t>
            </a:r>
          </a:p>
          <a:p>
            <a:r>
              <a:rPr lang="en-US" dirty="0"/>
              <a:t>https://github.com/dotnet/csharplang/blob/master/proposals/csharp-8.0/patterns.md#var-pattern</a:t>
            </a:r>
          </a:p>
          <a:p>
            <a:r>
              <a:rPr lang="en-US" dirty="0"/>
              <a:t>https://github.com/dotnet/csharplang/blob/master/proposals/csharp-8.0/patterns.md#positional-pattern</a:t>
            </a:r>
          </a:p>
          <a:p>
            <a:r>
              <a:rPr lang="en-US" dirty="0"/>
              <a:t>https://github.com/dotnet/csharplang/blob/master/proposals/csharp-8.0/patterns.md#discard-pattern</a:t>
            </a:r>
          </a:p>
        </p:txBody>
      </p:sp>
      <p:sp>
        <p:nvSpPr>
          <p:cNvPr id="4" name="Symbol zastępczy numeru slajdu 3"/>
          <p:cNvSpPr>
            <a:spLocks noGrp="1"/>
          </p:cNvSpPr>
          <p:nvPr>
            <p:ph type="sldNum" sz="quarter" idx="5"/>
          </p:nvPr>
        </p:nvSpPr>
        <p:spPr/>
        <p:txBody>
          <a:bodyPr/>
          <a:lstStyle/>
          <a:p>
            <a:fld id="{C0696B5C-12A0-4042-B4D0-BD3B9A4F58C6}" type="slidenum">
              <a:rPr lang="pt-BR" smtClean="0"/>
              <a:pPr/>
              <a:t>123</a:t>
            </a:fld>
            <a:endParaRPr lang="pt-BR"/>
          </a:p>
        </p:txBody>
      </p:sp>
    </p:spTree>
    <p:extLst>
      <p:ext uri="{BB962C8B-B14F-4D97-AF65-F5344CB8AC3E}">
        <p14:creationId xmlns:p14="http://schemas.microsoft.com/office/powerpoint/2010/main" val="136437147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xml"/><Relationship Id="rId1" Type="http://schemas.openxmlformats.org/officeDocument/2006/relationships/vmlDrawing" Target="../drawings/vmlDrawing9.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1.xml"/><Relationship Id="rId1" Type="http://schemas.openxmlformats.org/officeDocument/2006/relationships/vmlDrawing" Target="../drawings/vmlDrawing10.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2.xml"/><Relationship Id="rId1" Type="http://schemas.openxmlformats.org/officeDocument/2006/relationships/vmlDrawing" Target="../drawings/vmlDrawing11.v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3.xml"/><Relationship Id="rId1" Type="http://schemas.openxmlformats.org/officeDocument/2006/relationships/vmlDrawing" Target="../drawings/vmlDrawing12.vml"/><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5.xml"/><Relationship Id="rId1" Type="http://schemas.openxmlformats.org/officeDocument/2006/relationships/vmlDrawing" Target="../drawings/vmlDrawing14.v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6.xml"/><Relationship Id="rId1" Type="http://schemas.openxmlformats.org/officeDocument/2006/relationships/vmlDrawing" Target="../drawings/vmlDrawing15.v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7.xml"/><Relationship Id="rId1" Type="http://schemas.openxmlformats.org/officeDocument/2006/relationships/vmlDrawing" Target="../drawings/vmlDrawing16.vml"/><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8.xml"/><Relationship Id="rId1" Type="http://schemas.openxmlformats.org/officeDocument/2006/relationships/vmlDrawing" Target="../drawings/vmlDrawing17.vml"/><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22.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www.capgemini.com/about/how-we-work/rightshorer" TargetMode="External"/><Relationship Id="rId3" Type="http://schemas.openxmlformats.org/officeDocument/2006/relationships/image" Target="../media/image2.png"/><Relationship Id="rId7" Type="http://schemas.openxmlformats.org/officeDocument/2006/relationships/image" Target="../media/image4.png"/><Relationship Id="rId12" Type="http://schemas.openxmlformats.org/officeDocument/2006/relationships/hyperlink" Target="http://www.capgemini.com/about/how-we-work/the-collaborative-business-experiencetm" TargetMode="External"/><Relationship Id="rId2" Type="http://schemas.openxmlformats.org/officeDocument/2006/relationships/hyperlink" Target="http://www.linkedin.com/company/capgemini" TargetMode="External"/><Relationship Id="rId1" Type="http://schemas.openxmlformats.org/officeDocument/2006/relationships/slideMaster" Target="../slideMasters/slideMaster4.xml"/><Relationship Id="rId6" Type="http://schemas.openxmlformats.org/officeDocument/2006/relationships/hyperlink" Target="http://www.twitter.com/capgemini" TargetMode="External"/><Relationship Id="rId11" Type="http://schemas.openxmlformats.org/officeDocument/2006/relationships/image" Target="../media/image6.png"/><Relationship Id="rId5" Type="http://schemas.openxmlformats.org/officeDocument/2006/relationships/image" Target="../media/image3.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5.png"/></Relationships>
</file>

<file path=ppt/slideLayouts/_rels/slideLayout23.xml.rels><?xml version="1.0" encoding="UTF-8" standalone="yes"?>
<Relationships xmlns="http://schemas.openxmlformats.org/package/2006/relationships"><Relationship Id="rId8" Type="http://schemas.microsoft.com/office/2007/relationships/hdphoto" Target="../media/hdphoto2.wdp"/><Relationship Id="rId13" Type="http://schemas.openxmlformats.org/officeDocument/2006/relationships/image" Target="../media/image10.png"/><Relationship Id="rId18" Type="http://schemas.openxmlformats.org/officeDocument/2006/relationships/hyperlink" Target="http://www.capgemini.com/" TargetMode="External"/><Relationship Id="rId3" Type="http://schemas.openxmlformats.org/officeDocument/2006/relationships/hyperlink" Target="http://www.linkedin.com/company/capgemini" TargetMode="External"/><Relationship Id="rId7" Type="http://schemas.openxmlformats.org/officeDocument/2006/relationships/image" Target="../media/image8.png"/><Relationship Id="rId12" Type="http://schemas.openxmlformats.org/officeDocument/2006/relationships/hyperlink" Target="http://www.youtube.com/capgeminimedia" TargetMode="External"/><Relationship Id="rId17" Type="http://schemas.microsoft.com/office/2007/relationships/hdphoto" Target="../media/hdphoto5.wdp"/><Relationship Id="rId2" Type="http://schemas.openxmlformats.org/officeDocument/2006/relationships/slideMaster" Target="../slideMasters/slideMaster4.xml"/><Relationship Id="rId16" Type="http://schemas.openxmlformats.org/officeDocument/2006/relationships/image" Target="../media/image11.png"/><Relationship Id="rId1" Type="http://schemas.openxmlformats.org/officeDocument/2006/relationships/tags" Target="../tags/tag20.xml"/><Relationship Id="rId6" Type="http://schemas.openxmlformats.org/officeDocument/2006/relationships/hyperlink" Target="http://www.slideshare.net/capgemini" TargetMode="External"/><Relationship Id="rId11" Type="http://schemas.microsoft.com/office/2007/relationships/hdphoto" Target="../media/hdphoto3.wdp"/><Relationship Id="rId5" Type="http://schemas.microsoft.com/office/2007/relationships/hdphoto" Target="../media/hdphoto1.wdp"/><Relationship Id="rId15" Type="http://schemas.openxmlformats.org/officeDocument/2006/relationships/hyperlink" Target="http://www.facebook.com/capgemini" TargetMode="External"/><Relationship Id="rId10" Type="http://schemas.openxmlformats.org/officeDocument/2006/relationships/image" Target="../media/image9.png"/><Relationship Id="rId4" Type="http://schemas.openxmlformats.org/officeDocument/2006/relationships/image" Target="../media/image7.png"/><Relationship Id="rId9" Type="http://schemas.openxmlformats.org/officeDocument/2006/relationships/hyperlink" Target="http://www.twitter.com/capgemini" TargetMode="External"/><Relationship Id="rId14" Type="http://schemas.microsoft.com/office/2007/relationships/hdphoto" Target="../media/hdphoto4.wdp"/></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2.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pl-PL"/>
              <a:t>Edytuj style wzorca tekstu</a:t>
            </a:r>
          </a:p>
          <a:p>
            <a:pPr lvl="1"/>
            <a:r>
              <a:rPr lang="pl-PL"/>
              <a:t>Drugi poziom</a:t>
            </a:r>
          </a:p>
          <a:p>
            <a:pPr lvl="2"/>
            <a:r>
              <a:rPr lang="pl-PL"/>
              <a:t>Trzeci poziom</a:t>
            </a:r>
          </a:p>
          <a:p>
            <a:pPr lvl="3"/>
            <a:r>
              <a:rPr lang="pl-PL"/>
              <a:t>Czwarty poziom</a:t>
            </a:r>
          </a:p>
          <a:p>
            <a:pPr lvl="4"/>
            <a:r>
              <a:rPr lang="pl-PL"/>
              <a:t>Piąty poziom</a:t>
            </a:r>
            <a:endParaRPr lang="en-US" dirty="0"/>
          </a:p>
        </p:txBody>
      </p:sp>
      <p:sp>
        <p:nvSpPr>
          <p:cNvPr id="3" name="Titre 2"/>
          <p:cNvSpPr>
            <a:spLocks noGrp="1"/>
          </p:cNvSpPr>
          <p:nvPr>
            <p:ph type="title"/>
          </p:nvPr>
        </p:nvSpPr>
        <p:spPr/>
        <p:txBody>
          <a:bodyPr/>
          <a:lstStyle/>
          <a:p>
            <a:r>
              <a:rPr lang="pl-PL"/>
              <a:t>Kliknij, aby edytować styl</a:t>
            </a:r>
            <a:endParaRPr lang="en-US"/>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9382" name="think-cell Slide" r:id="rId4" imgW="270" imgH="270" progId="TCLayout.ActiveDocument.1">
                  <p:embed/>
                </p:oleObj>
              </mc:Choice>
              <mc:Fallback>
                <p:oleObj name="think-cell Slide" r:id="rId4" imgW="270" imgH="270" progId="TCLayout.ActiveDocument.1">
                  <p:embed/>
                  <p:pic>
                    <p:nvPicPr>
                      <p:cNvPr id="0" name="Picture 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pl-PL"/>
              <a:t>Kliknij, aby edytować styl</a:t>
            </a:r>
            <a:endParaRPr lang="en-GB" dirty="0"/>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64663"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71387784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258332367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Section break 3">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66654" name="think-cell Slide" r:id="rId4" imgW="270" imgH="270" progId="TCLayout.ActiveDocument.1">
                  <p:embed/>
                </p:oleObj>
              </mc:Choice>
              <mc:Fallback>
                <p:oleObj name="think-cell Slide" r:id="rId4" imgW="270" imgH="270" progId="TCLayout.ActiveDocument.1">
                  <p:embed/>
                  <p:pic>
                    <p:nvPicPr>
                      <p:cNvPr id="10" name="Object 9"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5366" name="Freeform 6"/>
          <p:cNvSpPr>
            <a:spLocks/>
          </p:cNvSpPr>
          <p:nvPr userDrawn="1"/>
        </p:nvSpPr>
        <p:spPr bwMode="auto">
          <a:xfrm>
            <a:off x="0" y="0"/>
            <a:ext cx="7651750" cy="6858000"/>
          </a:xfrm>
          <a:custGeom>
            <a:avLst/>
            <a:gdLst/>
            <a:ahLst/>
            <a:cxnLst>
              <a:cxn ang="0">
                <a:pos x="0" y="4320"/>
              </a:cxn>
              <a:cxn ang="0">
                <a:pos x="0" y="18"/>
              </a:cxn>
              <a:cxn ang="0">
                <a:pos x="2" y="4"/>
              </a:cxn>
              <a:cxn ang="0">
                <a:pos x="18" y="0"/>
              </a:cxn>
              <a:cxn ang="0">
                <a:pos x="4802" y="0"/>
              </a:cxn>
              <a:cxn ang="0">
                <a:pos x="4812" y="0"/>
              </a:cxn>
              <a:cxn ang="0">
                <a:pos x="4820" y="8"/>
              </a:cxn>
              <a:cxn ang="0">
                <a:pos x="4820" y="18"/>
              </a:cxn>
              <a:cxn ang="0">
                <a:pos x="4820" y="50"/>
              </a:cxn>
              <a:cxn ang="0">
                <a:pos x="4816" y="52"/>
              </a:cxn>
              <a:cxn ang="0">
                <a:pos x="4816" y="64"/>
              </a:cxn>
              <a:cxn ang="0">
                <a:pos x="4808" y="138"/>
              </a:cxn>
              <a:cxn ang="0">
                <a:pos x="4800" y="200"/>
              </a:cxn>
              <a:cxn ang="0">
                <a:pos x="4776" y="318"/>
              </a:cxn>
              <a:cxn ang="0">
                <a:pos x="4744" y="434"/>
              </a:cxn>
              <a:cxn ang="0">
                <a:pos x="4704" y="544"/>
              </a:cxn>
              <a:cxn ang="0">
                <a:pos x="4654" y="652"/>
              </a:cxn>
              <a:cxn ang="0">
                <a:pos x="4594" y="754"/>
              </a:cxn>
              <a:cxn ang="0">
                <a:pos x="4528" y="852"/>
              </a:cxn>
              <a:cxn ang="0">
                <a:pos x="4452" y="948"/>
              </a:cxn>
              <a:cxn ang="0">
                <a:pos x="4410" y="994"/>
              </a:cxn>
              <a:cxn ang="0">
                <a:pos x="4342" y="1064"/>
              </a:cxn>
              <a:cxn ang="0">
                <a:pos x="4270" y="1130"/>
              </a:cxn>
              <a:cxn ang="0">
                <a:pos x="4118" y="1252"/>
              </a:cxn>
              <a:cxn ang="0">
                <a:pos x="3956" y="1360"/>
              </a:cxn>
              <a:cxn ang="0">
                <a:pos x="3786" y="1458"/>
              </a:cxn>
              <a:cxn ang="0">
                <a:pos x="3724" y="1488"/>
              </a:cxn>
              <a:cxn ang="0">
                <a:pos x="3542" y="1574"/>
              </a:cxn>
              <a:cxn ang="0">
                <a:pos x="3294" y="1678"/>
              </a:cxn>
              <a:cxn ang="0">
                <a:pos x="3028" y="1790"/>
              </a:cxn>
              <a:cxn ang="0">
                <a:pos x="2498" y="2020"/>
              </a:cxn>
              <a:cxn ang="0">
                <a:pos x="2238" y="2142"/>
              </a:cxn>
              <a:cxn ang="0">
                <a:pos x="2054" y="2232"/>
              </a:cxn>
              <a:cxn ang="0">
                <a:pos x="1872" y="2326"/>
              </a:cxn>
              <a:cxn ang="0">
                <a:pos x="1696" y="2428"/>
              </a:cxn>
              <a:cxn ang="0">
                <a:pos x="1522" y="2538"/>
              </a:cxn>
              <a:cxn ang="0">
                <a:pos x="1464" y="2578"/>
              </a:cxn>
              <a:cxn ang="0">
                <a:pos x="1350" y="2664"/>
              </a:cxn>
              <a:cxn ang="0">
                <a:pos x="1242" y="2758"/>
              </a:cxn>
              <a:cxn ang="0">
                <a:pos x="1142" y="2860"/>
              </a:cxn>
              <a:cxn ang="0">
                <a:pos x="1096" y="2916"/>
              </a:cxn>
              <a:cxn ang="0">
                <a:pos x="1030" y="3008"/>
              </a:cxn>
              <a:cxn ang="0">
                <a:pos x="976" y="3102"/>
              </a:cxn>
              <a:cxn ang="0">
                <a:pos x="934" y="3200"/>
              </a:cxn>
              <a:cxn ang="0">
                <a:pos x="904" y="3302"/>
              </a:cxn>
              <a:cxn ang="0">
                <a:pos x="884" y="3404"/>
              </a:cxn>
              <a:cxn ang="0">
                <a:pos x="878" y="3512"/>
              </a:cxn>
              <a:cxn ang="0">
                <a:pos x="884" y="3620"/>
              </a:cxn>
              <a:cxn ang="0">
                <a:pos x="900" y="3732"/>
              </a:cxn>
              <a:cxn ang="0">
                <a:pos x="914" y="3788"/>
              </a:cxn>
              <a:cxn ang="0">
                <a:pos x="944" y="3898"/>
              </a:cxn>
              <a:cxn ang="0">
                <a:pos x="982" y="4004"/>
              </a:cxn>
              <a:cxn ang="0">
                <a:pos x="1028" y="4108"/>
              </a:cxn>
              <a:cxn ang="0">
                <a:pos x="1052" y="4160"/>
              </a:cxn>
              <a:cxn ang="0">
                <a:pos x="1126" y="4302"/>
              </a:cxn>
              <a:cxn ang="0">
                <a:pos x="1130" y="4312"/>
              </a:cxn>
              <a:cxn ang="0">
                <a:pos x="1130" y="4318"/>
              </a:cxn>
              <a:cxn ang="0">
                <a:pos x="1116" y="4320"/>
              </a:cxn>
              <a:cxn ang="0">
                <a:pos x="1100" y="4320"/>
              </a:cxn>
              <a:cxn ang="0">
                <a:pos x="0" y="4320"/>
              </a:cxn>
            </a:cxnLst>
            <a:rect l="0" t="0" r="r" b="b"/>
            <a:pathLst>
              <a:path w="4820" h="4320">
                <a:moveTo>
                  <a:pt x="0" y="4320"/>
                </a:moveTo>
                <a:lnTo>
                  <a:pt x="0" y="4320"/>
                </a:lnTo>
                <a:lnTo>
                  <a:pt x="0" y="18"/>
                </a:lnTo>
                <a:lnTo>
                  <a:pt x="0" y="18"/>
                </a:lnTo>
                <a:lnTo>
                  <a:pt x="0" y="8"/>
                </a:lnTo>
                <a:lnTo>
                  <a:pt x="2" y="4"/>
                </a:lnTo>
                <a:lnTo>
                  <a:pt x="8" y="0"/>
                </a:lnTo>
                <a:lnTo>
                  <a:pt x="18" y="0"/>
                </a:lnTo>
                <a:lnTo>
                  <a:pt x="18" y="0"/>
                </a:lnTo>
                <a:lnTo>
                  <a:pt x="4802" y="0"/>
                </a:lnTo>
                <a:lnTo>
                  <a:pt x="4802" y="0"/>
                </a:lnTo>
                <a:lnTo>
                  <a:pt x="4812" y="0"/>
                </a:lnTo>
                <a:lnTo>
                  <a:pt x="4818" y="4"/>
                </a:lnTo>
                <a:lnTo>
                  <a:pt x="4820" y="8"/>
                </a:lnTo>
                <a:lnTo>
                  <a:pt x="4820" y="18"/>
                </a:lnTo>
                <a:lnTo>
                  <a:pt x="4820" y="18"/>
                </a:lnTo>
                <a:lnTo>
                  <a:pt x="4820" y="34"/>
                </a:lnTo>
                <a:lnTo>
                  <a:pt x="4820" y="50"/>
                </a:lnTo>
                <a:lnTo>
                  <a:pt x="4820" y="50"/>
                </a:lnTo>
                <a:lnTo>
                  <a:pt x="4816" y="52"/>
                </a:lnTo>
                <a:lnTo>
                  <a:pt x="4816" y="56"/>
                </a:lnTo>
                <a:lnTo>
                  <a:pt x="4816" y="64"/>
                </a:lnTo>
                <a:lnTo>
                  <a:pt x="4816" y="64"/>
                </a:lnTo>
                <a:lnTo>
                  <a:pt x="4808" y="138"/>
                </a:lnTo>
                <a:lnTo>
                  <a:pt x="4808" y="138"/>
                </a:lnTo>
                <a:lnTo>
                  <a:pt x="4800" y="200"/>
                </a:lnTo>
                <a:lnTo>
                  <a:pt x="4790" y="260"/>
                </a:lnTo>
                <a:lnTo>
                  <a:pt x="4776" y="318"/>
                </a:lnTo>
                <a:lnTo>
                  <a:pt x="4762" y="376"/>
                </a:lnTo>
                <a:lnTo>
                  <a:pt x="4744" y="434"/>
                </a:lnTo>
                <a:lnTo>
                  <a:pt x="4726" y="490"/>
                </a:lnTo>
                <a:lnTo>
                  <a:pt x="4704" y="544"/>
                </a:lnTo>
                <a:lnTo>
                  <a:pt x="4680" y="598"/>
                </a:lnTo>
                <a:lnTo>
                  <a:pt x="4654" y="652"/>
                </a:lnTo>
                <a:lnTo>
                  <a:pt x="4626" y="704"/>
                </a:lnTo>
                <a:lnTo>
                  <a:pt x="4594" y="754"/>
                </a:lnTo>
                <a:lnTo>
                  <a:pt x="4562" y="804"/>
                </a:lnTo>
                <a:lnTo>
                  <a:pt x="4528" y="852"/>
                </a:lnTo>
                <a:lnTo>
                  <a:pt x="4490" y="900"/>
                </a:lnTo>
                <a:lnTo>
                  <a:pt x="4452" y="948"/>
                </a:lnTo>
                <a:lnTo>
                  <a:pt x="4410" y="994"/>
                </a:lnTo>
                <a:lnTo>
                  <a:pt x="4410" y="994"/>
                </a:lnTo>
                <a:lnTo>
                  <a:pt x="4376" y="1030"/>
                </a:lnTo>
                <a:lnTo>
                  <a:pt x="4342" y="1064"/>
                </a:lnTo>
                <a:lnTo>
                  <a:pt x="4306" y="1098"/>
                </a:lnTo>
                <a:lnTo>
                  <a:pt x="4270" y="1130"/>
                </a:lnTo>
                <a:lnTo>
                  <a:pt x="4196" y="1194"/>
                </a:lnTo>
                <a:lnTo>
                  <a:pt x="4118" y="1252"/>
                </a:lnTo>
                <a:lnTo>
                  <a:pt x="4038" y="1308"/>
                </a:lnTo>
                <a:lnTo>
                  <a:pt x="3956" y="1360"/>
                </a:lnTo>
                <a:lnTo>
                  <a:pt x="3872" y="1410"/>
                </a:lnTo>
                <a:lnTo>
                  <a:pt x="3786" y="1458"/>
                </a:lnTo>
                <a:lnTo>
                  <a:pt x="3786" y="1458"/>
                </a:lnTo>
                <a:lnTo>
                  <a:pt x="3724" y="1488"/>
                </a:lnTo>
                <a:lnTo>
                  <a:pt x="3664" y="1518"/>
                </a:lnTo>
                <a:lnTo>
                  <a:pt x="3542" y="1574"/>
                </a:lnTo>
                <a:lnTo>
                  <a:pt x="3418" y="1626"/>
                </a:lnTo>
                <a:lnTo>
                  <a:pt x="3294" y="1678"/>
                </a:lnTo>
                <a:lnTo>
                  <a:pt x="3294" y="1678"/>
                </a:lnTo>
                <a:lnTo>
                  <a:pt x="3028" y="1790"/>
                </a:lnTo>
                <a:lnTo>
                  <a:pt x="2762" y="1904"/>
                </a:lnTo>
                <a:lnTo>
                  <a:pt x="2498" y="2020"/>
                </a:lnTo>
                <a:lnTo>
                  <a:pt x="2368" y="2080"/>
                </a:lnTo>
                <a:lnTo>
                  <a:pt x="2238" y="2142"/>
                </a:lnTo>
                <a:lnTo>
                  <a:pt x="2238" y="2142"/>
                </a:lnTo>
                <a:lnTo>
                  <a:pt x="2054" y="2232"/>
                </a:lnTo>
                <a:lnTo>
                  <a:pt x="1962" y="2278"/>
                </a:lnTo>
                <a:lnTo>
                  <a:pt x="1872" y="2326"/>
                </a:lnTo>
                <a:lnTo>
                  <a:pt x="1784" y="2376"/>
                </a:lnTo>
                <a:lnTo>
                  <a:pt x="1696" y="2428"/>
                </a:lnTo>
                <a:lnTo>
                  <a:pt x="1608" y="2482"/>
                </a:lnTo>
                <a:lnTo>
                  <a:pt x="1522" y="2538"/>
                </a:lnTo>
                <a:lnTo>
                  <a:pt x="1522" y="2538"/>
                </a:lnTo>
                <a:lnTo>
                  <a:pt x="1464" y="2578"/>
                </a:lnTo>
                <a:lnTo>
                  <a:pt x="1406" y="2620"/>
                </a:lnTo>
                <a:lnTo>
                  <a:pt x="1350" y="2664"/>
                </a:lnTo>
                <a:lnTo>
                  <a:pt x="1296" y="2710"/>
                </a:lnTo>
                <a:lnTo>
                  <a:pt x="1242" y="2758"/>
                </a:lnTo>
                <a:lnTo>
                  <a:pt x="1192" y="2808"/>
                </a:lnTo>
                <a:lnTo>
                  <a:pt x="1142" y="2860"/>
                </a:lnTo>
                <a:lnTo>
                  <a:pt x="1096" y="2916"/>
                </a:lnTo>
                <a:lnTo>
                  <a:pt x="1096" y="2916"/>
                </a:lnTo>
                <a:lnTo>
                  <a:pt x="1062" y="2962"/>
                </a:lnTo>
                <a:lnTo>
                  <a:pt x="1030" y="3008"/>
                </a:lnTo>
                <a:lnTo>
                  <a:pt x="1002" y="3054"/>
                </a:lnTo>
                <a:lnTo>
                  <a:pt x="976" y="3102"/>
                </a:lnTo>
                <a:lnTo>
                  <a:pt x="952" y="3152"/>
                </a:lnTo>
                <a:lnTo>
                  <a:pt x="934" y="3200"/>
                </a:lnTo>
                <a:lnTo>
                  <a:pt x="916" y="3250"/>
                </a:lnTo>
                <a:lnTo>
                  <a:pt x="904" y="3302"/>
                </a:lnTo>
                <a:lnTo>
                  <a:pt x="892" y="3352"/>
                </a:lnTo>
                <a:lnTo>
                  <a:pt x="884" y="3404"/>
                </a:lnTo>
                <a:lnTo>
                  <a:pt x="880" y="3458"/>
                </a:lnTo>
                <a:lnTo>
                  <a:pt x="878" y="3512"/>
                </a:lnTo>
                <a:lnTo>
                  <a:pt x="880" y="3566"/>
                </a:lnTo>
                <a:lnTo>
                  <a:pt x="884" y="3620"/>
                </a:lnTo>
                <a:lnTo>
                  <a:pt x="890" y="3676"/>
                </a:lnTo>
                <a:lnTo>
                  <a:pt x="900" y="3732"/>
                </a:lnTo>
                <a:lnTo>
                  <a:pt x="900" y="3732"/>
                </a:lnTo>
                <a:lnTo>
                  <a:pt x="914" y="3788"/>
                </a:lnTo>
                <a:lnTo>
                  <a:pt x="928" y="3844"/>
                </a:lnTo>
                <a:lnTo>
                  <a:pt x="944" y="3898"/>
                </a:lnTo>
                <a:lnTo>
                  <a:pt x="962" y="3952"/>
                </a:lnTo>
                <a:lnTo>
                  <a:pt x="982" y="4004"/>
                </a:lnTo>
                <a:lnTo>
                  <a:pt x="1004" y="4056"/>
                </a:lnTo>
                <a:lnTo>
                  <a:pt x="1028" y="4108"/>
                </a:lnTo>
                <a:lnTo>
                  <a:pt x="1052" y="4160"/>
                </a:lnTo>
                <a:lnTo>
                  <a:pt x="1052" y="4160"/>
                </a:lnTo>
                <a:lnTo>
                  <a:pt x="1088" y="4232"/>
                </a:lnTo>
                <a:lnTo>
                  <a:pt x="1126" y="4302"/>
                </a:lnTo>
                <a:lnTo>
                  <a:pt x="1126" y="4302"/>
                </a:lnTo>
                <a:lnTo>
                  <a:pt x="1130" y="4312"/>
                </a:lnTo>
                <a:lnTo>
                  <a:pt x="1132" y="4316"/>
                </a:lnTo>
                <a:lnTo>
                  <a:pt x="1130" y="4318"/>
                </a:lnTo>
                <a:lnTo>
                  <a:pt x="1126" y="4320"/>
                </a:lnTo>
                <a:lnTo>
                  <a:pt x="1116" y="4320"/>
                </a:lnTo>
                <a:lnTo>
                  <a:pt x="1116" y="4320"/>
                </a:lnTo>
                <a:lnTo>
                  <a:pt x="1100" y="4320"/>
                </a:lnTo>
                <a:lnTo>
                  <a:pt x="1100" y="4320"/>
                </a:lnTo>
                <a:lnTo>
                  <a:pt x="0" y="4320"/>
                </a:lnTo>
                <a:lnTo>
                  <a:pt x="0" y="4320"/>
                </a:lnTo>
                <a:close/>
              </a:path>
            </a:pathLst>
          </a:custGeom>
          <a:solidFill>
            <a:srgbClr val="12AADA"/>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8" name="Picture Placeholder 11">
            <a:extLst>
              <a:ext uri="{FF2B5EF4-FFF2-40B4-BE49-F238E27FC236}">
                <a16:creationId xmlns:a16="http://schemas.microsoft.com/office/drawing/2014/main" id="{D4E263B9-5E55-409E-9F7C-2F67A89E06AA}"/>
              </a:ext>
            </a:extLst>
          </p:cNvPr>
          <p:cNvSpPr>
            <a:spLocks noGrp="1"/>
          </p:cNvSpPr>
          <p:nvPr>
            <p:ph type="pic" sz="quarter" idx="10"/>
          </p:nvPr>
        </p:nvSpPr>
        <p:spPr>
          <a:xfrm>
            <a:off x="2273300" y="0"/>
            <a:ext cx="9918700" cy="6859588"/>
          </a:xfrm>
          <a:prstGeom prst="rect">
            <a:avLst/>
          </a:prstGeom>
        </p:spPr>
        <p:txBody>
          <a:bodyPr anchor="ctr"/>
          <a:lstStyle>
            <a:lvl1pPr marL="0" indent="0" algn="ctr">
              <a:buNone/>
              <a:defRPr/>
            </a:lvl1pPr>
          </a:lstStyle>
          <a:p>
            <a:r>
              <a:rPr lang="fr-FR"/>
              <a:t>Cliquez sur l'icône pour ajouter une image</a:t>
            </a:r>
            <a:endParaRPr lang="pt-PT"/>
          </a:p>
        </p:txBody>
      </p:sp>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460708" y="434513"/>
            <a:ext cx="5419268" cy="1902287"/>
          </a:xfrm>
          <a:prstGeom prst="rect">
            <a:avLst/>
          </a:prstGeom>
        </p:spPr>
        <p:txBody>
          <a:bodyPr>
            <a:noAutofit/>
          </a:bodyPr>
          <a:lstStyle>
            <a:lvl1pPr marL="0" indent="0">
              <a:buNone/>
              <a:defRPr sz="3600">
                <a:solidFill>
                  <a:schemeClr val="bg1"/>
                </a:solidFill>
              </a:defRPr>
            </a:lvl1pPr>
            <a:lvl2pPr marL="457200" indent="0">
              <a:buNone/>
              <a:defRPr sz="6000">
                <a:solidFill>
                  <a:schemeClr val="bg1"/>
                </a:solidFill>
              </a:defRPr>
            </a:lvl2pPr>
          </a:lstStyle>
          <a:p>
            <a:pPr lvl="0"/>
            <a:r>
              <a:rPr lang="en-US" dirty="0"/>
              <a:t>Click to insert section title</a:t>
            </a:r>
            <a:endParaRPr lang="pt-PT" dirty="0"/>
          </a:p>
        </p:txBody>
      </p:sp>
    </p:spTree>
    <p:extLst>
      <p:ext uri="{BB962C8B-B14F-4D97-AF65-F5344CB8AC3E}">
        <p14:creationId xmlns:p14="http://schemas.microsoft.com/office/powerpoint/2010/main" val="3861450727"/>
      </p:ext>
    </p:extLst>
  </p:cSld>
  <p:clrMapOvr>
    <a:masterClrMapping/>
  </p:clrMapOvr>
  <p:extLst>
    <p:ext uri="{DCECCB84-F9BA-43D5-87BE-67443E8EF086}">
      <p15:sldGuideLst xmlns:p15="http://schemas.microsoft.com/office/powerpoint/2012/main">
        <p15:guide id="1" pos="279">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ection break 1">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31910" name="think-cell Slide" r:id="rId4" imgW="270" imgH="270" progId="TCLayout.ActiveDocument.1">
                  <p:embed/>
                </p:oleObj>
              </mc:Choice>
              <mc:Fallback>
                <p:oleObj name="think-cell Slide" r:id="rId4" imgW="270" imgH="270" progId="TCLayout.ActiveDocument.1">
                  <p:embed/>
                  <p:pic>
                    <p:nvPicPr>
                      <p:cNvPr id="0"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318" name="Freeform 6"/>
          <p:cNvSpPr>
            <a:spLocks/>
          </p:cNvSpPr>
          <p:nvPr userDrawn="1"/>
        </p:nvSpPr>
        <p:spPr bwMode="auto">
          <a:xfrm>
            <a:off x="4901351" y="838199"/>
            <a:ext cx="7289800" cy="6026150"/>
          </a:xfrm>
          <a:custGeom>
            <a:avLst/>
            <a:gdLst/>
            <a:ahLst/>
            <a:cxnLst>
              <a:cxn ang="0">
                <a:pos x="0" y="1904"/>
              </a:cxn>
              <a:cxn ang="0">
                <a:pos x="8" y="1894"/>
              </a:cxn>
              <a:cxn ang="0">
                <a:pos x="20" y="1886"/>
              </a:cxn>
              <a:cxn ang="0">
                <a:pos x="146" y="1832"/>
              </a:cxn>
              <a:cxn ang="0">
                <a:pos x="344" y="1720"/>
              </a:cxn>
              <a:cxn ang="0">
                <a:pos x="484" y="1628"/>
              </a:cxn>
              <a:cxn ang="0">
                <a:pos x="754" y="1430"/>
              </a:cxn>
              <a:cxn ang="0">
                <a:pos x="1094" y="1162"/>
              </a:cxn>
              <a:cxn ang="0">
                <a:pos x="1418" y="906"/>
              </a:cxn>
              <a:cxn ang="0">
                <a:pos x="1766" y="648"/>
              </a:cxn>
              <a:cxn ang="0">
                <a:pos x="2006" y="486"/>
              </a:cxn>
              <a:cxn ang="0">
                <a:pos x="2254" y="338"/>
              </a:cxn>
              <a:cxn ang="0">
                <a:pos x="2390" y="268"/>
              </a:cxn>
              <a:cxn ang="0">
                <a:pos x="2598" y="172"/>
              </a:cxn>
              <a:cxn ang="0">
                <a:pos x="2816" y="92"/>
              </a:cxn>
              <a:cxn ang="0">
                <a:pos x="2996" y="42"/>
              </a:cxn>
              <a:cxn ang="0">
                <a:pos x="3134" y="16"/>
              </a:cxn>
              <a:cxn ang="0">
                <a:pos x="3220" y="6"/>
              </a:cxn>
              <a:cxn ang="0">
                <a:pos x="3336" y="2"/>
              </a:cxn>
              <a:cxn ang="0">
                <a:pos x="3390" y="0"/>
              </a:cxn>
              <a:cxn ang="0">
                <a:pos x="3522" y="0"/>
              </a:cxn>
              <a:cxn ang="0">
                <a:pos x="3590" y="4"/>
              </a:cxn>
              <a:cxn ang="0">
                <a:pos x="3688" y="8"/>
              </a:cxn>
              <a:cxn ang="0">
                <a:pos x="3832" y="34"/>
              </a:cxn>
              <a:cxn ang="0">
                <a:pos x="3974" y="72"/>
              </a:cxn>
              <a:cxn ang="0">
                <a:pos x="4160" y="140"/>
              </a:cxn>
              <a:cxn ang="0">
                <a:pos x="4336" y="228"/>
              </a:cxn>
              <a:cxn ang="0">
                <a:pos x="4448" y="300"/>
              </a:cxn>
              <a:cxn ang="0">
                <a:pos x="4568" y="390"/>
              </a:cxn>
              <a:cxn ang="0">
                <a:pos x="4588" y="414"/>
              </a:cxn>
              <a:cxn ang="0">
                <a:pos x="4592" y="2788"/>
              </a:cxn>
              <a:cxn ang="0">
                <a:pos x="4582" y="2808"/>
              </a:cxn>
              <a:cxn ang="0">
                <a:pos x="4514" y="2862"/>
              </a:cxn>
              <a:cxn ang="0">
                <a:pos x="4354" y="2970"/>
              </a:cxn>
              <a:cxn ang="0">
                <a:pos x="4186" y="3062"/>
              </a:cxn>
              <a:cxn ang="0">
                <a:pos x="4054" y="3122"/>
              </a:cxn>
              <a:cxn ang="0">
                <a:pos x="3828" y="3206"/>
              </a:cxn>
              <a:cxn ang="0">
                <a:pos x="3598" y="3276"/>
              </a:cxn>
              <a:cxn ang="0">
                <a:pos x="3370" y="3334"/>
              </a:cxn>
              <a:cxn ang="0">
                <a:pos x="2920" y="3432"/>
              </a:cxn>
              <a:cxn ang="0">
                <a:pos x="2498" y="3528"/>
              </a:cxn>
              <a:cxn ang="0">
                <a:pos x="2360" y="3566"/>
              </a:cxn>
              <a:cxn ang="0">
                <a:pos x="2144" y="3642"/>
              </a:cxn>
              <a:cxn ang="0">
                <a:pos x="1988" y="3716"/>
              </a:cxn>
              <a:cxn ang="0">
                <a:pos x="1878" y="3782"/>
              </a:cxn>
              <a:cxn ang="0">
                <a:pos x="1858" y="3792"/>
              </a:cxn>
              <a:cxn ang="0">
                <a:pos x="1834" y="3796"/>
              </a:cxn>
              <a:cxn ang="0">
                <a:pos x="432" y="3796"/>
              </a:cxn>
              <a:cxn ang="0">
                <a:pos x="408" y="3774"/>
              </a:cxn>
              <a:cxn ang="0">
                <a:pos x="354" y="3652"/>
              </a:cxn>
              <a:cxn ang="0">
                <a:pos x="258" y="3396"/>
              </a:cxn>
              <a:cxn ang="0">
                <a:pos x="140" y="2988"/>
              </a:cxn>
              <a:cxn ang="0">
                <a:pos x="86" y="2734"/>
              </a:cxn>
              <a:cxn ang="0">
                <a:pos x="44" y="2478"/>
              </a:cxn>
              <a:cxn ang="0">
                <a:pos x="8" y="2154"/>
              </a:cxn>
              <a:cxn ang="0">
                <a:pos x="4" y="2020"/>
              </a:cxn>
              <a:cxn ang="0">
                <a:pos x="2" y="1948"/>
              </a:cxn>
            </a:cxnLst>
            <a:rect l="0" t="0" r="r" b="b"/>
            <a:pathLst>
              <a:path w="4592" h="3796">
                <a:moveTo>
                  <a:pt x="0" y="1924"/>
                </a:moveTo>
                <a:lnTo>
                  <a:pt x="0" y="1924"/>
                </a:lnTo>
                <a:lnTo>
                  <a:pt x="0" y="1904"/>
                </a:lnTo>
                <a:lnTo>
                  <a:pt x="0" y="1904"/>
                </a:lnTo>
                <a:lnTo>
                  <a:pt x="4" y="1898"/>
                </a:lnTo>
                <a:lnTo>
                  <a:pt x="8" y="1894"/>
                </a:lnTo>
                <a:lnTo>
                  <a:pt x="14" y="1890"/>
                </a:lnTo>
                <a:lnTo>
                  <a:pt x="20" y="1886"/>
                </a:lnTo>
                <a:lnTo>
                  <a:pt x="20" y="1886"/>
                </a:lnTo>
                <a:lnTo>
                  <a:pt x="62" y="1870"/>
                </a:lnTo>
                <a:lnTo>
                  <a:pt x="104" y="1850"/>
                </a:lnTo>
                <a:lnTo>
                  <a:pt x="146" y="1832"/>
                </a:lnTo>
                <a:lnTo>
                  <a:pt x="186" y="1810"/>
                </a:lnTo>
                <a:lnTo>
                  <a:pt x="266" y="1766"/>
                </a:lnTo>
                <a:lnTo>
                  <a:pt x="344" y="1720"/>
                </a:lnTo>
                <a:lnTo>
                  <a:pt x="344" y="1720"/>
                </a:lnTo>
                <a:lnTo>
                  <a:pt x="414" y="1674"/>
                </a:lnTo>
                <a:lnTo>
                  <a:pt x="484" y="1628"/>
                </a:lnTo>
                <a:lnTo>
                  <a:pt x="552" y="1580"/>
                </a:lnTo>
                <a:lnTo>
                  <a:pt x="620" y="1530"/>
                </a:lnTo>
                <a:lnTo>
                  <a:pt x="754" y="1430"/>
                </a:lnTo>
                <a:lnTo>
                  <a:pt x="886" y="1328"/>
                </a:lnTo>
                <a:lnTo>
                  <a:pt x="886" y="1328"/>
                </a:lnTo>
                <a:lnTo>
                  <a:pt x="1094" y="1162"/>
                </a:lnTo>
                <a:lnTo>
                  <a:pt x="1304" y="996"/>
                </a:lnTo>
                <a:lnTo>
                  <a:pt x="1304" y="996"/>
                </a:lnTo>
                <a:lnTo>
                  <a:pt x="1418" y="906"/>
                </a:lnTo>
                <a:lnTo>
                  <a:pt x="1532" y="818"/>
                </a:lnTo>
                <a:lnTo>
                  <a:pt x="1648" y="732"/>
                </a:lnTo>
                <a:lnTo>
                  <a:pt x="1766" y="648"/>
                </a:lnTo>
                <a:lnTo>
                  <a:pt x="1766" y="648"/>
                </a:lnTo>
                <a:lnTo>
                  <a:pt x="1886" y="566"/>
                </a:lnTo>
                <a:lnTo>
                  <a:pt x="2006" y="486"/>
                </a:lnTo>
                <a:lnTo>
                  <a:pt x="2128" y="410"/>
                </a:lnTo>
                <a:lnTo>
                  <a:pt x="2190" y="374"/>
                </a:lnTo>
                <a:lnTo>
                  <a:pt x="2254" y="338"/>
                </a:lnTo>
                <a:lnTo>
                  <a:pt x="2254" y="338"/>
                </a:lnTo>
                <a:lnTo>
                  <a:pt x="2322" y="302"/>
                </a:lnTo>
                <a:lnTo>
                  <a:pt x="2390" y="268"/>
                </a:lnTo>
                <a:lnTo>
                  <a:pt x="2458" y="234"/>
                </a:lnTo>
                <a:lnTo>
                  <a:pt x="2528" y="202"/>
                </a:lnTo>
                <a:lnTo>
                  <a:pt x="2598" y="172"/>
                </a:lnTo>
                <a:lnTo>
                  <a:pt x="2670" y="142"/>
                </a:lnTo>
                <a:lnTo>
                  <a:pt x="2742" y="116"/>
                </a:lnTo>
                <a:lnTo>
                  <a:pt x="2816" y="92"/>
                </a:lnTo>
                <a:lnTo>
                  <a:pt x="2816" y="92"/>
                </a:lnTo>
                <a:lnTo>
                  <a:pt x="2906" y="64"/>
                </a:lnTo>
                <a:lnTo>
                  <a:pt x="2996" y="42"/>
                </a:lnTo>
                <a:lnTo>
                  <a:pt x="3042" y="32"/>
                </a:lnTo>
                <a:lnTo>
                  <a:pt x="3088" y="22"/>
                </a:lnTo>
                <a:lnTo>
                  <a:pt x="3134" y="16"/>
                </a:lnTo>
                <a:lnTo>
                  <a:pt x="3182" y="10"/>
                </a:lnTo>
                <a:lnTo>
                  <a:pt x="3182" y="10"/>
                </a:lnTo>
                <a:lnTo>
                  <a:pt x="3220" y="6"/>
                </a:lnTo>
                <a:lnTo>
                  <a:pt x="3258" y="4"/>
                </a:lnTo>
                <a:lnTo>
                  <a:pt x="3336" y="2"/>
                </a:lnTo>
                <a:lnTo>
                  <a:pt x="3336" y="2"/>
                </a:lnTo>
                <a:lnTo>
                  <a:pt x="3364" y="2"/>
                </a:lnTo>
                <a:lnTo>
                  <a:pt x="3378" y="2"/>
                </a:lnTo>
                <a:lnTo>
                  <a:pt x="3390" y="0"/>
                </a:lnTo>
                <a:lnTo>
                  <a:pt x="3390" y="0"/>
                </a:lnTo>
                <a:lnTo>
                  <a:pt x="3522" y="0"/>
                </a:lnTo>
                <a:lnTo>
                  <a:pt x="3522" y="0"/>
                </a:lnTo>
                <a:lnTo>
                  <a:pt x="3538" y="2"/>
                </a:lnTo>
                <a:lnTo>
                  <a:pt x="3556" y="4"/>
                </a:lnTo>
                <a:lnTo>
                  <a:pt x="3590" y="4"/>
                </a:lnTo>
                <a:lnTo>
                  <a:pt x="3590" y="4"/>
                </a:lnTo>
                <a:lnTo>
                  <a:pt x="3640" y="4"/>
                </a:lnTo>
                <a:lnTo>
                  <a:pt x="3688" y="8"/>
                </a:lnTo>
                <a:lnTo>
                  <a:pt x="3736" y="16"/>
                </a:lnTo>
                <a:lnTo>
                  <a:pt x="3784" y="24"/>
                </a:lnTo>
                <a:lnTo>
                  <a:pt x="3832" y="34"/>
                </a:lnTo>
                <a:lnTo>
                  <a:pt x="3880" y="46"/>
                </a:lnTo>
                <a:lnTo>
                  <a:pt x="3974" y="72"/>
                </a:lnTo>
                <a:lnTo>
                  <a:pt x="3974" y="72"/>
                </a:lnTo>
                <a:lnTo>
                  <a:pt x="4038" y="92"/>
                </a:lnTo>
                <a:lnTo>
                  <a:pt x="4100" y="114"/>
                </a:lnTo>
                <a:lnTo>
                  <a:pt x="4160" y="140"/>
                </a:lnTo>
                <a:lnTo>
                  <a:pt x="4220" y="168"/>
                </a:lnTo>
                <a:lnTo>
                  <a:pt x="4278" y="196"/>
                </a:lnTo>
                <a:lnTo>
                  <a:pt x="4336" y="228"/>
                </a:lnTo>
                <a:lnTo>
                  <a:pt x="4392" y="264"/>
                </a:lnTo>
                <a:lnTo>
                  <a:pt x="4448" y="300"/>
                </a:lnTo>
                <a:lnTo>
                  <a:pt x="4448" y="300"/>
                </a:lnTo>
                <a:lnTo>
                  <a:pt x="4508" y="344"/>
                </a:lnTo>
                <a:lnTo>
                  <a:pt x="4568" y="390"/>
                </a:lnTo>
                <a:lnTo>
                  <a:pt x="4568" y="390"/>
                </a:lnTo>
                <a:lnTo>
                  <a:pt x="4576" y="396"/>
                </a:lnTo>
                <a:lnTo>
                  <a:pt x="4582" y="404"/>
                </a:lnTo>
                <a:lnTo>
                  <a:pt x="4588" y="414"/>
                </a:lnTo>
                <a:lnTo>
                  <a:pt x="4592" y="422"/>
                </a:lnTo>
                <a:lnTo>
                  <a:pt x="4592" y="422"/>
                </a:lnTo>
                <a:lnTo>
                  <a:pt x="4592" y="2788"/>
                </a:lnTo>
                <a:lnTo>
                  <a:pt x="4592" y="2788"/>
                </a:lnTo>
                <a:lnTo>
                  <a:pt x="4588" y="2798"/>
                </a:lnTo>
                <a:lnTo>
                  <a:pt x="4582" y="2808"/>
                </a:lnTo>
                <a:lnTo>
                  <a:pt x="4564" y="2824"/>
                </a:lnTo>
                <a:lnTo>
                  <a:pt x="4564" y="2824"/>
                </a:lnTo>
                <a:lnTo>
                  <a:pt x="4514" y="2862"/>
                </a:lnTo>
                <a:lnTo>
                  <a:pt x="4462" y="2900"/>
                </a:lnTo>
                <a:lnTo>
                  <a:pt x="4408" y="2936"/>
                </a:lnTo>
                <a:lnTo>
                  <a:pt x="4354" y="2970"/>
                </a:lnTo>
                <a:lnTo>
                  <a:pt x="4300" y="3002"/>
                </a:lnTo>
                <a:lnTo>
                  <a:pt x="4244" y="3032"/>
                </a:lnTo>
                <a:lnTo>
                  <a:pt x="4186" y="3062"/>
                </a:lnTo>
                <a:lnTo>
                  <a:pt x="4128" y="3090"/>
                </a:lnTo>
                <a:lnTo>
                  <a:pt x="4128" y="3090"/>
                </a:lnTo>
                <a:lnTo>
                  <a:pt x="4054" y="3122"/>
                </a:lnTo>
                <a:lnTo>
                  <a:pt x="3980" y="3152"/>
                </a:lnTo>
                <a:lnTo>
                  <a:pt x="3904" y="3180"/>
                </a:lnTo>
                <a:lnTo>
                  <a:pt x="3828" y="3206"/>
                </a:lnTo>
                <a:lnTo>
                  <a:pt x="3752" y="3232"/>
                </a:lnTo>
                <a:lnTo>
                  <a:pt x="3676" y="3254"/>
                </a:lnTo>
                <a:lnTo>
                  <a:pt x="3598" y="3276"/>
                </a:lnTo>
                <a:lnTo>
                  <a:pt x="3520" y="3296"/>
                </a:lnTo>
                <a:lnTo>
                  <a:pt x="3520" y="3296"/>
                </a:lnTo>
                <a:lnTo>
                  <a:pt x="3370" y="3334"/>
                </a:lnTo>
                <a:lnTo>
                  <a:pt x="3220" y="3368"/>
                </a:lnTo>
                <a:lnTo>
                  <a:pt x="2920" y="3432"/>
                </a:lnTo>
                <a:lnTo>
                  <a:pt x="2920" y="3432"/>
                </a:lnTo>
                <a:lnTo>
                  <a:pt x="2778" y="3462"/>
                </a:lnTo>
                <a:lnTo>
                  <a:pt x="2638" y="3492"/>
                </a:lnTo>
                <a:lnTo>
                  <a:pt x="2498" y="3528"/>
                </a:lnTo>
                <a:lnTo>
                  <a:pt x="2430" y="3546"/>
                </a:lnTo>
                <a:lnTo>
                  <a:pt x="2360" y="3566"/>
                </a:lnTo>
                <a:lnTo>
                  <a:pt x="2360" y="3566"/>
                </a:lnTo>
                <a:lnTo>
                  <a:pt x="2250" y="3602"/>
                </a:lnTo>
                <a:lnTo>
                  <a:pt x="2196" y="3622"/>
                </a:lnTo>
                <a:lnTo>
                  <a:pt x="2144" y="3642"/>
                </a:lnTo>
                <a:lnTo>
                  <a:pt x="2092" y="3666"/>
                </a:lnTo>
                <a:lnTo>
                  <a:pt x="2040" y="3690"/>
                </a:lnTo>
                <a:lnTo>
                  <a:pt x="1988" y="3716"/>
                </a:lnTo>
                <a:lnTo>
                  <a:pt x="1938" y="3744"/>
                </a:lnTo>
                <a:lnTo>
                  <a:pt x="1938" y="3744"/>
                </a:lnTo>
                <a:lnTo>
                  <a:pt x="1878" y="3782"/>
                </a:lnTo>
                <a:lnTo>
                  <a:pt x="1878" y="3782"/>
                </a:lnTo>
                <a:lnTo>
                  <a:pt x="1868" y="3788"/>
                </a:lnTo>
                <a:lnTo>
                  <a:pt x="1858" y="3792"/>
                </a:lnTo>
                <a:lnTo>
                  <a:pt x="1846" y="3796"/>
                </a:lnTo>
                <a:lnTo>
                  <a:pt x="1834" y="3796"/>
                </a:lnTo>
                <a:lnTo>
                  <a:pt x="1834" y="3796"/>
                </a:lnTo>
                <a:lnTo>
                  <a:pt x="444" y="3796"/>
                </a:lnTo>
                <a:lnTo>
                  <a:pt x="444" y="3796"/>
                </a:lnTo>
                <a:lnTo>
                  <a:pt x="432" y="3796"/>
                </a:lnTo>
                <a:lnTo>
                  <a:pt x="422" y="3792"/>
                </a:lnTo>
                <a:lnTo>
                  <a:pt x="414" y="3784"/>
                </a:lnTo>
                <a:lnTo>
                  <a:pt x="408" y="3774"/>
                </a:lnTo>
                <a:lnTo>
                  <a:pt x="408" y="3774"/>
                </a:lnTo>
                <a:lnTo>
                  <a:pt x="380" y="3714"/>
                </a:lnTo>
                <a:lnTo>
                  <a:pt x="354" y="3652"/>
                </a:lnTo>
                <a:lnTo>
                  <a:pt x="306" y="3528"/>
                </a:lnTo>
                <a:lnTo>
                  <a:pt x="306" y="3528"/>
                </a:lnTo>
                <a:lnTo>
                  <a:pt x="258" y="3396"/>
                </a:lnTo>
                <a:lnTo>
                  <a:pt x="214" y="3260"/>
                </a:lnTo>
                <a:lnTo>
                  <a:pt x="174" y="3124"/>
                </a:lnTo>
                <a:lnTo>
                  <a:pt x="140" y="2988"/>
                </a:lnTo>
                <a:lnTo>
                  <a:pt x="140" y="2988"/>
                </a:lnTo>
                <a:lnTo>
                  <a:pt x="112" y="2860"/>
                </a:lnTo>
                <a:lnTo>
                  <a:pt x="86" y="2734"/>
                </a:lnTo>
                <a:lnTo>
                  <a:pt x="64" y="2606"/>
                </a:lnTo>
                <a:lnTo>
                  <a:pt x="44" y="2478"/>
                </a:lnTo>
                <a:lnTo>
                  <a:pt x="44" y="2478"/>
                </a:lnTo>
                <a:lnTo>
                  <a:pt x="24" y="2316"/>
                </a:lnTo>
                <a:lnTo>
                  <a:pt x="14" y="2236"/>
                </a:lnTo>
                <a:lnTo>
                  <a:pt x="8" y="2154"/>
                </a:lnTo>
                <a:lnTo>
                  <a:pt x="8" y="2154"/>
                </a:lnTo>
                <a:lnTo>
                  <a:pt x="6" y="2086"/>
                </a:lnTo>
                <a:lnTo>
                  <a:pt x="4" y="2020"/>
                </a:lnTo>
                <a:lnTo>
                  <a:pt x="4" y="2020"/>
                </a:lnTo>
                <a:lnTo>
                  <a:pt x="2" y="1972"/>
                </a:lnTo>
                <a:lnTo>
                  <a:pt x="2" y="1948"/>
                </a:lnTo>
                <a:lnTo>
                  <a:pt x="0" y="1924"/>
                </a:lnTo>
                <a:lnTo>
                  <a:pt x="0" y="1924"/>
                </a:lnTo>
                <a:close/>
              </a:path>
            </a:pathLst>
          </a:custGeom>
          <a:solidFill>
            <a:srgbClr val="93E416"/>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7694195" y="2191647"/>
            <a:ext cx="4021613" cy="3160282"/>
          </a:xfrm>
          <a:prstGeom prst="rect">
            <a:avLst/>
          </a:prstGeom>
        </p:spPr>
        <p:txBody>
          <a:bodyPr anchor="ctr">
            <a:normAutofit/>
          </a:bodyPr>
          <a:lstStyle>
            <a:lvl1pPr marL="0" indent="0">
              <a:buNone/>
              <a:defRPr sz="3600">
                <a:solidFill>
                  <a:schemeClr val="tx1"/>
                </a:solidFill>
              </a:defRPr>
            </a:lvl1pPr>
            <a:lvl2pPr marL="457200" indent="0">
              <a:buNone/>
              <a:defRPr sz="6000">
                <a:solidFill>
                  <a:schemeClr val="bg1"/>
                </a:solidFill>
              </a:defRPr>
            </a:lvl2pPr>
          </a:lstStyle>
          <a:p>
            <a:pPr lvl="0"/>
            <a:r>
              <a:rPr lang="en-US" dirty="0"/>
              <a:t>Click to insert section title</a:t>
            </a:r>
          </a:p>
        </p:txBody>
      </p:sp>
      <p:sp>
        <p:nvSpPr>
          <p:cNvPr id="8" name="Picture Placeholder 11">
            <a:extLst>
              <a:ext uri="{FF2B5EF4-FFF2-40B4-BE49-F238E27FC236}">
                <a16:creationId xmlns:a16="http://schemas.microsoft.com/office/drawing/2014/main" id="{D4E263B9-5E55-409E-9F7C-2F67A89E06AA}"/>
              </a:ext>
            </a:extLst>
          </p:cNvPr>
          <p:cNvSpPr>
            <a:spLocks noGrp="1"/>
          </p:cNvSpPr>
          <p:nvPr>
            <p:ph type="pic" sz="quarter" idx="10"/>
          </p:nvPr>
        </p:nvSpPr>
        <p:spPr>
          <a:xfrm>
            <a:off x="0" y="-1588"/>
            <a:ext cx="6654800" cy="6859588"/>
          </a:xfrm>
          <a:prstGeom prst="rect">
            <a:avLst/>
          </a:prstGeom>
        </p:spPr>
        <p:txBody>
          <a:bodyPr anchor="ctr"/>
          <a:lstStyle>
            <a:lvl1pPr marL="0" indent="0" algn="ctr">
              <a:buNone/>
              <a:defRPr/>
            </a:lvl1pPr>
          </a:lstStyle>
          <a:p>
            <a:r>
              <a:rPr lang="fr-FR"/>
              <a:t>Cliquez sur l'icône pour ajouter une image</a:t>
            </a:r>
            <a:endParaRPr lang="pt-PT"/>
          </a:p>
        </p:txBody>
      </p:sp>
    </p:spTree>
    <p:extLst>
      <p:ext uri="{BB962C8B-B14F-4D97-AF65-F5344CB8AC3E}">
        <p14:creationId xmlns:p14="http://schemas.microsoft.com/office/powerpoint/2010/main" val="99079718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Section break 2">
    <p:spTree>
      <p:nvGrpSpPr>
        <p:cNvPr id="1" name=""/>
        <p:cNvGrpSpPr/>
        <p:nvPr/>
      </p:nvGrpSpPr>
      <p:grpSpPr>
        <a:xfrm>
          <a:off x="0" y="0"/>
          <a:ext cx="0" cy="0"/>
          <a:chOff x="0" y="0"/>
          <a:chExt cx="0" cy="0"/>
        </a:xfrm>
      </p:grpSpPr>
      <p:graphicFrame>
        <p:nvGraphicFramePr>
          <p:cNvPr id="19" name="Object 1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32934" name="think-cell Slide" r:id="rId4" imgW="270" imgH="270" progId="TCLayout.ActiveDocument.1">
                  <p:embed/>
                </p:oleObj>
              </mc:Choice>
              <mc:Fallback>
                <p:oleObj name="think-cell Slide" r:id="rId4" imgW="270" imgH="270" progId="TCLayout.ActiveDocument.1">
                  <p:embed/>
                  <p:pic>
                    <p:nvPicPr>
                      <p:cNvPr id="0"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4352" name="Freeform 16"/>
          <p:cNvSpPr>
            <a:spLocks/>
          </p:cNvSpPr>
          <p:nvPr userDrawn="1"/>
        </p:nvSpPr>
        <p:spPr bwMode="auto">
          <a:xfrm>
            <a:off x="5739551" y="838199"/>
            <a:ext cx="6452448" cy="6019801"/>
          </a:xfrm>
          <a:custGeom>
            <a:avLst/>
            <a:gdLst/>
            <a:ahLst/>
            <a:cxnLst>
              <a:cxn ang="0">
                <a:pos x="4062" y="1126"/>
              </a:cxn>
              <a:cxn ang="0">
                <a:pos x="4062" y="128"/>
              </a:cxn>
              <a:cxn ang="0">
                <a:pos x="4056" y="110"/>
              </a:cxn>
              <a:cxn ang="0">
                <a:pos x="3996" y="88"/>
              </a:cxn>
              <a:cxn ang="0">
                <a:pos x="3838" y="44"/>
              </a:cxn>
              <a:cxn ang="0">
                <a:pos x="3678" y="16"/>
              </a:cxn>
              <a:cxn ang="0">
                <a:pos x="3518" y="2"/>
              </a:cxn>
              <a:cxn ang="0">
                <a:pos x="3356" y="2"/>
              </a:cxn>
              <a:cxn ang="0">
                <a:pos x="3190" y="16"/>
              </a:cxn>
              <a:cxn ang="0">
                <a:pos x="3006" y="50"/>
              </a:cxn>
              <a:cxn ang="0">
                <a:pos x="2738" y="128"/>
              </a:cxn>
              <a:cxn ang="0">
                <a:pos x="2478" y="234"/>
              </a:cxn>
              <a:cxn ang="0">
                <a:pos x="2316" y="316"/>
              </a:cxn>
              <a:cxn ang="0">
                <a:pos x="2080" y="452"/>
              </a:cxn>
              <a:cxn ang="0">
                <a:pos x="1852" y="602"/>
              </a:cxn>
              <a:cxn ang="0">
                <a:pos x="1668" y="732"/>
              </a:cxn>
              <a:cxn ang="0">
                <a:pos x="1308" y="1006"/>
              </a:cxn>
              <a:cxn ang="0">
                <a:pos x="966" y="1278"/>
              </a:cxn>
              <a:cxn ang="0">
                <a:pos x="630" y="1536"/>
              </a:cxn>
              <a:cxn ang="0">
                <a:pos x="458" y="1658"/>
              </a:cxn>
              <a:cxn ang="0">
                <a:pos x="252" y="1786"/>
              </a:cxn>
              <a:cxn ang="0">
                <a:pos x="90" y="1868"/>
              </a:cxn>
              <a:cxn ang="0">
                <a:pos x="20" y="1898"/>
              </a:cxn>
              <a:cxn ang="0">
                <a:pos x="2" y="1906"/>
              </a:cxn>
              <a:cxn ang="0">
                <a:pos x="2" y="1918"/>
              </a:cxn>
              <a:cxn ang="0">
                <a:pos x="8" y="1932"/>
              </a:cxn>
              <a:cxn ang="0">
                <a:pos x="30" y="2248"/>
              </a:cxn>
              <a:cxn ang="0">
                <a:pos x="54" y="2446"/>
              </a:cxn>
              <a:cxn ang="0">
                <a:pos x="98" y="2724"/>
              </a:cxn>
              <a:cxn ang="0">
                <a:pos x="158" y="3002"/>
              </a:cxn>
              <a:cxn ang="0">
                <a:pos x="204" y="3180"/>
              </a:cxn>
              <a:cxn ang="0">
                <a:pos x="288" y="3440"/>
              </a:cxn>
              <a:cxn ang="0">
                <a:pos x="386" y="3694"/>
              </a:cxn>
              <a:cxn ang="0">
                <a:pos x="426" y="3784"/>
              </a:cxn>
              <a:cxn ang="0">
                <a:pos x="446" y="3794"/>
              </a:cxn>
              <a:cxn ang="0">
                <a:pos x="1836" y="3794"/>
              </a:cxn>
              <a:cxn ang="0">
                <a:pos x="1858" y="3786"/>
              </a:cxn>
              <a:cxn ang="0">
                <a:pos x="1956" y="3724"/>
              </a:cxn>
              <a:cxn ang="0">
                <a:pos x="2128" y="3640"/>
              </a:cxn>
              <a:cxn ang="0">
                <a:pos x="2278" y="3582"/>
              </a:cxn>
              <a:cxn ang="0">
                <a:pos x="2506" y="3514"/>
              </a:cxn>
              <a:cxn ang="0">
                <a:pos x="2740" y="3460"/>
              </a:cxn>
              <a:cxn ang="0">
                <a:pos x="3280" y="3344"/>
              </a:cxn>
              <a:cxn ang="0">
                <a:pos x="3608" y="3262"/>
              </a:cxn>
              <a:cxn ang="0">
                <a:pos x="3828" y="3196"/>
              </a:cxn>
              <a:cxn ang="0">
                <a:pos x="4044" y="3116"/>
              </a:cxn>
              <a:cxn ang="0">
                <a:pos x="4058" y="3106"/>
              </a:cxn>
              <a:cxn ang="0">
                <a:pos x="4062" y="3088"/>
              </a:cxn>
            </a:cxnLst>
            <a:rect l="0" t="0" r="r" b="b"/>
            <a:pathLst>
              <a:path w="4062" h="3794">
                <a:moveTo>
                  <a:pt x="4062" y="1608"/>
                </a:moveTo>
                <a:lnTo>
                  <a:pt x="4062" y="1608"/>
                </a:lnTo>
                <a:lnTo>
                  <a:pt x="4062" y="1126"/>
                </a:lnTo>
                <a:lnTo>
                  <a:pt x="4062" y="1126"/>
                </a:lnTo>
                <a:lnTo>
                  <a:pt x="4062" y="128"/>
                </a:lnTo>
                <a:lnTo>
                  <a:pt x="4062" y="128"/>
                </a:lnTo>
                <a:lnTo>
                  <a:pt x="4062" y="122"/>
                </a:lnTo>
                <a:lnTo>
                  <a:pt x="4060" y="114"/>
                </a:lnTo>
                <a:lnTo>
                  <a:pt x="4056" y="110"/>
                </a:lnTo>
                <a:lnTo>
                  <a:pt x="4050" y="106"/>
                </a:lnTo>
                <a:lnTo>
                  <a:pt x="4050" y="106"/>
                </a:lnTo>
                <a:lnTo>
                  <a:pt x="3996" y="88"/>
                </a:lnTo>
                <a:lnTo>
                  <a:pt x="3944" y="72"/>
                </a:lnTo>
                <a:lnTo>
                  <a:pt x="3892" y="58"/>
                </a:lnTo>
                <a:lnTo>
                  <a:pt x="3838" y="44"/>
                </a:lnTo>
                <a:lnTo>
                  <a:pt x="3786" y="34"/>
                </a:lnTo>
                <a:lnTo>
                  <a:pt x="3732" y="24"/>
                </a:lnTo>
                <a:lnTo>
                  <a:pt x="3678" y="16"/>
                </a:lnTo>
                <a:lnTo>
                  <a:pt x="3626" y="10"/>
                </a:lnTo>
                <a:lnTo>
                  <a:pt x="3572" y="4"/>
                </a:lnTo>
                <a:lnTo>
                  <a:pt x="3518" y="2"/>
                </a:lnTo>
                <a:lnTo>
                  <a:pt x="3464" y="0"/>
                </a:lnTo>
                <a:lnTo>
                  <a:pt x="3410" y="0"/>
                </a:lnTo>
                <a:lnTo>
                  <a:pt x="3356" y="2"/>
                </a:lnTo>
                <a:lnTo>
                  <a:pt x="3300" y="4"/>
                </a:lnTo>
                <a:lnTo>
                  <a:pt x="3246" y="10"/>
                </a:lnTo>
                <a:lnTo>
                  <a:pt x="3190" y="16"/>
                </a:lnTo>
                <a:lnTo>
                  <a:pt x="3190" y="16"/>
                </a:lnTo>
                <a:lnTo>
                  <a:pt x="3098" y="30"/>
                </a:lnTo>
                <a:lnTo>
                  <a:pt x="3006" y="50"/>
                </a:lnTo>
                <a:lnTo>
                  <a:pt x="2916" y="72"/>
                </a:lnTo>
                <a:lnTo>
                  <a:pt x="2826" y="98"/>
                </a:lnTo>
                <a:lnTo>
                  <a:pt x="2738" y="128"/>
                </a:lnTo>
                <a:lnTo>
                  <a:pt x="2650" y="160"/>
                </a:lnTo>
                <a:lnTo>
                  <a:pt x="2564" y="196"/>
                </a:lnTo>
                <a:lnTo>
                  <a:pt x="2478" y="234"/>
                </a:lnTo>
                <a:lnTo>
                  <a:pt x="2478" y="234"/>
                </a:lnTo>
                <a:lnTo>
                  <a:pt x="2396" y="274"/>
                </a:lnTo>
                <a:lnTo>
                  <a:pt x="2316" y="316"/>
                </a:lnTo>
                <a:lnTo>
                  <a:pt x="2236" y="360"/>
                </a:lnTo>
                <a:lnTo>
                  <a:pt x="2158" y="406"/>
                </a:lnTo>
                <a:lnTo>
                  <a:pt x="2080" y="452"/>
                </a:lnTo>
                <a:lnTo>
                  <a:pt x="2002" y="500"/>
                </a:lnTo>
                <a:lnTo>
                  <a:pt x="1926" y="550"/>
                </a:lnTo>
                <a:lnTo>
                  <a:pt x="1852" y="602"/>
                </a:lnTo>
                <a:lnTo>
                  <a:pt x="1852" y="602"/>
                </a:lnTo>
                <a:lnTo>
                  <a:pt x="1758" y="666"/>
                </a:lnTo>
                <a:lnTo>
                  <a:pt x="1668" y="732"/>
                </a:lnTo>
                <a:lnTo>
                  <a:pt x="1576" y="798"/>
                </a:lnTo>
                <a:lnTo>
                  <a:pt x="1488" y="866"/>
                </a:lnTo>
                <a:lnTo>
                  <a:pt x="1308" y="1006"/>
                </a:lnTo>
                <a:lnTo>
                  <a:pt x="1132" y="1146"/>
                </a:lnTo>
                <a:lnTo>
                  <a:pt x="1132" y="1146"/>
                </a:lnTo>
                <a:lnTo>
                  <a:pt x="966" y="1278"/>
                </a:lnTo>
                <a:lnTo>
                  <a:pt x="800" y="1408"/>
                </a:lnTo>
                <a:lnTo>
                  <a:pt x="716" y="1472"/>
                </a:lnTo>
                <a:lnTo>
                  <a:pt x="630" y="1536"/>
                </a:lnTo>
                <a:lnTo>
                  <a:pt x="544" y="1598"/>
                </a:lnTo>
                <a:lnTo>
                  <a:pt x="458" y="1658"/>
                </a:lnTo>
                <a:lnTo>
                  <a:pt x="458" y="1658"/>
                </a:lnTo>
                <a:lnTo>
                  <a:pt x="356" y="1724"/>
                </a:lnTo>
                <a:lnTo>
                  <a:pt x="304" y="1756"/>
                </a:lnTo>
                <a:lnTo>
                  <a:pt x="252" y="1786"/>
                </a:lnTo>
                <a:lnTo>
                  <a:pt x="200" y="1816"/>
                </a:lnTo>
                <a:lnTo>
                  <a:pt x="146" y="1842"/>
                </a:lnTo>
                <a:lnTo>
                  <a:pt x="90" y="1868"/>
                </a:lnTo>
                <a:lnTo>
                  <a:pt x="34" y="1892"/>
                </a:lnTo>
                <a:lnTo>
                  <a:pt x="34" y="1892"/>
                </a:lnTo>
                <a:lnTo>
                  <a:pt x="20" y="1898"/>
                </a:lnTo>
                <a:lnTo>
                  <a:pt x="6" y="1904"/>
                </a:lnTo>
                <a:lnTo>
                  <a:pt x="6" y="1904"/>
                </a:lnTo>
                <a:lnTo>
                  <a:pt x="2" y="1906"/>
                </a:lnTo>
                <a:lnTo>
                  <a:pt x="0" y="1910"/>
                </a:lnTo>
                <a:lnTo>
                  <a:pt x="0" y="1914"/>
                </a:lnTo>
                <a:lnTo>
                  <a:pt x="2" y="1918"/>
                </a:lnTo>
                <a:lnTo>
                  <a:pt x="6" y="1924"/>
                </a:lnTo>
                <a:lnTo>
                  <a:pt x="8" y="1932"/>
                </a:lnTo>
                <a:lnTo>
                  <a:pt x="8" y="1932"/>
                </a:lnTo>
                <a:lnTo>
                  <a:pt x="12" y="2038"/>
                </a:lnTo>
                <a:lnTo>
                  <a:pt x="20" y="2142"/>
                </a:lnTo>
                <a:lnTo>
                  <a:pt x="30" y="2248"/>
                </a:lnTo>
                <a:lnTo>
                  <a:pt x="42" y="2352"/>
                </a:lnTo>
                <a:lnTo>
                  <a:pt x="42" y="2352"/>
                </a:lnTo>
                <a:lnTo>
                  <a:pt x="54" y="2446"/>
                </a:lnTo>
                <a:lnTo>
                  <a:pt x="66" y="2540"/>
                </a:lnTo>
                <a:lnTo>
                  <a:pt x="82" y="2632"/>
                </a:lnTo>
                <a:lnTo>
                  <a:pt x="98" y="2724"/>
                </a:lnTo>
                <a:lnTo>
                  <a:pt x="116" y="2818"/>
                </a:lnTo>
                <a:lnTo>
                  <a:pt x="136" y="2910"/>
                </a:lnTo>
                <a:lnTo>
                  <a:pt x="158" y="3002"/>
                </a:lnTo>
                <a:lnTo>
                  <a:pt x="180" y="3092"/>
                </a:lnTo>
                <a:lnTo>
                  <a:pt x="180" y="3092"/>
                </a:lnTo>
                <a:lnTo>
                  <a:pt x="204" y="3180"/>
                </a:lnTo>
                <a:lnTo>
                  <a:pt x="230" y="3268"/>
                </a:lnTo>
                <a:lnTo>
                  <a:pt x="258" y="3354"/>
                </a:lnTo>
                <a:lnTo>
                  <a:pt x="288" y="3440"/>
                </a:lnTo>
                <a:lnTo>
                  <a:pt x="318" y="3524"/>
                </a:lnTo>
                <a:lnTo>
                  <a:pt x="352" y="3610"/>
                </a:lnTo>
                <a:lnTo>
                  <a:pt x="386" y="3694"/>
                </a:lnTo>
                <a:lnTo>
                  <a:pt x="422" y="3776"/>
                </a:lnTo>
                <a:lnTo>
                  <a:pt x="422" y="3776"/>
                </a:lnTo>
                <a:lnTo>
                  <a:pt x="426" y="3784"/>
                </a:lnTo>
                <a:lnTo>
                  <a:pt x="430" y="3790"/>
                </a:lnTo>
                <a:lnTo>
                  <a:pt x="436" y="3792"/>
                </a:lnTo>
                <a:lnTo>
                  <a:pt x="446" y="3794"/>
                </a:lnTo>
                <a:lnTo>
                  <a:pt x="446" y="3794"/>
                </a:lnTo>
                <a:lnTo>
                  <a:pt x="1836" y="3794"/>
                </a:lnTo>
                <a:lnTo>
                  <a:pt x="1836" y="3794"/>
                </a:lnTo>
                <a:lnTo>
                  <a:pt x="1848" y="3792"/>
                </a:lnTo>
                <a:lnTo>
                  <a:pt x="1858" y="3786"/>
                </a:lnTo>
                <a:lnTo>
                  <a:pt x="1858" y="3786"/>
                </a:lnTo>
                <a:lnTo>
                  <a:pt x="1890" y="3764"/>
                </a:lnTo>
                <a:lnTo>
                  <a:pt x="1922" y="3744"/>
                </a:lnTo>
                <a:lnTo>
                  <a:pt x="1956" y="3724"/>
                </a:lnTo>
                <a:lnTo>
                  <a:pt x="1988" y="3704"/>
                </a:lnTo>
                <a:lnTo>
                  <a:pt x="2058" y="3670"/>
                </a:lnTo>
                <a:lnTo>
                  <a:pt x="2128" y="3640"/>
                </a:lnTo>
                <a:lnTo>
                  <a:pt x="2128" y="3640"/>
                </a:lnTo>
                <a:lnTo>
                  <a:pt x="2202" y="3610"/>
                </a:lnTo>
                <a:lnTo>
                  <a:pt x="2278" y="3582"/>
                </a:lnTo>
                <a:lnTo>
                  <a:pt x="2354" y="3558"/>
                </a:lnTo>
                <a:lnTo>
                  <a:pt x="2430" y="3536"/>
                </a:lnTo>
                <a:lnTo>
                  <a:pt x="2506" y="3514"/>
                </a:lnTo>
                <a:lnTo>
                  <a:pt x="2584" y="3496"/>
                </a:lnTo>
                <a:lnTo>
                  <a:pt x="2740" y="3460"/>
                </a:lnTo>
                <a:lnTo>
                  <a:pt x="2740" y="3460"/>
                </a:lnTo>
                <a:lnTo>
                  <a:pt x="2920" y="3420"/>
                </a:lnTo>
                <a:lnTo>
                  <a:pt x="3100" y="3382"/>
                </a:lnTo>
                <a:lnTo>
                  <a:pt x="3280" y="3344"/>
                </a:lnTo>
                <a:lnTo>
                  <a:pt x="3460" y="3302"/>
                </a:lnTo>
                <a:lnTo>
                  <a:pt x="3460" y="3302"/>
                </a:lnTo>
                <a:lnTo>
                  <a:pt x="3608" y="3262"/>
                </a:lnTo>
                <a:lnTo>
                  <a:pt x="3682" y="3242"/>
                </a:lnTo>
                <a:lnTo>
                  <a:pt x="3756" y="3220"/>
                </a:lnTo>
                <a:lnTo>
                  <a:pt x="3828" y="3196"/>
                </a:lnTo>
                <a:lnTo>
                  <a:pt x="3900" y="3172"/>
                </a:lnTo>
                <a:lnTo>
                  <a:pt x="3972" y="3144"/>
                </a:lnTo>
                <a:lnTo>
                  <a:pt x="4044" y="3116"/>
                </a:lnTo>
                <a:lnTo>
                  <a:pt x="4044" y="3116"/>
                </a:lnTo>
                <a:lnTo>
                  <a:pt x="4052" y="3112"/>
                </a:lnTo>
                <a:lnTo>
                  <a:pt x="4058" y="3106"/>
                </a:lnTo>
                <a:lnTo>
                  <a:pt x="4062" y="3098"/>
                </a:lnTo>
                <a:lnTo>
                  <a:pt x="4062" y="3088"/>
                </a:lnTo>
                <a:lnTo>
                  <a:pt x="4062" y="3088"/>
                </a:lnTo>
                <a:lnTo>
                  <a:pt x="4062" y="1608"/>
                </a:lnTo>
                <a:lnTo>
                  <a:pt x="4062" y="1608"/>
                </a:lnTo>
                <a:close/>
              </a:path>
            </a:pathLst>
          </a:custGeom>
          <a:solidFill>
            <a:srgbClr val="FE304C"/>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8" name="Picture Placeholder 11">
            <a:extLst>
              <a:ext uri="{FF2B5EF4-FFF2-40B4-BE49-F238E27FC236}">
                <a16:creationId xmlns:a16="http://schemas.microsoft.com/office/drawing/2014/main" id="{D4E263B9-5E55-409E-9F7C-2F67A89E06AA}"/>
              </a:ext>
            </a:extLst>
          </p:cNvPr>
          <p:cNvSpPr>
            <a:spLocks noGrp="1"/>
          </p:cNvSpPr>
          <p:nvPr>
            <p:ph type="pic" sz="quarter" idx="10"/>
          </p:nvPr>
        </p:nvSpPr>
        <p:spPr>
          <a:xfrm>
            <a:off x="0" y="-1588"/>
            <a:ext cx="6654800" cy="6859588"/>
          </a:xfrm>
          <a:prstGeom prst="rect">
            <a:avLst/>
          </a:prstGeom>
        </p:spPr>
        <p:txBody>
          <a:bodyPr anchor="ctr"/>
          <a:lstStyle>
            <a:lvl1pPr marL="0" indent="0" algn="ctr">
              <a:buNone/>
              <a:defRPr/>
            </a:lvl1pPr>
          </a:lstStyle>
          <a:p>
            <a:r>
              <a:rPr lang="fr-FR"/>
              <a:t>Cliquez sur l'icône pour ajouter une image</a:t>
            </a:r>
            <a:endParaRPr lang="pt-PT"/>
          </a:p>
        </p:txBody>
      </p:sp>
      <p:sp>
        <p:nvSpPr>
          <p:cNvPr id="6"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7694195" y="2662294"/>
            <a:ext cx="4021613" cy="3160282"/>
          </a:xfrm>
          <a:prstGeom prst="rect">
            <a:avLst/>
          </a:prstGeom>
        </p:spPr>
        <p:txBody>
          <a:bodyPr anchor="ctr">
            <a:normAutofit/>
          </a:bodyPr>
          <a:lstStyle>
            <a:lvl1pPr marL="0" indent="0">
              <a:buNone/>
              <a:defRPr sz="3600">
                <a:solidFill>
                  <a:schemeClr val="tx1"/>
                </a:solidFill>
              </a:defRPr>
            </a:lvl1pPr>
            <a:lvl2pPr marL="457200" indent="0">
              <a:buNone/>
              <a:defRPr sz="6000">
                <a:solidFill>
                  <a:schemeClr val="bg1"/>
                </a:solidFill>
              </a:defRPr>
            </a:lvl2pPr>
          </a:lstStyle>
          <a:p>
            <a:pPr lvl="0"/>
            <a:r>
              <a:rPr lang="en-US" dirty="0"/>
              <a:t>Click to insert section title</a:t>
            </a:r>
          </a:p>
        </p:txBody>
      </p:sp>
    </p:spTree>
    <p:extLst>
      <p:ext uri="{BB962C8B-B14F-4D97-AF65-F5344CB8AC3E}">
        <p14:creationId xmlns:p14="http://schemas.microsoft.com/office/powerpoint/2010/main" val="280954555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ection break 3">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33956" name="think-cell Slide" r:id="rId4" imgW="270" imgH="270" progId="TCLayout.ActiveDocument.1">
                  <p:embed/>
                </p:oleObj>
              </mc:Choice>
              <mc:Fallback>
                <p:oleObj name="think-cell Slide" r:id="rId4" imgW="270" imgH="270" progId="TCLayout.ActiveDocument.1">
                  <p:embed/>
                  <p:pic>
                    <p:nvPicPr>
                      <p:cNvPr id="0"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5366" name="Freeform 6"/>
          <p:cNvSpPr>
            <a:spLocks/>
          </p:cNvSpPr>
          <p:nvPr userDrawn="1"/>
        </p:nvSpPr>
        <p:spPr bwMode="auto">
          <a:xfrm>
            <a:off x="0" y="0"/>
            <a:ext cx="7651750" cy="6858000"/>
          </a:xfrm>
          <a:custGeom>
            <a:avLst/>
            <a:gdLst/>
            <a:ahLst/>
            <a:cxnLst>
              <a:cxn ang="0">
                <a:pos x="0" y="4320"/>
              </a:cxn>
              <a:cxn ang="0">
                <a:pos x="0" y="18"/>
              </a:cxn>
              <a:cxn ang="0">
                <a:pos x="2" y="4"/>
              </a:cxn>
              <a:cxn ang="0">
                <a:pos x="18" y="0"/>
              </a:cxn>
              <a:cxn ang="0">
                <a:pos x="4802" y="0"/>
              </a:cxn>
              <a:cxn ang="0">
                <a:pos x="4812" y="0"/>
              </a:cxn>
              <a:cxn ang="0">
                <a:pos x="4820" y="8"/>
              </a:cxn>
              <a:cxn ang="0">
                <a:pos x="4820" y="18"/>
              </a:cxn>
              <a:cxn ang="0">
                <a:pos x="4820" y="50"/>
              </a:cxn>
              <a:cxn ang="0">
                <a:pos x="4816" y="52"/>
              </a:cxn>
              <a:cxn ang="0">
                <a:pos x="4816" y="64"/>
              </a:cxn>
              <a:cxn ang="0">
                <a:pos x="4808" y="138"/>
              </a:cxn>
              <a:cxn ang="0">
                <a:pos x="4800" y="200"/>
              </a:cxn>
              <a:cxn ang="0">
                <a:pos x="4776" y="318"/>
              </a:cxn>
              <a:cxn ang="0">
                <a:pos x="4744" y="434"/>
              </a:cxn>
              <a:cxn ang="0">
                <a:pos x="4704" y="544"/>
              </a:cxn>
              <a:cxn ang="0">
                <a:pos x="4654" y="652"/>
              </a:cxn>
              <a:cxn ang="0">
                <a:pos x="4594" y="754"/>
              </a:cxn>
              <a:cxn ang="0">
                <a:pos x="4528" y="852"/>
              </a:cxn>
              <a:cxn ang="0">
                <a:pos x="4452" y="948"/>
              </a:cxn>
              <a:cxn ang="0">
                <a:pos x="4410" y="994"/>
              </a:cxn>
              <a:cxn ang="0">
                <a:pos x="4342" y="1064"/>
              </a:cxn>
              <a:cxn ang="0">
                <a:pos x="4270" y="1130"/>
              </a:cxn>
              <a:cxn ang="0">
                <a:pos x="4118" y="1252"/>
              </a:cxn>
              <a:cxn ang="0">
                <a:pos x="3956" y="1360"/>
              </a:cxn>
              <a:cxn ang="0">
                <a:pos x="3786" y="1458"/>
              </a:cxn>
              <a:cxn ang="0">
                <a:pos x="3724" y="1488"/>
              </a:cxn>
              <a:cxn ang="0">
                <a:pos x="3542" y="1574"/>
              </a:cxn>
              <a:cxn ang="0">
                <a:pos x="3294" y="1678"/>
              </a:cxn>
              <a:cxn ang="0">
                <a:pos x="3028" y="1790"/>
              </a:cxn>
              <a:cxn ang="0">
                <a:pos x="2498" y="2020"/>
              </a:cxn>
              <a:cxn ang="0">
                <a:pos x="2238" y="2142"/>
              </a:cxn>
              <a:cxn ang="0">
                <a:pos x="2054" y="2232"/>
              </a:cxn>
              <a:cxn ang="0">
                <a:pos x="1872" y="2326"/>
              </a:cxn>
              <a:cxn ang="0">
                <a:pos x="1696" y="2428"/>
              </a:cxn>
              <a:cxn ang="0">
                <a:pos x="1522" y="2538"/>
              </a:cxn>
              <a:cxn ang="0">
                <a:pos x="1464" y="2578"/>
              </a:cxn>
              <a:cxn ang="0">
                <a:pos x="1350" y="2664"/>
              </a:cxn>
              <a:cxn ang="0">
                <a:pos x="1242" y="2758"/>
              </a:cxn>
              <a:cxn ang="0">
                <a:pos x="1142" y="2860"/>
              </a:cxn>
              <a:cxn ang="0">
                <a:pos x="1096" y="2916"/>
              </a:cxn>
              <a:cxn ang="0">
                <a:pos x="1030" y="3008"/>
              </a:cxn>
              <a:cxn ang="0">
                <a:pos x="976" y="3102"/>
              </a:cxn>
              <a:cxn ang="0">
                <a:pos x="934" y="3200"/>
              </a:cxn>
              <a:cxn ang="0">
                <a:pos x="904" y="3302"/>
              </a:cxn>
              <a:cxn ang="0">
                <a:pos x="884" y="3404"/>
              </a:cxn>
              <a:cxn ang="0">
                <a:pos x="878" y="3512"/>
              </a:cxn>
              <a:cxn ang="0">
                <a:pos x="884" y="3620"/>
              </a:cxn>
              <a:cxn ang="0">
                <a:pos x="900" y="3732"/>
              </a:cxn>
              <a:cxn ang="0">
                <a:pos x="914" y="3788"/>
              </a:cxn>
              <a:cxn ang="0">
                <a:pos x="944" y="3898"/>
              </a:cxn>
              <a:cxn ang="0">
                <a:pos x="982" y="4004"/>
              </a:cxn>
              <a:cxn ang="0">
                <a:pos x="1028" y="4108"/>
              </a:cxn>
              <a:cxn ang="0">
                <a:pos x="1052" y="4160"/>
              </a:cxn>
              <a:cxn ang="0">
                <a:pos x="1126" y="4302"/>
              </a:cxn>
              <a:cxn ang="0">
                <a:pos x="1130" y="4312"/>
              </a:cxn>
              <a:cxn ang="0">
                <a:pos x="1130" y="4318"/>
              </a:cxn>
              <a:cxn ang="0">
                <a:pos x="1116" y="4320"/>
              </a:cxn>
              <a:cxn ang="0">
                <a:pos x="1100" y="4320"/>
              </a:cxn>
              <a:cxn ang="0">
                <a:pos x="0" y="4320"/>
              </a:cxn>
            </a:cxnLst>
            <a:rect l="0" t="0" r="r" b="b"/>
            <a:pathLst>
              <a:path w="4820" h="4320">
                <a:moveTo>
                  <a:pt x="0" y="4320"/>
                </a:moveTo>
                <a:lnTo>
                  <a:pt x="0" y="4320"/>
                </a:lnTo>
                <a:lnTo>
                  <a:pt x="0" y="18"/>
                </a:lnTo>
                <a:lnTo>
                  <a:pt x="0" y="18"/>
                </a:lnTo>
                <a:lnTo>
                  <a:pt x="0" y="8"/>
                </a:lnTo>
                <a:lnTo>
                  <a:pt x="2" y="4"/>
                </a:lnTo>
                <a:lnTo>
                  <a:pt x="8" y="0"/>
                </a:lnTo>
                <a:lnTo>
                  <a:pt x="18" y="0"/>
                </a:lnTo>
                <a:lnTo>
                  <a:pt x="18" y="0"/>
                </a:lnTo>
                <a:lnTo>
                  <a:pt x="4802" y="0"/>
                </a:lnTo>
                <a:lnTo>
                  <a:pt x="4802" y="0"/>
                </a:lnTo>
                <a:lnTo>
                  <a:pt x="4812" y="0"/>
                </a:lnTo>
                <a:lnTo>
                  <a:pt x="4818" y="4"/>
                </a:lnTo>
                <a:lnTo>
                  <a:pt x="4820" y="8"/>
                </a:lnTo>
                <a:lnTo>
                  <a:pt x="4820" y="18"/>
                </a:lnTo>
                <a:lnTo>
                  <a:pt x="4820" y="18"/>
                </a:lnTo>
                <a:lnTo>
                  <a:pt x="4820" y="34"/>
                </a:lnTo>
                <a:lnTo>
                  <a:pt x="4820" y="50"/>
                </a:lnTo>
                <a:lnTo>
                  <a:pt x="4820" y="50"/>
                </a:lnTo>
                <a:lnTo>
                  <a:pt x="4816" y="52"/>
                </a:lnTo>
                <a:lnTo>
                  <a:pt x="4816" y="56"/>
                </a:lnTo>
                <a:lnTo>
                  <a:pt x="4816" y="64"/>
                </a:lnTo>
                <a:lnTo>
                  <a:pt x="4816" y="64"/>
                </a:lnTo>
                <a:lnTo>
                  <a:pt x="4808" y="138"/>
                </a:lnTo>
                <a:lnTo>
                  <a:pt x="4808" y="138"/>
                </a:lnTo>
                <a:lnTo>
                  <a:pt x="4800" y="200"/>
                </a:lnTo>
                <a:lnTo>
                  <a:pt x="4790" y="260"/>
                </a:lnTo>
                <a:lnTo>
                  <a:pt x="4776" y="318"/>
                </a:lnTo>
                <a:lnTo>
                  <a:pt x="4762" y="376"/>
                </a:lnTo>
                <a:lnTo>
                  <a:pt x="4744" y="434"/>
                </a:lnTo>
                <a:lnTo>
                  <a:pt x="4726" y="490"/>
                </a:lnTo>
                <a:lnTo>
                  <a:pt x="4704" y="544"/>
                </a:lnTo>
                <a:lnTo>
                  <a:pt x="4680" y="598"/>
                </a:lnTo>
                <a:lnTo>
                  <a:pt x="4654" y="652"/>
                </a:lnTo>
                <a:lnTo>
                  <a:pt x="4626" y="704"/>
                </a:lnTo>
                <a:lnTo>
                  <a:pt x="4594" y="754"/>
                </a:lnTo>
                <a:lnTo>
                  <a:pt x="4562" y="804"/>
                </a:lnTo>
                <a:lnTo>
                  <a:pt x="4528" y="852"/>
                </a:lnTo>
                <a:lnTo>
                  <a:pt x="4490" y="900"/>
                </a:lnTo>
                <a:lnTo>
                  <a:pt x="4452" y="948"/>
                </a:lnTo>
                <a:lnTo>
                  <a:pt x="4410" y="994"/>
                </a:lnTo>
                <a:lnTo>
                  <a:pt x="4410" y="994"/>
                </a:lnTo>
                <a:lnTo>
                  <a:pt x="4376" y="1030"/>
                </a:lnTo>
                <a:lnTo>
                  <a:pt x="4342" y="1064"/>
                </a:lnTo>
                <a:lnTo>
                  <a:pt x="4306" y="1098"/>
                </a:lnTo>
                <a:lnTo>
                  <a:pt x="4270" y="1130"/>
                </a:lnTo>
                <a:lnTo>
                  <a:pt x="4196" y="1194"/>
                </a:lnTo>
                <a:lnTo>
                  <a:pt x="4118" y="1252"/>
                </a:lnTo>
                <a:lnTo>
                  <a:pt x="4038" y="1308"/>
                </a:lnTo>
                <a:lnTo>
                  <a:pt x="3956" y="1360"/>
                </a:lnTo>
                <a:lnTo>
                  <a:pt x="3872" y="1410"/>
                </a:lnTo>
                <a:lnTo>
                  <a:pt x="3786" y="1458"/>
                </a:lnTo>
                <a:lnTo>
                  <a:pt x="3786" y="1458"/>
                </a:lnTo>
                <a:lnTo>
                  <a:pt x="3724" y="1488"/>
                </a:lnTo>
                <a:lnTo>
                  <a:pt x="3664" y="1518"/>
                </a:lnTo>
                <a:lnTo>
                  <a:pt x="3542" y="1574"/>
                </a:lnTo>
                <a:lnTo>
                  <a:pt x="3418" y="1626"/>
                </a:lnTo>
                <a:lnTo>
                  <a:pt x="3294" y="1678"/>
                </a:lnTo>
                <a:lnTo>
                  <a:pt x="3294" y="1678"/>
                </a:lnTo>
                <a:lnTo>
                  <a:pt x="3028" y="1790"/>
                </a:lnTo>
                <a:lnTo>
                  <a:pt x="2762" y="1904"/>
                </a:lnTo>
                <a:lnTo>
                  <a:pt x="2498" y="2020"/>
                </a:lnTo>
                <a:lnTo>
                  <a:pt x="2368" y="2080"/>
                </a:lnTo>
                <a:lnTo>
                  <a:pt x="2238" y="2142"/>
                </a:lnTo>
                <a:lnTo>
                  <a:pt x="2238" y="2142"/>
                </a:lnTo>
                <a:lnTo>
                  <a:pt x="2054" y="2232"/>
                </a:lnTo>
                <a:lnTo>
                  <a:pt x="1962" y="2278"/>
                </a:lnTo>
                <a:lnTo>
                  <a:pt x="1872" y="2326"/>
                </a:lnTo>
                <a:lnTo>
                  <a:pt x="1784" y="2376"/>
                </a:lnTo>
                <a:lnTo>
                  <a:pt x="1696" y="2428"/>
                </a:lnTo>
                <a:lnTo>
                  <a:pt x="1608" y="2482"/>
                </a:lnTo>
                <a:lnTo>
                  <a:pt x="1522" y="2538"/>
                </a:lnTo>
                <a:lnTo>
                  <a:pt x="1522" y="2538"/>
                </a:lnTo>
                <a:lnTo>
                  <a:pt x="1464" y="2578"/>
                </a:lnTo>
                <a:lnTo>
                  <a:pt x="1406" y="2620"/>
                </a:lnTo>
                <a:lnTo>
                  <a:pt x="1350" y="2664"/>
                </a:lnTo>
                <a:lnTo>
                  <a:pt x="1296" y="2710"/>
                </a:lnTo>
                <a:lnTo>
                  <a:pt x="1242" y="2758"/>
                </a:lnTo>
                <a:lnTo>
                  <a:pt x="1192" y="2808"/>
                </a:lnTo>
                <a:lnTo>
                  <a:pt x="1142" y="2860"/>
                </a:lnTo>
                <a:lnTo>
                  <a:pt x="1096" y="2916"/>
                </a:lnTo>
                <a:lnTo>
                  <a:pt x="1096" y="2916"/>
                </a:lnTo>
                <a:lnTo>
                  <a:pt x="1062" y="2962"/>
                </a:lnTo>
                <a:lnTo>
                  <a:pt x="1030" y="3008"/>
                </a:lnTo>
                <a:lnTo>
                  <a:pt x="1002" y="3054"/>
                </a:lnTo>
                <a:lnTo>
                  <a:pt x="976" y="3102"/>
                </a:lnTo>
                <a:lnTo>
                  <a:pt x="952" y="3152"/>
                </a:lnTo>
                <a:lnTo>
                  <a:pt x="934" y="3200"/>
                </a:lnTo>
                <a:lnTo>
                  <a:pt x="916" y="3250"/>
                </a:lnTo>
                <a:lnTo>
                  <a:pt x="904" y="3302"/>
                </a:lnTo>
                <a:lnTo>
                  <a:pt x="892" y="3352"/>
                </a:lnTo>
                <a:lnTo>
                  <a:pt x="884" y="3404"/>
                </a:lnTo>
                <a:lnTo>
                  <a:pt x="880" y="3458"/>
                </a:lnTo>
                <a:lnTo>
                  <a:pt x="878" y="3512"/>
                </a:lnTo>
                <a:lnTo>
                  <a:pt x="880" y="3566"/>
                </a:lnTo>
                <a:lnTo>
                  <a:pt x="884" y="3620"/>
                </a:lnTo>
                <a:lnTo>
                  <a:pt x="890" y="3676"/>
                </a:lnTo>
                <a:lnTo>
                  <a:pt x="900" y="3732"/>
                </a:lnTo>
                <a:lnTo>
                  <a:pt x="900" y="3732"/>
                </a:lnTo>
                <a:lnTo>
                  <a:pt x="914" y="3788"/>
                </a:lnTo>
                <a:lnTo>
                  <a:pt x="928" y="3844"/>
                </a:lnTo>
                <a:lnTo>
                  <a:pt x="944" y="3898"/>
                </a:lnTo>
                <a:lnTo>
                  <a:pt x="962" y="3952"/>
                </a:lnTo>
                <a:lnTo>
                  <a:pt x="982" y="4004"/>
                </a:lnTo>
                <a:lnTo>
                  <a:pt x="1004" y="4056"/>
                </a:lnTo>
                <a:lnTo>
                  <a:pt x="1028" y="4108"/>
                </a:lnTo>
                <a:lnTo>
                  <a:pt x="1052" y="4160"/>
                </a:lnTo>
                <a:lnTo>
                  <a:pt x="1052" y="4160"/>
                </a:lnTo>
                <a:lnTo>
                  <a:pt x="1088" y="4232"/>
                </a:lnTo>
                <a:lnTo>
                  <a:pt x="1126" y="4302"/>
                </a:lnTo>
                <a:lnTo>
                  <a:pt x="1126" y="4302"/>
                </a:lnTo>
                <a:lnTo>
                  <a:pt x="1130" y="4312"/>
                </a:lnTo>
                <a:lnTo>
                  <a:pt x="1132" y="4316"/>
                </a:lnTo>
                <a:lnTo>
                  <a:pt x="1130" y="4318"/>
                </a:lnTo>
                <a:lnTo>
                  <a:pt x="1126" y="4320"/>
                </a:lnTo>
                <a:lnTo>
                  <a:pt x="1116" y="4320"/>
                </a:lnTo>
                <a:lnTo>
                  <a:pt x="1116" y="4320"/>
                </a:lnTo>
                <a:lnTo>
                  <a:pt x="1100" y="4320"/>
                </a:lnTo>
                <a:lnTo>
                  <a:pt x="1100" y="4320"/>
                </a:lnTo>
                <a:lnTo>
                  <a:pt x="0" y="4320"/>
                </a:lnTo>
                <a:lnTo>
                  <a:pt x="0" y="4320"/>
                </a:lnTo>
                <a:close/>
              </a:path>
            </a:pathLst>
          </a:custGeom>
          <a:solidFill>
            <a:srgbClr val="12AADA"/>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8" name="Picture Placeholder 11">
            <a:extLst>
              <a:ext uri="{FF2B5EF4-FFF2-40B4-BE49-F238E27FC236}">
                <a16:creationId xmlns:a16="http://schemas.microsoft.com/office/drawing/2014/main" id="{D4E263B9-5E55-409E-9F7C-2F67A89E06AA}"/>
              </a:ext>
            </a:extLst>
          </p:cNvPr>
          <p:cNvSpPr>
            <a:spLocks noGrp="1"/>
          </p:cNvSpPr>
          <p:nvPr>
            <p:ph type="pic" sz="quarter" idx="10"/>
          </p:nvPr>
        </p:nvSpPr>
        <p:spPr>
          <a:xfrm>
            <a:off x="2273300" y="0"/>
            <a:ext cx="9918700" cy="6859588"/>
          </a:xfrm>
          <a:prstGeom prst="rect">
            <a:avLst/>
          </a:prstGeom>
        </p:spPr>
        <p:txBody>
          <a:bodyPr anchor="ctr"/>
          <a:lstStyle>
            <a:lvl1pPr marL="0" indent="0" algn="ctr">
              <a:buNone/>
              <a:defRPr/>
            </a:lvl1pPr>
          </a:lstStyle>
          <a:p>
            <a:r>
              <a:rPr lang="fr-FR"/>
              <a:t>Cliquez sur l'icône pour ajouter une image</a:t>
            </a:r>
            <a:endParaRPr lang="pt-PT"/>
          </a:p>
        </p:txBody>
      </p:sp>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460708" y="434513"/>
            <a:ext cx="5419268" cy="1902287"/>
          </a:xfrm>
          <a:prstGeom prst="rect">
            <a:avLst/>
          </a:prstGeom>
        </p:spPr>
        <p:txBody>
          <a:bodyPr>
            <a:noAutofit/>
          </a:bodyPr>
          <a:lstStyle>
            <a:lvl1pPr marL="0" indent="0">
              <a:buNone/>
              <a:defRPr sz="3600">
                <a:solidFill>
                  <a:schemeClr val="bg1"/>
                </a:solidFill>
              </a:defRPr>
            </a:lvl1pPr>
            <a:lvl2pPr marL="457200" indent="0">
              <a:buNone/>
              <a:defRPr sz="6000">
                <a:solidFill>
                  <a:schemeClr val="bg1"/>
                </a:solidFill>
              </a:defRPr>
            </a:lvl2pPr>
          </a:lstStyle>
          <a:p>
            <a:pPr lvl="0"/>
            <a:r>
              <a:rPr lang="en-US" dirty="0"/>
              <a:t>Click to insert section title</a:t>
            </a:r>
            <a:endParaRPr lang="pt-PT" dirty="0"/>
          </a:p>
        </p:txBody>
      </p:sp>
    </p:spTree>
    <p:extLst>
      <p:ext uri="{BB962C8B-B14F-4D97-AF65-F5344CB8AC3E}">
        <p14:creationId xmlns:p14="http://schemas.microsoft.com/office/powerpoint/2010/main" val="4127604316"/>
      </p:ext>
    </p:extLst>
  </p:cSld>
  <p:clrMapOvr>
    <a:masterClrMapping/>
  </p:clrMapOvr>
  <p:extLst>
    <p:ext uri="{DCECCB84-F9BA-43D5-87BE-67443E8EF086}">
      <p15:sldGuideLst xmlns:p15="http://schemas.microsoft.com/office/powerpoint/2012/main">
        <p15:guide id="1" pos="279" userDrawn="1">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65684"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fr-FR"/>
              <a:t>Modifiez le style du titre</a:t>
            </a:r>
            <a:endParaRPr lang="en-GB" dirty="0"/>
          </a:p>
        </p:txBody>
      </p:sp>
    </p:spTree>
    <p:extLst>
      <p:ext uri="{BB962C8B-B14F-4D97-AF65-F5344CB8AC3E}">
        <p14:creationId xmlns:p14="http://schemas.microsoft.com/office/powerpoint/2010/main" val="274547166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rgbClr val="E6E7E7"/>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5768" name="think-cell Slide" r:id="rId4" imgW="270" imgH="270" progId="TCLayout.ActiveDocument.1">
                  <p:embed/>
                </p:oleObj>
              </mc:Choice>
              <mc:Fallback>
                <p:oleObj name="think-cell Slide" r:id="rId4" imgW="270" imgH="270" progId="TCLayout.ActiveDocument.1">
                  <p:embed/>
                  <p:pic>
                    <p:nvPicPr>
                      <p:cNvPr id="0"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079" name="Freeform 7"/>
          <p:cNvSpPr>
            <a:spLocks/>
          </p:cNvSpPr>
          <p:nvPr userDrawn="1"/>
        </p:nvSpPr>
        <p:spPr bwMode="auto">
          <a:xfrm>
            <a:off x="5137150" y="0"/>
            <a:ext cx="7054850" cy="6854825"/>
          </a:xfrm>
          <a:custGeom>
            <a:avLst/>
            <a:gdLst/>
            <a:ahLst/>
            <a:cxnLst>
              <a:cxn ang="0">
                <a:pos x="4444" y="0"/>
              </a:cxn>
              <a:cxn ang="0">
                <a:pos x="4444" y="32"/>
              </a:cxn>
              <a:cxn ang="0">
                <a:pos x="4444" y="4292"/>
              </a:cxn>
              <a:cxn ang="0">
                <a:pos x="4440" y="4306"/>
              </a:cxn>
              <a:cxn ang="0">
                <a:pos x="4426" y="4314"/>
              </a:cxn>
              <a:cxn ang="0">
                <a:pos x="4326" y="4318"/>
              </a:cxn>
              <a:cxn ang="0">
                <a:pos x="4228" y="4310"/>
              </a:cxn>
              <a:cxn ang="0">
                <a:pos x="4076" y="4282"/>
              </a:cxn>
              <a:cxn ang="0">
                <a:pos x="3928" y="4240"/>
              </a:cxn>
              <a:cxn ang="0">
                <a:pos x="3740" y="4170"/>
              </a:cxn>
              <a:cxn ang="0">
                <a:pos x="3474" y="4042"/>
              </a:cxn>
              <a:cxn ang="0">
                <a:pos x="3216" y="3896"/>
              </a:cxn>
              <a:cxn ang="0">
                <a:pos x="3024" y="3772"/>
              </a:cxn>
              <a:cxn ang="0">
                <a:pos x="2704" y="3544"/>
              </a:cxn>
              <a:cxn ang="0">
                <a:pos x="2396" y="3300"/>
              </a:cxn>
              <a:cxn ang="0">
                <a:pos x="2180" y="3116"/>
              </a:cxn>
              <a:cxn ang="0">
                <a:pos x="2256" y="2964"/>
              </a:cxn>
              <a:cxn ang="0">
                <a:pos x="2286" y="2890"/>
              </a:cxn>
              <a:cxn ang="0">
                <a:pos x="2322" y="2774"/>
              </a:cxn>
              <a:cxn ang="0">
                <a:pos x="2338" y="2654"/>
              </a:cxn>
              <a:cxn ang="0">
                <a:pos x="2336" y="2562"/>
              </a:cxn>
              <a:cxn ang="0">
                <a:pos x="2306" y="2432"/>
              </a:cxn>
              <a:cxn ang="0">
                <a:pos x="2242" y="2310"/>
              </a:cxn>
              <a:cxn ang="0">
                <a:pos x="2188" y="2238"/>
              </a:cxn>
              <a:cxn ang="0">
                <a:pos x="2092" y="2144"/>
              </a:cxn>
              <a:cxn ang="0">
                <a:pos x="1986" y="2062"/>
              </a:cxn>
              <a:cxn ang="0">
                <a:pos x="1878" y="1990"/>
              </a:cxn>
              <a:cxn ang="0">
                <a:pos x="1712" y="1894"/>
              </a:cxn>
              <a:cxn ang="0">
                <a:pos x="1538" y="1808"/>
              </a:cxn>
              <a:cxn ang="0">
                <a:pos x="1156" y="1640"/>
              </a:cxn>
              <a:cxn ang="0">
                <a:pos x="710" y="1446"/>
              </a:cxn>
              <a:cxn ang="0">
                <a:pos x="524" y="1350"/>
              </a:cxn>
              <a:cxn ang="0">
                <a:pos x="354" y="1230"/>
              </a:cxn>
              <a:cxn ang="0">
                <a:pos x="262" y="1144"/>
              </a:cxn>
              <a:cxn ang="0">
                <a:pos x="158" y="1020"/>
              </a:cxn>
              <a:cxn ang="0">
                <a:pos x="80" y="884"/>
              </a:cxn>
              <a:cxn ang="0">
                <a:pos x="28" y="740"/>
              </a:cxn>
              <a:cxn ang="0">
                <a:pos x="2" y="584"/>
              </a:cxn>
              <a:cxn ang="0">
                <a:pos x="4" y="418"/>
              </a:cxn>
              <a:cxn ang="0">
                <a:pos x="18" y="314"/>
              </a:cxn>
              <a:cxn ang="0">
                <a:pos x="58" y="162"/>
              </a:cxn>
              <a:cxn ang="0">
                <a:pos x="118" y="16"/>
              </a:cxn>
              <a:cxn ang="0">
                <a:pos x="122" y="0"/>
              </a:cxn>
            </a:cxnLst>
            <a:rect l="0" t="0" r="r" b="b"/>
            <a:pathLst>
              <a:path w="4444" h="4318">
                <a:moveTo>
                  <a:pt x="122" y="0"/>
                </a:moveTo>
                <a:lnTo>
                  <a:pt x="122" y="0"/>
                </a:lnTo>
                <a:lnTo>
                  <a:pt x="4444" y="0"/>
                </a:lnTo>
                <a:lnTo>
                  <a:pt x="4444" y="0"/>
                </a:lnTo>
                <a:lnTo>
                  <a:pt x="4444" y="32"/>
                </a:lnTo>
                <a:lnTo>
                  <a:pt x="4444" y="32"/>
                </a:lnTo>
                <a:lnTo>
                  <a:pt x="4444" y="4272"/>
                </a:lnTo>
                <a:lnTo>
                  <a:pt x="4444" y="4272"/>
                </a:lnTo>
                <a:lnTo>
                  <a:pt x="4444" y="4292"/>
                </a:lnTo>
                <a:lnTo>
                  <a:pt x="4444" y="4292"/>
                </a:lnTo>
                <a:lnTo>
                  <a:pt x="4444" y="4300"/>
                </a:lnTo>
                <a:lnTo>
                  <a:pt x="4440" y="4306"/>
                </a:lnTo>
                <a:lnTo>
                  <a:pt x="4436" y="4310"/>
                </a:lnTo>
                <a:lnTo>
                  <a:pt x="4426" y="4314"/>
                </a:lnTo>
                <a:lnTo>
                  <a:pt x="4426" y="4314"/>
                </a:lnTo>
                <a:lnTo>
                  <a:pt x="4402" y="4316"/>
                </a:lnTo>
                <a:lnTo>
                  <a:pt x="4376" y="4318"/>
                </a:lnTo>
                <a:lnTo>
                  <a:pt x="4326" y="4318"/>
                </a:lnTo>
                <a:lnTo>
                  <a:pt x="4278" y="4316"/>
                </a:lnTo>
                <a:lnTo>
                  <a:pt x="4228" y="4310"/>
                </a:lnTo>
                <a:lnTo>
                  <a:pt x="4228" y="4310"/>
                </a:lnTo>
                <a:lnTo>
                  <a:pt x="4176" y="4302"/>
                </a:lnTo>
                <a:lnTo>
                  <a:pt x="4126" y="4294"/>
                </a:lnTo>
                <a:lnTo>
                  <a:pt x="4076" y="4282"/>
                </a:lnTo>
                <a:lnTo>
                  <a:pt x="4026" y="4270"/>
                </a:lnTo>
                <a:lnTo>
                  <a:pt x="3978" y="4256"/>
                </a:lnTo>
                <a:lnTo>
                  <a:pt x="3928" y="4240"/>
                </a:lnTo>
                <a:lnTo>
                  <a:pt x="3832" y="4206"/>
                </a:lnTo>
                <a:lnTo>
                  <a:pt x="3832" y="4206"/>
                </a:lnTo>
                <a:lnTo>
                  <a:pt x="3740" y="4170"/>
                </a:lnTo>
                <a:lnTo>
                  <a:pt x="3650" y="4130"/>
                </a:lnTo>
                <a:lnTo>
                  <a:pt x="3562" y="4088"/>
                </a:lnTo>
                <a:lnTo>
                  <a:pt x="3474" y="4042"/>
                </a:lnTo>
                <a:lnTo>
                  <a:pt x="3386" y="3996"/>
                </a:lnTo>
                <a:lnTo>
                  <a:pt x="3302" y="3946"/>
                </a:lnTo>
                <a:lnTo>
                  <a:pt x="3216" y="3896"/>
                </a:lnTo>
                <a:lnTo>
                  <a:pt x="3134" y="3844"/>
                </a:lnTo>
                <a:lnTo>
                  <a:pt x="3134" y="3844"/>
                </a:lnTo>
                <a:lnTo>
                  <a:pt x="3024" y="3772"/>
                </a:lnTo>
                <a:lnTo>
                  <a:pt x="2916" y="3698"/>
                </a:lnTo>
                <a:lnTo>
                  <a:pt x="2808" y="3622"/>
                </a:lnTo>
                <a:lnTo>
                  <a:pt x="2704" y="3544"/>
                </a:lnTo>
                <a:lnTo>
                  <a:pt x="2600" y="3464"/>
                </a:lnTo>
                <a:lnTo>
                  <a:pt x="2498" y="3382"/>
                </a:lnTo>
                <a:lnTo>
                  <a:pt x="2396" y="3300"/>
                </a:lnTo>
                <a:lnTo>
                  <a:pt x="2296" y="3214"/>
                </a:lnTo>
                <a:lnTo>
                  <a:pt x="2296" y="3214"/>
                </a:lnTo>
                <a:lnTo>
                  <a:pt x="2180" y="3116"/>
                </a:lnTo>
                <a:lnTo>
                  <a:pt x="2180" y="3116"/>
                </a:lnTo>
                <a:lnTo>
                  <a:pt x="2220" y="3040"/>
                </a:lnTo>
                <a:lnTo>
                  <a:pt x="2256" y="2964"/>
                </a:lnTo>
                <a:lnTo>
                  <a:pt x="2256" y="2964"/>
                </a:lnTo>
                <a:lnTo>
                  <a:pt x="2272" y="2928"/>
                </a:lnTo>
                <a:lnTo>
                  <a:pt x="2286" y="2890"/>
                </a:lnTo>
                <a:lnTo>
                  <a:pt x="2300" y="2852"/>
                </a:lnTo>
                <a:lnTo>
                  <a:pt x="2312" y="2814"/>
                </a:lnTo>
                <a:lnTo>
                  <a:pt x="2322" y="2774"/>
                </a:lnTo>
                <a:lnTo>
                  <a:pt x="2330" y="2736"/>
                </a:lnTo>
                <a:lnTo>
                  <a:pt x="2334" y="2696"/>
                </a:lnTo>
                <a:lnTo>
                  <a:pt x="2338" y="2654"/>
                </a:lnTo>
                <a:lnTo>
                  <a:pt x="2338" y="2654"/>
                </a:lnTo>
                <a:lnTo>
                  <a:pt x="2340" y="2608"/>
                </a:lnTo>
                <a:lnTo>
                  <a:pt x="2336" y="2562"/>
                </a:lnTo>
                <a:lnTo>
                  <a:pt x="2330" y="2518"/>
                </a:lnTo>
                <a:lnTo>
                  <a:pt x="2320" y="2474"/>
                </a:lnTo>
                <a:lnTo>
                  <a:pt x="2306" y="2432"/>
                </a:lnTo>
                <a:lnTo>
                  <a:pt x="2288" y="2390"/>
                </a:lnTo>
                <a:lnTo>
                  <a:pt x="2266" y="2350"/>
                </a:lnTo>
                <a:lnTo>
                  <a:pt x="2242" y="2310"/>
                </a:lnTo>
                <a:lnTo>
                  <a:pt x="2242" y="2310"/>
                </a:lnTo>
                <a:lnTo>
                  <a:pt x="2216" y="2274"/>
                </a:lnTo>
                <a:lnTo>
                  <a:pt x="2188" y="2238"/>
                </a:lnTo>
                <a:lnTo>
                  <a:pt x="2158" y="2206"/>
                </a:lnTo>
                <a:lnTo>
                  <a:pt x="2126" y="2174"/>
                </a:lnTo>
                <a:lnTo>
                  <a:pt x="2092" y="2144"/>
                </a:lnTo>
                <a:lnTo>
                  <a:pt x="2058" y="2116"/>
                </a:lnTo>
                <a:lnTo>
                  <a:pt x="2022" y="2088"/>
                </a:lnTo>
                <a:lnTo>
                  <a:pt x="1986" y="2062"/>
                </a:lnTo>
                <a:lnTo>
                  <a:pt x="1986" y="2062"/>
                </a:lnTo>
                <a:lnTo>
                  <a:pt x="1932" y="2024"/>
                </a:lnTo>
                <a:lnTo>
                  <a:pt x="1878" y="1990"/>
                </a:lnTo>
                <a:lnTo>
                  <a:pt x="1824" y="1956"/>
                </a:lnTo>
                <a:lnTo>
                  <a:pt x="1768" y="1924"/>
                </a:lnTo>
                <a:lnTo>
                  <a:pt x="1712" y="1894"/>
                </a:lnTo>
                <a:lnTo>
                  <a:pt x="1654" y="1864"/>
                </a:lnTo>
                <a:lnTo>
                  <a:pt x="1596" y="1836"/>
                </a:lnTo>
                <a:lnTo>
                  <a:pt x="1538" y="1808"/>
                </a:lnTo>
                <a:lnTo>
                  <a:pt x="1538" y="1808"/>
                </a:lnTo>
                <a:lnTo>
                  <a:pt x="1346" y="1724"/>
                </a:lnTo>
                <a:lnTo>
                  <a:pt x="1156" y="1640"/>
                </a:lnTo>
                <a:lnTo>
                  <a:pt x="774" y="1474"/>
                </a:lnTo>
                <a:lnTo>
                  <a:pt x="774" y="1474"/>
                </a:lnTo>
                <a:lnTo>
                  <a:pt x="710" y="1446"/>
                </a:lnTo>
                <a:lnTo>
                  <a:pt x="646" y="1416"/>
                </a:lnTo>
                <a:lnTo>
                  <a:pt x="584" y="1384"/>
                </a:lnTo>
                <a:lnTo>
                  <a:pt x="524" y="1350"/>
                </a:lnTo>
                <a:lnTo>
                  <a:pt x="466" y="1312"/>
                </a:lnTo>
                <a:lnTo>
                  <a:pt x="410" y="1272"/>
                </a:lnTo>
                <a:lnTo>
                  <a:pt x="354" y="1230"/>
                </a:lnTo>
                <a:lnTo>
                  <a:pt x="302" y="1184"/>
                </a:lnTo>
                <a:lnTo>
                  <a:pt x="302" y="1184"/>
                </a:lnTo>
                <a:lnTo>
                  <a:pt x="262" y="1144"/>
                </a:lnTo>
                <a:lnTo>
                  <a:pt x="224" y="1104"/>
                </a:lnTo>
                <a:lnTo>
                  <a:pt x="188" y="1062"/>
                </a:lnTo>
                <a:lnTo>
                  <a:pt x="158" y="1020"/>
                </a:lnTo>
                <a:lnTo>
                  <a:pt x="128" y="976"/>
                </a:lnTo>
                <a:lnTo>
                  <a:pt x="102" y="930"/>
                </a:lnTo>
                <a:lnTo>
                  <a:pt x="80" y="884"/>
                </a:lnTo>
                <a:lnTo>
                  <a:pt x="58" y="838"/>
                </a:lnTo>
                <a:lnTo>
                  <a:pt x="42" y="790"/>
                </a:lnTo>
                <a:lnTo>
                  <a:pt x="28" y="740"/>
                </a:lnTo>
                <a:lnTo>
                  <a:pt x="16" y="688"/>
                </a:lnTo>
                <a:lnTo>
                  <a:pt x="8" y="636"/>
                </a:lnTo>
                <a:lnTo>
                  <a:pt x="2" y="584"/>
                </a:lnTo>
                <a:lnTo>
                  <a:pt x="0" y="530"/>
                </a:lnTo>
                <a:lnTo>
                  <a:pt x="0" y="474"/>
                </a:lnTo>
                <a:lnTo>
                  <a:pt x="4" y="418"/>
                </a:lnTo>
                <a:lnTo>
                  <a:pt x="4" y="418"/>
                </a:lnTo>
                <a:lnTo>
                  <a:pt x="10" y="366"/>
                </a:lnTo>
                <a:lnTo>
                  <a:pt x="18" y="314"/>
                </a:lnTo>
                <a:lnTo>
                  <a:pt x="30" y="262"/>
                </a:lnTo>
                <a:lnTo>
                  <a:pt x="42" y="212"/>
                </a:lnTo>
                <a:lnTo>
                  <a:pt x="58" y="162"/>
                </a:lnTo>
                <a:lnTo>
                  <a:pt x="76" y="112"/>
                </a:lnTo>
                <a:lnTo>
                  <a:pt x="94" y="64"/>
                </a:lnTo>
                <a:lnTo>
                  <a:pt x="118" y="16"/>
                </a:lnTo>
                <a:lnTo>
                  <a:pt x="118" y="16"/>
                </a:lnTo>
                <a:lnTo>
                  <a:pt x="122" y="0"/>
                </a:lnTo>
                <a:lnTo>
                  <a:pt x="122" y="0"/>
                </a:ln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1" name="Title 1"/>
          <p:cNvSpPr>
            <a:spLocks noGrp="1"/>
          </p:cNvSpPr>
          <p:nvPr>
            <p:ph type="ctrTitle" hasCustomPrompt="1"/>
          </p:nvPr>
        </p:nvSpPr>
        <p:spPr>
          <a:xfrm>
            <a:off x="407988" y="1358153"/>
            <a:ext cx="4774258" cy="14751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defRPr lang="en-US" sz="2600" b="0" dirty="0">
                <a:solidFill>
                  <a:schemeClr val="accent1"/>
                </a:solidFill>
              </a:defRPr>
            </a:lvl1pPr>
          </a:lstStyle>
          <a:p>
            <a:pPr marL="0" lvl="0"/>
            <a:r>
              <a:rPr lang="en-US" dirty="0"/>
              <a:t>Click to insert title</a:t>
            </a:r>
          </a:p>
        </p:txBody>
      </p:sp>
      <p:sp>
        <p:nvSpPr>
          <p:cNvPr id="12" name="Subtitle 2"/>
          <p:cNvSpPr>
            <a:spLocks noGrp="1"/>
          </p:cNvSpPr>
          <p:nvPr>
            <p:ph type="subTitle" idx="1" hasCustomPrompt="1"/>
          </p:nvPr>
        </p:nvSpPr>
        <p:spPr>
          <a:xfrm>
            <a:off x="407988" y="2976180"/>
            <a:ext cx="4774257"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lang="en-US" sz="1600" dirty="0">
                <a:solidFill>
                  <a:schemeClr val="accent1"/>
                </a:solidFill>
              </a:defRPr>
            </a:lvl1pPr>
          </a:lstStyle>
          <a:p>
            <a:pPr marL="0" lvl="0"/>
            <a:r>
              <a:rPr lang="en-US" dirty="0"/>
              <a:t>Click to insert presenter, location, and date</a:t>
            </a:r>
          </a:p>
        </p:txBody>
      </p:sp>
      <p:grpSp>
        <p:nvGrpSpPr>
          <p:cNvPr id="13" name="Group 14"/>
          <p:cNvGrpSpPr>
            <a:grpSpLocks noChangeAspect="1"/>
          </p:cNvGrpSpPr>
          <p:nvPr userDrawn="1"/>
        </p:nvGrpSpPr>
        <p:grpSpPr>
          <a:xfrm>
            <a:off x="416888" y="4537346"/>
            <a:ext cx="5040000" cy="1123654"/>
            <a:chOff x="728663" y="4465638"/>
            <a:chExt cx="5354637" cy="1193801"/>
          </a:xfrm>
        </p:grpSpPr>
        <p:sp>
          <p:nvSpPr>
            <p:cNvPr id="14"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6"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7"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8"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9"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Tree>
    <p:extLst>
      <p:ext uri="{BB962C8B-B14F-4D97-AF65-F5344CB8AC3E}">
        <p14:creationId xmlns:p14="http://schemas.microsoft.com/office/powerpoint/2010/main" val="3919349655"/>
      </p:ext>
    </p:extLst>
  </p:cSld>
  <p:clrMapOvr>
    <a:masterClrMapping/>
  </p:clrMapOvr>
  <p:extLst mod="1">
    <p:ext uri="{DCECCB84-F9BA-43D5-87BE-67443E8EF086}">
      <p15:sldGuideLst xmlns:p15="http://schemas.microsoft.com/office/powerpoint/2012/main">
        <p15:guide id="1" orient="horz" pos="3339" userDrawn="1">
          <p15:clr>
            <a:srgbClr val="FBAE40"/>
          </p15:clr>
        </p15:guide>
        <p15:guide id="2" pos="257" userDrawn="1">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8842" name="think-cell Slide" r:id="rId4" imgW="270" imgH="270" progId="TCLayout.ActiveDocument.1">
                  <p:embed/>
                </p:oleObj>
              </mc:Choice>
              <mc:Fallback>
                <p:oleObj name="think-cell Slide" r:id="rId4" imgW="270" imgH="270" progId="TCLayout.ActiveDocument.1">
                  <p:embed/>
                  <p:pic>
                    <p:nvPicPr>
                      <p:cNvPr id="0" name="Picture 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a:spLocks/>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8"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9"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0"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bg1"/>
                </a:solidFill>
              </a:defRPr>
            </a:lvl1pPr>
          </a:lstStyle>
          <a:p>
            <a:r>
              <a:rPr lang="en-US" dirty="0"/>
              <a:t>Click to insert title</a:t>
            </a:r>
          </a:p>
        </p:txBody>
      </p:sp>
    </p:spTree>
    <p:extLst>
      <p:ext uri="{BB962C8B-B14F-4D97-AF65-F5344CB8AC3E}">
        <p14:creationId xmlns:p14="http://schemas.microsoft.com/office/powerpoint/2010/main" val="2291765487"/>
      </p:ext>
    </p:extLst>
  </p:cSld>
  <p:clrMapOvr>
    <a:masterClrMapping/>
  </p:clrMapOvr>
  <p:extLst mod="1">
    <p:ext uri="{DCECCB84-F9BA-43D5-87BE-67443E8EF086}">
      <p15:sldGuideLst xmlns:p15="http://schemas.microsoft.com/office/powerpoint/2012/main">
        <p15:guide id="1" orient="horz" pos="3339" userDrawn="1">
          <p15:clr>
            <a:srgbClr val="FBAE40"/>
          </p15:clr>
        </p15:guide>
        <p15:guide id="2" pos="257" userDrawn="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ubtitle and content 1">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pl-PL"/>
              <a:t>Kliknij, aby edytować styl</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pl-PL"/>
              <a:t>Edytuj style wzorca tekstu</a:t>
            </a:r>
          </a:p>
          <a:p>
            <a:pPr lvl="1"/>
            <a:r>
              <a:rPr lang="pl-PL"/>
              <a:t>Drugi poziom</a:t>
            </a:r>
          </a:p>
          <a:p>
            <a:pPr lvl="2"/>
            <a:r>
              <a:rPr lang="pl-PL"/>
              <a:t>Trzeci poziom</a:t>
            </a:r>
          </a:p>
          <a:p>
            <a:pPr lvl="3"/>
            <a:r>
              <a:rPr lang="pl-PL"/>
              <a:t>Czwarty poziom</a:t>
            </a:r>
          </a:p>
          <a:p>
            <a:pPr lvl="4"/>
            <a:r>
              <a:rPr lang="pl-PL"/>
              <a:t>Piąty poziom</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rgbClr val="E6E7E7"/>
        </a:solidFill>
        <a:effectLst/>
      </p:bgPr>
    </p:bg>
    <p:spTree>
      <p:nvGrpSpPr>
        <p:cNvPr id="1" name=""/>
        <p:cNvGrpSpPr/>
        <p:nvPr/>
      </p:nvGrpSpPr>
      <p:grpSpPr>
        <a:xfrm>
          <a:off x="0" y="0"/>
          <a:ext cx="0" cy="0"/>
          <a:chOff x="0" y="0"/>
          <a:chExt cx="0" cy="0"/>
        </a:xfrm>
      </p:grpSpPr>
      <p:graphicFrame>
        <p:nvGraphicFramePr>
          <p:cNvPr id="16" name="Object 15"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6792" name="think-cell Slide" r:id="rId4" imgW="270" imgH="270" progId="TCLayout.ActiveDocument.1">
                  <p:embed/>
                </p:oleObj>
              </mc:Choice>
              <mc:Fallback>
                <p:oleObj name="think-cell Slide" r:id="rId4" imgW="270" imgH="270" progId="TCLayout.ActiveDocument.1">
                  <p:embed/>
                  <p:pic>
                    <p:nvPicPr>
                      <p:cNvPr id="0"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246" name="Freeform 6"/>
          <p:cNvSpPr>
            <a:spLocks/>
          </p:cNvSpPr>
          <p:nvPr userDrawn="1"/>
        </p:nvSpPr>
        <p:spPr bwMode="auto">
          <a:xfrm>
            <a:off x="3771900" y="1847851"/>
            <a:ext cx="8420100" cy="5010150"/>
          </a:xfrm>
          <a:custGeom>
            <a:avLst/>
            <a:gdLst/>
            <a:ahLst/>
            <a:cxnLst>
              <a:cxn ang="0">
                <a:pos x="5302" y="3130"/>
              </a:cxn>
              <a:cxn ang="0">
                <a:pos x="5302" y="994"/>
              </a:cxn>
              <a:cxn ang="0">
                <a:pos x="5302" y="982"/>
              </a:cxn>
              <a:cxn ang="0">
                <a:pos x="5302" y="966"/>
              </a:cxn>
              <a:cxn ang="0">
                <a:pos x="5298" y="962"/>
              </a:cxn>
              <a:cxn ang="0">
                <a:pos x="5284" y="968"/>
              </a:cxn>
              <a:cxn ang="0">
                <a:pos x="5234" y="992"/>
              </a:cxn>
              <a:cxn ang="0">
                <a:pos x="5132" y="1030"/>
              </a:cxn>
              <a:cxn ang="0">
                <a:pos x="5080" y="1044"/>
              </a:cxn>
              <a:cxn ang="0">
                <a:pos x="4944" y="1076"/>
              </a:cxn>
              <a:cxn ang="0">
                <a:pos x="4806" y="1094"/>
              </a:cxn>
              <a:cxn ang="0">
                <a:pos x="4668" y="1104"/>
              </a:cxn>
              <a:cxn ang="0">
                <a:pos x="4528" y="1102"/>
              </a:cxn>
              <a:cxn ang="0">
                <a:pos x="4436" y="1098"/>
              </a:cxn>
              <a:cxn ang="0">
                <a:pos x="4254" y="1080"/>
              </a:cxn>
              <a:cxn ang="0">
                <a:pos x="4074" y="1054"/>
              </a:cxn>
              <a:cxn ang="0">
                <a:pos x="3894" y="1018"/>
              </a:cxn>
              <a:cxn ang="0">
                <a:pos x="3806" y="996"/>
              </a:cxn>
              <a:cxn ang="0">
                <a:pos x="3518" y="918"/>
              </a:cxn>
              <a:cxn ang="0">
                <a:pos x="3236" y="828"/>
              </a:cxn>
              <a:cxn ang="0">
                <a:pos x="2956" y="724"/>
              </a:cxn>
              <a:cxn ang="0">
                <a:pos x="2680" y="612"/>
              </a:cxn>
              <a:cxn ang="0">
                <a:pos x="2522" y="544"/>
              </a:cxn>
              <a:cxn ang="0">
                <a:pos x="2210" y="402"/>
              </a:cxn>
              <a:cxn ang="0">
                <a:pos x="1902" y="250"/>
              </a:cxn>
              <a:cxn ang="0">
                <a:pos x="1596" y="92"/>
              </a:cxn>
              <a:cxn ang="0">
                <a:pos x="1446" y="10"/>
              </a:cxn>
              <a:cxn ang="0">
                <a:pos x="1434" y="4"/>
              </a:cxn>
              <a:cxn ang="0">
                <a:pos x="1432" y="0"/>
              </a:cxn>
              <a:cxn ang="0">
                <a:pos x="1424" y="0"/>
              </a:cxn>
              <a:cxn ang="0">
                <a:pos x="1286" y="88"/>
              </a:cxn>
              <a:cxn ang="0">
                <a:pos x="1132" y="194"/>
              </a:cxn>
              <a:cxn ang="0">
                <a:pos x="982" y="304"/>
              </a:cxn>
              <a:cxn ang="0">
                <a:pos x="838" y="422"/>
              </a:cxn>
              <a:cxn ang="0">
                <a:pos x="702" y="548"/>
              </a:cxn>
              <a:cxn ang="0">
                <a:pos x="660" y="592"/>
              </a:cxn>
              <a:cxn ang="0">
                <a:pos x="578" y="678"/>
              </a:cxn>
              <a:cxn ang="0">
                <a:pos x="500" y="768"/>
              </a:cxn>
              <a:cxn ang="0">
                <a:pos x="428" y="862"/>
              </a:cxn>
              <a:cxn ang="0">
                <a:pos x="360" y="958"/>
              </a:cxn>
              <a:cxn ang="0">
                <a:pos x="296" y="1058"/>
              </a:cxn>
              <a:cxn ang="0">
                <a:pos x="240" y="1162"/>
              </a:cxn>
              <a:cxn ang="0">
                <a:pos x="188" y="1270"/>
              </a:cxn>
              <a:cxn ang="0">
                <a:pos x="164" y="1326"/>
              </a:cxn>
              <a:cxn ang="0">
                <a:pos x="114" y="1460"/>
              </a:cxn>
              <a:cxn ang="0">
                <a:pos x="72" y="1596"/>
              </a:cxn>
              <a:cxn ang="0">
                <a:pos x="42" y="1736"/>
              </a:cxn>
              <a:cxn ang="0">
                <a:pos x="18" y="1876"/>
              </a:cxn>
              <a:cxn ang="0">
                <a:pos x="10" y="1958"/>
              </a:cxn>
              <a:cxn ang="0">
                <a:pos x="4" y="2038"/>
              </a:cxn>
              <a:cxn ang="0">
                <a:pos x="2" y="2052"/>
              </a:cxn>
              <a:cxn ang="0">
                <a:pos x="0" y="2054"/>
              </a:cxn>
              <a:cxn ang="0">
                <a:pos x="0" y="2312"/>
              </a:cxn>
              <a:cxn ang="0">
                <a:pos x="6" y="2330"/>
              </a:cxn>
              <a:cxn ang="0">
                <a:pos x="6" y="2350"/>
              </a:cxn>
              <a:cxn ang="0">
                <a:pos x="26" y="2552"/>
              </a:cxn>
              <a:cxn ang="0">
                <a:pos x="56" y="2752"/>
              </a:cxn>
              <a:cxn ang="0">
                <a:pos x="100" y="2950"/>
              </a:cxn>
              <a:cxn ang="0">
                <a:pos x="150" y="3148"/>
              </a:cxn>
              <a:cxn ang="0">
                <a:pos x="154" y="3156"/>
              </a:cxn>
              <a:cxn ang="0">
                <a:pos x="5304" y="3156"/>
              </a:cxn>
              <a:cxn ang="0">
                <a:pos x="5302" y="3130"/>
              </a:cxn>
            </a:cxnLst>
            <a:rect l="0" t="0" r="r" b="b"/>
            <a:pathLst>
              <a:path w="5304" h="3156">
                <a:moveTo>
                  <a:pt x="5302" y="3130"/>
                </a:moveTo>
                <a:lnTo>
                  <a:pt x="5302" y="3130"/>
                </a:lnTo>
                <a:lnTo>
                  <a:pt x="5302" y="994"/>
                </a:lnTo>
                <a:lnTo>
                  <a:pt x="5302" y="994"/>
                </a:lnTo>
                <a:lnTo>
                  <a:pt x="5302" y="982"/>
                </a:lnTo>
                <a:lnTo>
                  <a:pt x="5302" y="982"/>
                </a:lnTo>
                <a:lnTo>
                  <a:pt x="5302" y="968"/>
                </a:lnTo>
                <a:lnTo>
                  <a:pt x="5302" y="966"/>
                </a:lnTo>
                <a:lnTo>
                  <a:pt x="5300" y="964"/>
                </a:lnTo>
                <a:lnTo>
                  <a:pt x="5298" y="962"/>
                </a:lnTo>
                <a:lnTo>
                  <a:pt x="5294" y="964"/>
                </a:lnTo>
                <a:lnTo>
                  <a:pt x="5284" y="968"/>
                </a:lnTo>
                <a:lnTo>
                  <a:pt x="5284" y="968"/>
                </a:lnTo>
                <a:lnTo>
                  <a:pt x="5234" y="992"/>
                </a:lnTo>
                <a:lnTo>
                  <a:pt x="5184" y="1012"/>
                </a:lnTo>
                <a:lnTo>
                  <a:pt x="5132" y="1030"/>
                </a:lnTo>
                <a:lnTo>
                  <a:pt x="5080" y="1044"/>
                </a:lnTo>
                <a:lnTo>
                  <a:pt x="5080" y="1044"/>
                </a:lnTo>
                <a:lnTo>
                  <a:pt x="5012" y="1062"/>
                </a:lnTo>
                <a:lnTo>
                  <a:pt x="4944" y="1076"/>
                </a:lnTo>
                <a:lnTo>
                  <a:pt x="4876" y="1086"/>
                </a:lnTo>
                <a:lnTo>
                  <a:pt x="4806" y="1094"/>
                </a:lnTo>
                <a:lnTo>
                  <a:pt x="4736" y="1100"/>
                </a:lnTo>
                <a:lnTo>
                  <a:pt x="4668" y="1104"/>
                </a:lnTo>
                <a:lnTo>
                  <a:pt x="4598" y="1104"/>
                </a:lnTo>
                <a:lnTo>
                  <a:pt x="4528" y="1102"/>
                </a:lnTo>
                <a:lnTo>
                  <a:pt x="4528" y="1102"/>
                </a:lnTo>
                <a:lnTo>
                  <a:pt x="4436" y="1098"/>
                </a:lnTo>
                <a:lnTo>
                  <a:pt x="4344" y="1090"/>
                </a:lnTo>
                <a:lnTo>
                  <a:pt x="4254" y="1080"/>
                </a:lnTo>
                <a:lnTo>
                  <a:pt x="4164" y="1068"/>
                </a:lnTo>
                <a:lnTo>
                  <a:pt x="4074" y="1054"/>
                </a:lnTo>
                <a:lnTo>
                  <a:pt x="3984" y="1036"/>
                </a:lnTo>
                <a:lnTo>
                  <a:pt x="3894" y="1018"/>
                </a:lnTo>
                <a:lnTo>
                  <a:pt x="3806" y="996"/>
                </a:lnTo>
                <a:lnTo>
                  <a:pt x="3806" y="996"/>
                </a:lnTo>
                <a:lnTo>
                  <a:pt x="3660" y="960"/>
                </a:lnTo>
                <a:lnTo>
                  <a:pt x="3518" y="918"/>
                </a:lnTo>
                <a:lnTo>
                  <a:pt x="3376" y="874"/>
                </a:lnTo>
                <a:lnTo>
                  <a:pt x="3236" y="828"/>
                </a:lnTo>
                <a:lnTo>
                  <a:pt x="3096" y="778"/>
                </a:lnTo>
                <a:lnTo>
                  <a:pt x="2956" y="724"/>
                </a:lnTo>
                <a:lnTo>
                  <a:pt x="2818" y="670"/>
                </a:lnTo>
                <a:lnTo>
                  <a:pt x="2680" y="612"/>
                </a:lnTo>
                <a:lnTo>
                  <a:pt x="2680" y="612"/>
                </a:lnTo>
                <a:lnTo>
                  <a:pt x="2522" y="544"/>
                </a:lnTo>
                <a:lnTo>
                  <a:pt x="2366" y="474"/>
                </a:lnTo>
                <a:lnTo>
                  <a:pt x="2210" y="402"/>
                </a:lnTo>
                <a:lnTo>
                  <a:pt x="2056" y="326"/>
                </a:lnTo>
                <a:lnTo>
                  <a:pt x="1902" y="250"/>
                </a:lnTo>
                <a:lnTo>
                  <a:pt x="1748" y="172"/>
                </a:lnTo>
                <a:lnTo>
                  <a:pt x="1596" y="92"/>
                </a:lnTo>
                <a:lnTo>
                  <a:pt x="1446" y="10"/>
                </a:lnTo>
                <a:lnTo>
                  <a:pt x="1446" y="10"/>
                </a:lnTo>
                <a:lnTo>
                  <a:pt x="1438" y="6"/>
                </a:lnTo>
                <a:lnTo>
                  <a:pt x="1434" y="4"/>
                </a:lnTo>
                <a:lnTo>
                  <a:pt x="1432" y="0"/>
                </a:lnTo>
                <a:lnTo>
                  <a:pt x="1432" y="0"/>
                </a:lnTo>
                <a:lnTo>
                  <a:pt x="1424" y="0"/>
                </a:lnTo>
                <a:lnTo>
                  <a:pt x="1424" y="0"/>
                </a:lnTo>
                <a:lnTo>
                  <a:pt x="1286" y="88"/>
                </a:lnTo>
                <a:lnTo>
                  <a:pt x="1286" y="88"/>
                </a:lnTo>
                <a:lnTo>
                  <a:pt x="1208" y="140"/>
                </a:lnTo>
                <a:lnTo>
                  <a:pt x="1132" y="194"/>
                </a:lnTo>
                <a:lnTo>
                  <a:pt x="1056" y="248"/>
                </a:lnTo>
                <a:lnTo>
                  <a:pt x="982" y="304"/>
                </a:lnTo>
                <a:lnTo>
                  <a:pt x="910" y="362"/>
                </a:lnTo>
                <a:lnTo>
                  <a:pt x="838" y="422"/>
                </a:lnTo>
                <a:lnTo>
                  <a:pt x="770" y="484"/>
                </a:lnTo>
                <a:lnTo>
                  <a:pt x="702" y="548"/>
                </a:lnTo>
                <a:lnTo>
                  <a:pt x="702" y="548"/>
                </a:lnTo>
                <a:lnTo>
                  <a:pt x="660" y="592"/>
                </a:lnTo>
                <a:lnTo>
                  <a:pt x="618" y="634"/>
                </a:lnTo>
                <a:lnTo>
                  <a:pt x="578" y="678"/>
                </a:lnTo>
                <a:lnTo>
                  <a:pt x="538" y="724"/>
                </a:lnTo>
                <a:lnTo>
                  <a:pt x="500" y="768"/>
                </a:lnTo>
                <a:lnTo>
                  <a:pt x="464" y="814"/>
                </a:lnTo>
                <a:lnTo>
                  <a:pt x="428" y="862"/>
                </a:lnTo>
                <a:lnTo>
                  <a:pt x="392" y="910"/>
                </a:lnTo>
                <a:lnTo>
                  <a:pt x="360" y="958"/>
                </a:lnTo>
                <a:lnTo>
                  <a:pt x="328" y="1008"/>
                </a:lnTo>
                <a:lnTo>
                  <a:pt x="296" y="1058"/>
                </a:lnTo>
                <a:lnTo>
                  <a:pt x="268" y="1110"/>
                </a:lnTo>
                <a:lnTo>
                  <a:pt x="240" y="1162"/>
                </a:lnTo>
                <a:lnTo>
                  <a:pt x="212" y="1216"/>
                </a:lnTo>
                <a:lnTo>
                  <a:pt x="188" y="1270"/>
                </a:lnTo>
                <a:lnTo>
                  <a:pt x="164" y="1326"/>
                </a:lnTo>
                <a:lnTo>
                  <a:pt x="164" y="1326"/>
                </a:lnTo>
                <a:lnTo>
                  <a:pt x="136" y="1392"/>
                </a:lnTo>
                <a:lnTo>
                  <a:pt x="114" y="1460"/>
                </a:lnTo>
                <a:lnTo>
                  <a:pt x="92" y="1528"/>
                </a:lnTo>
                <a:lnTo>
                  <a:pt x="72" y="1596"/>
                </a:lnTo>
                <a:lnTo>
                  <a:pt x="56" y="1666"/>
                </a:lnTo>
                <a:lnTo>
                  <a:pt x="42" y="1736"/>
                </a:lnTo>
                <a:lnTo>
                  <a:pt x="28" y="1806"/>
                </a:lnTo>
                <a:lnTo>
                  <a:pt x="18" y="1876"/>
                </a:lnTo>
                <a:lnTo>
                  <a:pt x="18" y="1876"/>
                </a:lnTo>
                <a:lnTo>
                  <a:pt x="10" y="1958"/>
                </a:lnTo>
                <a:lnTo>
                  <a:pt x="4" y="2038"/>
                </a:lnTo>
                <a:lnTo>
                  <a:pt x="4" y="2038"/>
                </a:lnTo>
                <a:lnTo>
                  <a:pt x="4" y="2048"/>
                </a:lnTo>
                <a:lnTo>
                  <a:pt x="2" y="2052"/>
                </a:lnTo>
                <a:lnTo>
                  <a:pt x="0" y="2054"/>
                </a:lnTo>
                <a:lnTo>
                  <a:pt x="0" y="2054"/>
                </a:lnTo>
                <a:lnTo>
                  <a:pt x="0" y="2312"/>
                </a:lnTo>
                <a:lnTo>
                  <a:pt x="0" y="2312"/>
                </a:lnTo>
                <a:lnTo>
                  <a:pt x="4" y="2320"/>
                </a:lnTo>
                <a:lnTo>
                  <a:pt x="6" y="2330"/>
                </a:lnTo>
                <a:lnTo>
                  <a:pt x="6" y="2350"/>
                </a:lnTo>
                <a:lnTo>
                  <a:pt x="6" y="2350"/>
                </a:lnTo>
                <a:lnTo>
                  <a:pt x="14" y="2452"/>
                </a:lnTo>
                <a:lnTo>
                  <a:pt x="26" y="2552"/>
                </a:lnTo>
                <a:lnTo>
                  <a:pt x="40" y="2652"/>
                </a:lnTo>
                <a:lnTo>
                  <a:pt x="56" y="2752"/>
                </a:lnTo>
                <a:lnTo>
                  <a:pt x="76" y="2852"/>
                </a:lnTo>
                <a:lnTo>
                  <a:pt x="100" y="2950"/>
                </a:lnTo>
                <a:lnTo>
                  <a:pt x="124" y="3050"/>
                </a:lnTo>
                <a:lnTo>
                  <a:pt x="150" y="3148"/>
                </a:lnTo>
                <a:lnTo>
                  <a:pt x="150" y="3148"/>
                </a:lnTo>
                <a:lnTo>
                  <a:pt x="154" y="3156"/>
                </a:lnTo>
                <a:lnTo>
                  <a:pt x="154" y="3156"/>
                </a:lnTo>
                <a:lnTo>
                  <a:pt x="5304" y="3156"/>
                </a:lnTo>
                <a:lnTo>
                  <a:pt x="5304" y="3156"/>
                </a:lnTo>
                <a:lnTo>
                  <a:pt x="5302" y="3130"/>
                </a:lnTo>
                <a:lnTo>
                  <a:pt x="5302" y="3130"/>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7" name="Title 1"/>
          <p:cNvSpPr>
            <a:spLocks noGrp="1"/>
          </p:cNvSpPr>
          <p:nvPr>
            <p:ph type="ctrTitle" hasCustomPrompt="1"/>
          </p:nvPr>
        </p:nvSpPr>
        <p:spPr>
          <a:xfrm>
            <a:off x="5016499" y="3644152"/>
            <a:ext cx="6899275" cy="14498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gn="l">
              <a:lnSpc>
                <a:spcPts val="3000"/>
              </a:lnSpc>
              <a:defRPr lang="en-US" sz="2600" b="0" dirty="0">
                <a:solidFill>
                  <a:schemeClr val="bg1"/>
                </a:solidFill>
              </a:defRPr>
            </a:lvl1pPr>
          </a:lstStyle>
          <a:p>
            <a:pPr marL="0" lvl="0"/>
            <a:r>
              <a:rPr lang="en-US" dirty="0"/>
              <a:t>Click to insert title</a:t>
            </a:r>
          </a:p>
        </p:txBody>
      </p:sp>
      <p:sp>
        <p:nvSpPr>
          <p:cNvPr id="8" name="Subtitle 2"/>
          <p:cNvSpPr>
            <a:spLocks noGrp="1"/>
          </p:cNvSpPr>
          <p:nvPr>
            <p:ph type="subTitle" idx="1" hasCustomPrompt="1"/>
          </p:nvPr>
        </p:nvSpPr>
        <p:spPr>
          <a:xfrm>
            <a:off x="5016499" y="5236923"/>
            <a:ext cx="6899275"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Click to insert presenter, location, and date</a:t>
            </a:r>
          </a:p>
        </p:txBody>
      </p:sp>
      <p:grpSp>
        <p:nvGrpSpPr>
          <p:cNvPr id="22" name="Group 14"/>
          <p:cNvGrpSpPr>
            <a:grpSpLocks noChangeAspect="1"/>
          </p:cNvGrpSpPr>
          <p:nvPr userDrawn="1"/>
        </p:nvGrpSpPr>
        <p:grpSpPr>
          <a:xfrm>
            <a:off x="407988" y="695702"/>
            <a:ext cx="5040000" cy="1123653"/>
            <a:chOff x="728663" y="4465638"/>
            <a:chExt cx="5354637" cy="1193800"/>
          </a:xfrm>
        </p:grpSpPr>
        <p:sp>
          <p:nvSpPr>
            <p:cNvPr id="23"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4" name="Freeform 12"/>
            <p:cNvSpPr>
              <a:spLocks noEditPoints="1"/>
            </p:cNvSpPr>
            <p:nvPr userDrawn="1"/>
          </p:nvSpPr>
          <p:spPr bwMode="auto">
            <a:xfrm>
              <a:off x="728663" y="4483100"/>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5"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6"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7"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Tree>
    <p:extLst>
      <p:ext uri="{BB962C8B-B14F-4D97-AF65-F5344CB8AC3E}">
        <p14:creationId xmlns:p14="http://schemas.microsoft.com/office/powerpoint/2010/main" val="2829680562"/>
      </p:ext>
    </p:extLst>
  </p:cSld>
  <p:clrMapOvr>
    <a:masterClrMapping/>
  </p:clrMapOvr>
  <p:extLst mod="1">
    <p:ext uri="{DCECCB84-F9BA-43D5-87BE-67443E8EF086}">
      <p15:sldGuideLst xmlns:p15="http://schemas.microsoft.com/office/powerpoint/2012/main">
        <p15:guide id="1" orient="horz" pos="935" userDrawn="1">
          <p15:clr>
            <a:srgbClr val="FBAE40"/>
          </p15:clr>
        </p15:guide>
        <p15:guide id="2" pos="257" userDrawn="1">
          <p15:clr>
            <a:srgbClr val="FBAE40"/>
          </p15:clr>
        </p15:guide>
        <p15:guide id="3" pos="3160" userDrawn="1">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Slide 4">
    <p:bg>
      <p:bgPr>
        <a:solidFill>
          <a:srgbClr val="E6E7E7"/>
        </a:solidFill>
        <a:effectLst/>
      </p:bgPr>
    </p:bg>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7815" name="think-cell Slide" r:id="rId4" imgW="270" imgH="270" progId="TCLayout.ActiveDocument.1">
                  <p:embed/>
                </p:oleObj>
              </mc:Choice>
              <mc:Fallback>
                <p:oleObj name="think-cell Slide" r:id="rId4" imgW="270" imgH="270" progId="TCLayout.ActiveDocument.1">
                  <p:embed/>
                  <p:pic>
                    <p:nvPicPr>
                      <p:cNvPr id="0"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1271" name="Freeform 7"/>
          <p:cNvSpPr>
            <a:spLocks/>
          </p:cNvSpPr>
          <p:nvPr userDrawn="1"/>
        </p:nvSpPr>
        <p:spPr bwMode="auto">
          <a:xfrm>
            <a:off x="5892403" y="1"/>
            <a:ext cx="6327776" cy="5670550"/>
          </a:xfrm>
          <a:custGeom>
            <a:avLst/>
            <a:gdLst/>
            <a:ahLst/>
            <a:cxnLst>
              <a:cxn ang="0">
                <a:pos x="3986" y="2526"/>
              </a:cxn>
              <a:cxn ang="0">
                <a:pos x="3986" y="2512"/>
              </a:cxn>
              <a:cxn ang="0">
                <a:pos x="3986" y="0"/>
              </a:cxn>
              <a:cxn ang="0">
                <a:pos x="648" y="0"/>
              </a:cxn>
              <a:cxn ang="0">
                <a:pos x="682" y="84"/>
              </a:cxn>
              <a:cxn ang="0">
                <a:pos x="698" y="132"/>
              </a:cxn>
              <a:cxn ang="0">
                <a:pos x="724" y="230"/>
              </a:cxn>
              <a:cxn ang="0">
                <a:pos x="738" y="328"/>
              </a:cxn>
              <a:cxn ang="0">
                <a:pos x="744" y="428"/>
              </a:cxn>
              <a:cxn ang="0">
                <a:pos x="744" y="478"/>
              </a:cxn>
              <a:cxn ang="0">
                <a:pos x="734" y="656"/>
              </a:cxn>
              <a:cxn ang="0">
                <a:pos x="710" y="830"/>
              </a:cxn>
              <a:cxn ang="0">
                <a:pos x="674" y="1002"/>
              </a:cxn>
              <a:cxn ang="0">
                <a:pos x="628" y="1172"/>
              </a:cxn>
              <a:cxn ang="0">
                <a:pos x="590" y="1296"/>
              </a:cxn>
              <a:cxn ang="0">
                <a:pos x="504" y="1542"/>
              </a:cxn>
              <a:cxn ang="0">
                <a:pos x="406" y="1782"/>
              </a:cxn>
              <a:cxn ang="0">
                <a:pos x="300" y="2020"/>
              </a:cxn>
              <a:cxn ang="0">
                <a:pos x="244" y="2136"/>
              </a:cxn>
              <a:cxn ang="0">
                <a:pos x="128" y="2366"/>
              </a:cxn>
              <a:cxn ang="0">
                <a:pos x="8" y="2594"/>
              </a:cxn>
              <a:cxn ang="0">
                <a:pos x="0" y="2608"/>
              </a:cxn>
              <a:cxn ang="0">
                <a:pos x="0" y="2612"/>
              </a:cxn>
              <a:cxn ang="0">
                <a:pos x="50" y="2690"/>
              </a:cxn>
              <a:cxn ang="0">
                <a:pos x="100" y="2766"/>
              </a:cxn>
              <a:cxn ang="0">
                <a:pos x="190" y="2890"/>
              </a:cxn>
              <a:cxn ang="0">
                <a:pos x="286" y="3006"/>
              </a:cxn>
              <a:cxn ang="0">
                <a:pos x="390" y="3116"/>
              </a:cxn>
              <a:cxn ang="0">
                <a:pos x="502" y="3220"/>
              </a:cxn>
              <a:cxn ang="0">
                <a:pos x="540" y="3252"/>
              </a:cxn>
              <a:cxn ang="0">
                <a:pos x="622" y="3312"/>
              </a:cxn>
              <a:cxn ang="0">
                <a:pos x="706" y="3366"/>
              </a:cxn>
              <a:cxn ang="0">
                <a:pos x="792" y="3414"/>
              </a:cxn>
              <a:cxn ang="0">
                <a:pos x="882" y="3456"/>
              </a:cxn>
              <a:cxn ang="0">
                <a:pos x="976" y="3492"/>
              </a:cxn>
              <a:cxn ang="0">
                <a:pos x="1070" y="3520"/>
              </a:cxn>
              <a:cxn ang="0">
                <a:pos x="1170" y="3542"/>
              </a:cxn>
              <a:cxn ang="0">
                <a:pos x="1220" y="3552"/>
              </a:cxn>
              <a:cxn ang="0">
                <a:pos x="1374" y="3568"/>
              </a:cxn>
              <a:cxn ang="0">
                <a:pos x="1382" y="3568"/>
              </a:cxn>
              <a:cxn ang="0">
                <a:pos x="1390" y="3572"/>
              </a:cxn>
              <a:cxn ang="0">
                <a:pos x="1420" y="3572"/>
              </a:cxn>
              <a:cxn ang="0">
                <a:pos x="1544" y="3572"/>
              </a:cxn>
              <a:cxn ang="0">
                <a:pos x="1544" y="3568"/>
              </a:cxn>
              <a:cxn ang="0">
                <a:pos x="1610" y="3564"/>
              </a:cxn>
              <a:cxn ang="0">
                <a:pos x="1740" y="3552"/>
              </a:cxn>
              <a:cxn ang="0">
                <a:pos x="1870" y="3530"/>
              </a:cxn>
              <a:cxn ang="0">
                <a:pos x="1998" y="3502"/>
              </a:cxn>
              <a:cxn ang="0">
                <a:pos x="2062" y="3486"/>
              </a:cxn>
              <a:cxn ang="0">
                <a:pos x="2262" y="3426"/>
              </a:cxn>
              <a:cxn ang="0">
                <a:pos x="2458" y="3356"/>
              </a:cxn>
              <a:cxn ang="0">
                <a:pos x="2650" y="3276"/>
              </a:cxn>
              <a:cxn ang="0">
                <a:pos x="2840" y="3190"/>
              </a:cxn>
              <a:cxn ang="0">
                <a:pos x="2966" y="3128"/>
              </a:cxn>
              <a:cxn ang="0">
                <a:pos x="3218" y="2996"/>
              </a:cxn>
              <a:cxn ang="0">
                <a:pos x="3464" y="2858"/>
              </a:cxn>
              <a:cxn ang="0">
                <a:pos x="3708" y="2714"/>
              </a:cxn>
              <a:cxn ang="0">
                <a:pos x="3828" y="2640"/>
              </a:cxn>
              <a:cxn ang="0">
                <a:pos x="3974" y="2548"/>
              </a:cxn>
              <a:cxn ang="0">
                <a:pos x="3984" y="2540"/>
              </a:cxn>
              <a:cxn ang="0">
                <a:pos x="3986" y="2526"/>
              </a:cxn>
            </a:cxnLst>
            <a:rect l="0" t="0" r="r" b="b"/>
            <a:pathLst>
              <a:path w="3986" h="3572">
                <a:moveTo>
                  <a:pt x="3986" y="2526"/>
                </a:moveTo>
                <a:lnTo>
                  <a:pt x="3986" y="2526"/>
                </a:lnTo>
                <a:lnTo>
                  <a:pt x="3986" y="2512"/>
                </a:lnTo>
                <a:lnTo>
                  <a:pt x="3986" y="2512"/>
                </a:lnTo>
                <a:lnTo>
                  <a:pt x="3986" y="0"/>
                </a:lnTo>
                <a:lnTo>
                  <a:pt x="3986" y="0"/>
                </a:lnTo>
                <a:lnTo>
                  <a:pt x="648" y="0"/>
                </a:lnTo>
                <a:lnTo>
                  <a:pt x="648" y="0"/>
                </a:lnTo>
                <a:lnTo>
                  <a:pt x="666" y="42"/>
                </a:lnTo>
                <a:lnTo>
                  <a:pt x="682" y="84"/>
                </a:lnTo>
                <a:lnTo>
                  <a:pt x="682" y="84"/>
                </a:lnTo>
                <a:lnTo>
                  <a:pt x="698" y="132"/>
                </a:lnTo>
                <a:lnTo>
                  <a:pt x="712" y="182"/>
                </a:lnTo>
                <a:lnTo>
                  <a:pt x="724" y="230"/>
                </a:lnTo>
                <a:lnTo>
                  <a:pt x="732" y="280"/>
                </a:lnTo>
                <a:lnTo>
                  <a:pt x="738" y="328"/>
                </a:lnTo>
                <a:lnTo>
                  <a:pt x="742" y="378"/>
                </a:lnTo>
                <a:lnTo>
                  <a:pt x="744" y="428"/>
                </a:lnTo>
                <a:lnTo>
                  <a:pt x="744" y="478"/>
                </a:lnTo>
                <a:lnTo>
                  <a:pt x="744" y="478"/>
                </a:lnTo>
                <a:lnTo>
                  <a:pt x="742" y="568"/>
                </a:lnTo>
                <a:lnTo>
                  <a:pt x="734" y="656"/>
                </a:lnTo>
                <a:lnTo>
                  <a:pt x="724" y="742"/>
                </a:lnTo>
                <a:lnTo>
                  <a:pt x="710" y="830"/>
                </a:lnTo>
                <a:lnTo>
                  <a:pt x="694" y="916"/>
                </a:lnTo>
                <a:lnTo>
                  <a:pt x="674" y="1002"/>
                </a:lnTo>
                <a:lnTo>
                  <a:pt x="652" y="1088"/>
                </a:lnTo>
                <a:lnTo>
                  <a:pt x="628" y="1172"/>
                </a:lnTo>
                <a:lnTo>
                  <a:pt x="628" y="1172"/>
                </a:lnTo>
                <a:lnTo>
                  <a:pt x="590" y="1296"/>
                </a:lnTo>
                <a:lnTo>
                  <a:pt x="548" y="1420"/>
                </a:lnTo>
                <a:lnTo>
                  <a:pt x="504" y="1542"/>
                </a:lnTo>
                <a:lnTo>
                  <a:pt x="456" y="1662"/>
                </a:lnTo>
                <a:lnTo>
                  <a:pt x="406" y="1782"/>
                </a:lnTo>
                <a:lnTo>
                  <a:pt x="354" y="1900"/>
                </a:lnTo>
                <a:lnTo>
                  <a:pt x="300" y="2020"/>
                </a:lnTo>
                <a:lnTo>
                  <a:pt x="244" y="2136"/>
                </a:lnTo>
                <a:lnTo>
                  <a:pt x="244" y="2136"/>
                </a:lnTo>
                <a:lnTo>
                  <a:pt x="188" y="2252"/>
                </a:lnTo>
                <a:lnTo>
                  <a:pt x="128" y="2366"/>
                </a:lnTo>
                <a:lnTo>
                  <a:pt x="70" y="2480"/>
                </a:lnTo>
                <a:lnTo>
                  <a:pt x="8" y="2594"/>
                </a:lnTo>
                <a:lnTo>
                  <a:pt x="8" y="2594"/>
                </a:lnTo>
                <a:lnTo>
                  <a:pt x="0" y="2608"/>
                </a:lnTo>
                <a:lnTo>
                  <a:pt x="0" y="2608"/>
                </a:lnTo>
                <a:lnTo>
                  <a:pt x="0" y="2612"/>
                </a:lnTo>
                <a:lnTo>
                  <a:pt x="0" y="2612"/>
                </a:lnTo>
                <a:lnTo>
                  <a:pt x="50" y="2690"/>
                </a:lnTo>
                <a:lnTo>
                  <a:pt x="100" y="2766"/>
                </a:lnTo>
                <a:lnTo>
                  <a:pt x="100" y="2766"/>
                </a:lnTo>
                <a:lnTo>
                  <a:pt x="144" y="2828"/>
                </a:lnTo>
                <a:lnTo>
                  <a:pt x="190" y="2890"/>
                </a:lnTo>
                <a:lnTo>
                  <a:pt x="236" y="2948"/>
                </a:lnTo>
                <a:lnTo>
                  <a:pt x="286" y="3006"/>
                </a:lnTo>
                <a:lnTo>
                  <a:pt x="336" y="3062"/>
                </a:lnTo>
                <a:lnTo>
                  <a:pt x="390" y="3116"/>
                </a:lnTo>
                <a:lnTo>
                  <a:pt x="444" y="3170"/>
                </a:lnTo>
                <a:lnTo>
                  <a:pt x="502" y="3220"/>
                </a:lnTo>
                <a:lnTo>
                  <a:pt x="502" y="3220"/>
                </a:lnTo>
                <a:lnTo>
                  <a:pt x="540" y="3252"/>
                </a:lnTo>
                <a:lnTo>
                  <a:pt x="582" y="3282"/>
                </a:lnTo>
                <a:lnTo>
                  <a:pt x="622" y="3312"/>
                </a:lnTo>
                <a:lnTo>
                  <a:pt x="664" y="3340"/>
                </a:lnTo>
                <a:lnTo>
                  <a:pt x="706" y="3366"/>
                </a:lnTo>
                <a:lnTo>
                  <a:pt x="750" y="3390"/>
                </a:lnTo>
                <a:lnTo>
                  <a:pt x="792" y="3414"/>
                </a:lnTo>
                <a:lnTo>
                  <a:pt x="838" y="3436"/>
                </a:lnTo>
                <a:lnTo>
                  <a:pt x="882" y="3456"/>
                </a:lnTo>
                <a:lnTo>
                  <a:pt x="928" y="3474"/>
                </a:lnTo>
                <a:lnTo>
                  <a:pt x="976" y="3492"/>
                </a:lnTo>
                <a:lnTo>
                  <a:pt x="1022" y="3506"/>
                </a:lnTo>
                <a:lnTo>
                  <a:pt x="1070" y="3520"/>
                </a:lnTo>
                <a:lnTo>
                  <a:pt x="1120" y="3532"/>
                </a:lnTo>
                <a:lnTo>
                  <a:pt x="1170" y="3542"/>
                </a:lnTo>
                <a:lnTo>
                  <a:pt x="1220" y="3552"/>
                </a:lnTo>
                <a:lnTo>
                  <a:pt x="1220" y="3552"/>
                </a:lnTo>
                <a:lnTo>
                  <a:pt x="1296" y="3562"/>
                </a:lnTo>
                <a:lnTo>
                  <a:pt x="1374" y="3568"/>
                </a:lnTo>
                <a:lnTo>
                  <a:pt x="1374" y="3568"/>
                </a:lnTo>
                <a:lnTo>
                  <a:pt x="1382" y="3568"/>
                </a:lnTo>
                <a:lnTo>
                  <a:pt x="1386" y="3568"/>
                </a:lnTo>
                <a:lnTo>
                  <a:pt x="1390" y="3572"/>
                </a:lnTo>
                <a:lnTo>
                  <a:pt x="1390" y="3572"/>
                </a:lnTo>
                <a:lnTo>
                  <a:pt x="1420" y="3572"/>
                </a:lnTo>
                <a:lnTo>
                  <a:pt x="1420" y="3572"/>
                </a:lnTo>
                <a:lnTo>
                  <a:pt x="1544" y="3572"/>
                </a:lnTo>
                <a:lnTo>
                  <a:pt x="1544" y="3572"/>
                </a:lnTo>
                <a:lnTo>
                  <a:pt x="1544" y="3568"/>
                </a:lnTo>
                <a:lnTo>
                  <a:pt x="1544" y="3568"/>
                </a:lnTo>
                <a:lnTo>
                  <a:pt x="1610" y="3564"/>
                </a:lnTo>
                <a:lnTo>
                  <a:pt x="1676" y="3558"/>
                </a:lnTo>
                <a:lnTo>
                  <a:pt x="1740" y="3552"/>
                </a:lnTo>
                <a:lnTo>
                  <a:pt x="1806" y="3542"/>
                </a:lnTo>
                <a:lnTo>
                  <a:pt x="1870" y="3530"/>
                </a:lnTo>
                <a:lnTo>
                  <a:pt x="1934" y="3516"/>
                </a:lnTo>
                <a:lnTo>
                  <a:pt x="1998" y="3502"/>
                </a:lnTo>
                <a:lnTo>
                  <a:pt x="2062" y="3486"/>
                </a:lnTo>
                <a:lnTo>
                  <a:pt x="2062" y="3486"/>
                </a:lnTo>
                <a:lnTo>
                  <a:pt x="2162" y="3458"/>
                </a:lnTo>
                <a:lnTo>
                  <a:pt x="2262" y="3426"/>
                </a:lnTo>
                <a:lnTo>
                  <a:pt x="2360" y="3392"/>
                </a:lnTo>
                <a:lnTo>
                  <a:pt x="2458" y="3356"/>
                </a:lnTo>
                <a:lnTo>
                  <a:pt x="2554" y="3316"/>
                </a:lnTo>
                <a:lnTo>
                  <a:pt x="2650" y="3276"/>
                </a:lnTo>
                <a:lnTo>
                  <a:pt x="2746" y="3234"/>
                </a:lnTo>
                <a:lnTo>
                  <a:pt x="2840" y="3190"/>
                </a:lnTo>
                <a:lnTo>
                  <a:pt x="2840" y="3190"/>
                </a:lnTo>
                <a:lnTo>
                  <a:pt x="2966" y="3128"/>
                </a:lnTo>
                <a:lnTo>
                  <a:pt x="3092" y="3062"/>
                </a:lnTo>
                <a:lnTo>
                  <a:pt x="3218" y="2996"/>
                </a:lnTo>
                <a:lnTo>
                  <a:pt x="3342" y="2928"/>
                </a:lnTo>
                <a:lnTo>
                  <a:pt x="3464" y="2858"/>
                </a:lnTo>
                <a:lnTo>
                  <a:pt x="3586" y="2786"/>
                </a:lnTo>
                <a:lnTo>
                  <a:pt x="3708" y="2714"/>
                </a:lnTo>
                <a:lnTo>
                  <a:pt x="3828" y="2640"/>
                </a:lnTo>
                <a:lnTo>
                  <a:pt x="3828" y="2640"/>
                </a:lnTo>
                <a:lnTo>
                  <a:pt x="3974" y="2548"/>
                </a:lnTo>
                <a:lnTo>
                  <a:pt x="3974" y="2548"/>
                </a:lnTo>
                <a:lnTo>
                  <a:pt x="3980" y="2544"/>
                </a:lnTo>
                <a:lnTo>
                  <a:pt x="3984" y="2540"/>
                </a:lnTo>
                <a:lnTo>
                  <a:pt x="3986" y="2534"/>
                </a:lnTo>
                <a:lnTo>
                  <a:pt x="3986" y="2526"/>
                </a:lnTo>
                <a:lnTo>
                  <a:pt x="3986" y="2526"/>
                </a:ln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7" name="Title 1"/>
          <p:cNvSpPr>
            <a:spLocks noGrp="1"/>
          </p:cNvSpPr>
          <p:nvPr>
            <p:ph type="ctrTitle" hasCustomPrompt="1"/>
          </p:nvPr>
        </p:nvSpPr>
        <p:spPr>
          <a:xfrm>
            <a:off x="407988" y="2339788"/>
            <a:ext cx="4967932" cy="14498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3000"/>
              </a:lnSpc>
              <a:defRPr lang="en-US" sz="2600" b="0" dirty="0">
                <a:solidFill>
                  <a:schemeClr val="accent1"/>
                </a:solidFill>
              </a:defRPr>
            </a:lvl1pPr>
          </a:lstStyle>
          <a:p>
            <a:pPr marL="0" lvl="0"/>
            <a:r>
              <a:rPr lang="en-US" dirty="0"/>
              <a:t>Click to insert title</a:t>
            </a:r>
          </a:p>
        </p:txBody>
      </p:sp>
      <p:sp>
        <p:nvSpPr>
          <p:cNvPr id="8" name="Subtitle 2"/>
          <p:cNvSpPr>
            <a:spLocks noGrp="1"/>
          </p:cNvSpPr>
          <p:nvPr>
            <p:ph type="subTitle" idx="1" hasCustomPrompt="1"/>
          </p:nvPr>
        </p:nvSpPr>
        <p:spPr>
          <a:xfrm>
            <a:off x="407988" y="3932559"/>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accent1"/>
                </a:solidFill>
              </a:defRPr>
            </a:lvl1pPr>
          </a:lstStyle>
          <a:p>
            <a:pPr marL="0" lvl="0"/>
            <a:r>
              <a:rPr lang="en-US" dirty="0"/>
              <a:t>Click to insert presenter, location, and date</a:t>
            </a:r>
          </a:p>
        </p:txBody>
      </p:sp>
      <p:sp>
        <p:nvSpPr>
          <p:cNvPr id="16" name="Picture Placeholder 11">
            <a:extLst>
              <a:ext uri="{FF2B5EF4-FFF2-40B4-BE49-F238E27FC236}">
                <a16:creationId xmlns:a16="http://schemas.microsoft.com/office/drawing/2014/main" id="{D4E263B9-5E55-409E-9F7C-2F67A89E06AA}"/>
              </a:ext>
            </a:extLst>
          </p:cNvPr>
          <p:cNvSpPr>
            <a:spLocks noGrp="1"/>
          </p:cNvSpPr>
          <p:nvPr>
            <p:ph type="pic" sz="quarter" idx="10"/>
          </p:nvPr>
        </p:nvSpPr>
        <p:spPr>
          <a:xfrm>
            <a:off x="5537200" y="-1588"/>
            <a:ext cx="6654800" cy="6859588"/>
          </a:xfrm>
          <a:prstGeom prst="rect">
            <a:avLst/>
          </a:prstGeom>
        </p:spPr>
        <p:txBody>
          <a:bodyPr anchor="ctr"/>
          <a:lstStyle>
            <a:lvl1pPr marL="0" indent="0" algn="ctr">
              <a:buNone/>
              <a:defRPr/>
            </a:lvl1pPr>
          </a:lstStyle>
          <a:p>
            <a:r>
              <a:rPr lang="fr-FR"/>
              <a:t>Cliquez sur l'icône pour ajouter une image</a:t>
            </a:r>
            <a:endParaRPr lang="pt-PT"/>
          </a:p>
        </p:txBody>
      </p:sp>
      <p:grpSp>
        <p:nvGrpSpPr>
          <p:cNvPr id="17" name="Group 14"/>
          <p:cNvGrpSpPr>
            <a:grpSpLocks noChangeAspect="1"/>
          </p:cNvGrpSpPr>
          <p:nvPr userDrawn="1"/>
        </p:nvGrpSpPr>
        <p:grpSpPr>
          <a:xfrm>
            <a:off x="407988" y="695702"/>
            <a:ext cx="5040000" cy="1123653"/>
            <a:chOff x="728663" y="4465638"/>
            <a:chExt cx="5354637" cy="1193800"/>
          </a:xfrm>
        </p:grpSpPr>
        <p:sp>
          <p:nvSpPr>
            <p:cNvPr id="18"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9" name="Freeform 12"/>
            <p:cNvSpPr>
              <a:spLocks noEditPoints="1"/>
            </p:cNvSpPr>
            <p:nvPr userDrawn="1"/>
          </p:nvSpPr>
          <p:spPr bwMode="auto">
            <a:xfrm>
              <a:off x="728663" y="4483100"/>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0"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1"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2"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Tree>
    <p:extLst>
      <p:ext uri="{BB962C8B-B14F-4D97-AF65-F5344CB8AC3E}">
        <p14:creationId xmlns:p14="http://schemas.microsoft.com/office/powerpoint/2010/main" val="4040528548"/>
      </p:ext>
    </p:extLst>
  </p:cSld>
  <p:clrMapOvr>
    <a:masterClrMapping/>
  </p:clrMapOvr>
  <p:extLst mod="1">
    <p:ext uri="{DCECCB84-F9BA-43D5-87BE-67443E8EF086}">
      <p15:sldGuideLst xmlns:p15="http://schemas.microsoft.com/office/powerpoint/2012/main">
        <p15:guide id="1" pos="257" userDrawn="1">
          <p15:clr>
            <a:srgbClr val="FBAE40"/>
          </p15:clr>
        </p15:guide>
        <p15:guide id="2" orient="horz" pos="935" userDrawn="1">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Final Slide 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Freeform: Shape 4">
            <a:extLst>
              <a:ext uri="{FF2B5EF4-FFF2-40B4-BE49-F238E27FC236}">
                <a16:creationId xmlns:a16="http://schemas.microsoft.com/office/drawing/2014/main" id="{AEFD73FD-4310-4FE6-83F6-4ADDF1642E27}"/>
              </a:ext>
            </a:extLst>
          </p:cNvPr>
          <p:cNvSpPr>
            <a:spLocks/>
          </p:cNvSpPr>
          <p:nvPr userDrawn="1"/>
        </p:nvSpPr>
        <p:spPr bwMode="auto">
          <a:xfrm>
            <a:off x="1" y="0"/>
            <a:ext cx="5942703" cy="6858000"/>
          </a:xfrm>
          <a:custGeom>
            <a:avLst/>
            <a:gdLst>
              <a:gd name="connsiteX0" fmla="*/ 0 w 5942703"/>
              <a:gd name="connsiteY0" fmla="*/ 0 h 6858000"/>
              <a:gd name="connsiteX1" fmla="*/ 1934854 w 5942703"/>
              <a:gd name="connsiteY1" fmla="*/ 0 h 6858000"/>
              <a:gd name="connsiteX2" fmla="*/ 2016936 w 5942703"/>
              <a:gd name="connsiteY2" fmla="*/ 210681 h 6858000"/>
              <a:gd name="connsiteX3" fmla="*/ 5381513 w 5942703"/>
              <a:gd name="connsiteY3" fmla="*/ 2418544 h 6858000"/>
              <a:gd name="connsiteX4" fmla="*/ 3933862 w 5942703"/>
              <a:gd name="connsiteY4" fmla="*/ 6759409 h 6858000"/>
              <a:gd name="connsiteX5" fmla="*/ 3795861 w 5942703"/>
              <a:gd name="connsiteY5" fmla="*/ 6858000 h 6858000"/>
              <a:gd name="connsiteX6" fmla="*/ 0 w 5942703"/>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42703" h="6858000">
                <a:moveTo>
                  <a:pt x="0" y="0"/>
                </a:moveTo>
                <a:lnTo>
                  <a:pt x="1934854" y="0"/>
                </a:lnTo>
                <a:lnTo>
                  <a:pt x="2016936" y="210681"/>
                </a:lnTo>
                <a:cubicBezTo>
                  <a:pt x="3206701" y="3025068"/>
                  <a:pt x="5838311" y="3712297"/>
                  <a:pt x="5381513" y="2418544"/>
                </a:cubicBezTo>
                <a:cubicBezTo>
                  <a:pt x="6119798" y="2697936"/>
                  <a:pt x="6539698" y="4845048"/>
                  <a:pt x="3933862" y="6759409"/>
                </a:cubicBezTo>
                <a:lnTo>
                  <a:pt x="3795861" y="6858000"/>
                </a:lnTo>
                <a:lnTo>
                  <a:pt x="0" y="6858000"/>
                </a:lnTo>
                <a:close/>
              </a:path>
            </a:pathLst>
          </a:custGeom>
          <a:solidFill>
            <a:srgbClr val="300B48"/>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grpSp>
        <p:nvGrpSpPr>
          <p:cNvPr id="2" name="Group 5">
            <a:extLst>
              <a:ext uri="{FF2B5EF4-FFF2-40B4-BE49-F238E27FC236}">
                <a16:creationId xmlns:a16="http://schemas.microsoft.com/office/drawing/2014/main" id="{D1D61DEE-13C9-4E34-97DE-432882EEB993}"/>
              </a:ext>
            </a:extLst>
          </p:cNvPr>
          <p:cNvGrpSpPr/>
          <p:nvPr userDrawn="1"/>
        </p:nvGrpSpPr>
        <p:grpSpPr>
          <a:xfrm>
            <a:off x="4979035" y="2404110"/>
            <a:ext cx="735013" cy="682321"/>
            <a:chOff x="5662614" y="3032124"/>
            <a:chExt cx="863600" cy="801689"/>
          </a:xfrm>
        </p:grpSpPr>
        <p:sp>
          <p:nvSpPr>
            <p:cNvPr id="30" name="Freeform 9">
              <a:extLst>
                <a:ext uri="{FF2B5EF4-FFF2-40B4-BE49-F238E27FC236}">
                  <a16:creationId xmlns:a16="http://schemas.microsoft.com/office/drawing/2014/main" id="{CA8EB9FD-9EF8-467D-92C6-8B7B687106BA}"/>
                </a:ext>
              </a:extLst>
            </p:cNvPr>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 name="Freeform 12">
              <a:extLst>
                <a:ext uri="{FF2B5EF4-FFF2-40B4-BE49-F238E27FC236}">
                  <a16:creationId xmlns:a16="http://schemas.microsoft.com/office/drawing/2014/main" id="{ED2560F6-388B-43F0-89C8-492914F4382E}"/>
                </a:ext>
              </a:extLst>
            </p:cNvPr>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4" name="Rectangle 13"/>
          <p:cNvSpPr/>
          <p:nvPr userDrawn="1"/>
        </p:nvSpPr>
        <p:spPr>
          <a:xfrm>
            <a:off x="6536184" y="2886346"/>
            <a:ext cx="4899531"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7 global revenues of EUR 12.8 billion.</a:t>
            </a:r>
          </a:p>
        </p:txBody>
      </p:sp>
      <p:sp>
        <p:nvSpPr>
          <p:cNvPr id="15" name="Rectangle 14"/>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16" name="Rectangle 15"/>
          <p:cNvSpPr/>
          <p:nvPr userDrawn="1"/>
        </p:nvSpPr>
        <p:spPr>
          <a:xfrm>
            <a:off x="6536184" y="423582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Learn more about us at</a:t>
            </a:r>
          </a:p>
          <a:p>
            <a:pPr algn="just">
              <a:lnSpc>
                <a:spcPts val="1200"/>
              </a:lnSpc>
            </a:pPr>
            <a:r>
              <a:rPr lang="en-US" sz="1400" dirty="0">
                <a:solidFill>
                  <a:schemeClr val="accent2"/>
                </a:solidFill>
              </a:rPr>
              <a:t>www.capgemini.com</a:t>
            </a:r>
          </a:p>
        </p:txBody>
      </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810097"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93474"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76851"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60227"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26720" y="3979258"/>
            <a:ext cx="333195" cy="333195"/>
          </a:xfrm>
          <a:prstGeom prst="rect">
            <a:avLst/>
          </a:prstGeom>
          <a:noFill/>
        </p:spPr>
      </p:pic>
      <p:sp>
        <p:nvSpPr>
          <p:cNvPr id="23" name="Rectangle 22"/>
          <p:cNvSpPr/>
          <p:nvPr userDrawn="1"/>
        </p:nvSpPr>
        <p:spPr>
          <a:xfrm>
            <a:off x="426720" y="5764024"/>
            <a:ext cx="4013280" cy="446276"/>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presentation contains information that may be privileged or confidential and is the property of the Capgemini Group.</a:t>
            </a:r>
          </a:p>
          <a:p>
            <a:pPr>
              <a:spcAft>
                <a:spcPts val="600"/>
              </a:spcAft>
            </a:pPr>
            <a:r>
              <a:rPr lang="en-US" sz="800" noProof="0" dirty="0">
                <a:solidFill>
                  <a:schemeClr val="bg1"/>
                </a:solidFill>
                <a:latin typeface="Arial"/>
                <a:cs typeface="Arial"/>
              </a:rPr>
              <a:t>Copyright © 2019 Capgemini. All rights reserved.</a:t>
            </a:r>
          </a:p>
        </p:txBody>
      </p:sp>
      <p:sp>
        <p:nvSpPr>
          <p:cNvPr id="25" name="Rectangle 24">
            <a:hlinkClick r:id="rId12"/>
          </p:cNvPr>
          <p:cNvSpPr/>
          <p:nvPr userDrawn="1"/>
        </p:nvSpPr>
        <p:spPr>
          <a:xfrm>
            <a:off x="7489902" y="3812094"/>
            <a:ext cx="233608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6" name="Rectangle 25">
            <a:hlinkClick r:id="rId13"/>
          </p:cNvPr>
          <p:cNvSpPr/>
          <p:nvPr userDrawn="1"/>
        </p:nvSpPr>
        <p:spPr>
          <a:xfrm>
            <a:off x="10730865" y="3812094"/>
            <a:ext cx="704850"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nvGrpSpPr>
          <p:cNvPr id="27" name="Groupe 26"/>
          <p:cNvGrpSpPr>
            <a:grpSpLocks noChangeAspect="1"/>
          </p:cNvGrpSpPr>
          <p:nvPr userDrawn="1"/>
        </p:nvGrpSpPr>
        <p:grpSpPr>
          <a:xfrm>
            <a:off x="444000" y="4471814"/>
            <a:ext cx="2340000" cy="181186"/>
            <a:chOff x="401412" y="4886021"/>
            <a:chExt cx="7483476" cy="579438"/>
          </a:xfrm>
          <a:solidFill>
            <a:schemeClr val="bg1"/>
          </a:solidFill>
        </p:grpSpPr>
        <p:sp>
          <p:nvSpPr>
            <p:cNvPr id="28" name="Freeform 5"/>
            <p:cNvSpPr>
              <a:spLocks noEditPoints="1"/>
            </p:cNvSpPr>
            <p:nvPr userDrawn="1"/>
          </p:nvSpPr>
          <p:spPr bwMode="auto">
            <a:xfrm>
              <a:off x="401412" y="4930471"/>
              <a:ext cx="293688" cy="422275"/>
            </a:xfrm>
            <a:custGeom>
              <a:avLst/>
              <a:gdLst>
                <a:gd name="T0" fmla="*/ 18 w 48"/>
                <a:gd name="T1" fmla="*/ 0 h 67"/>
                <a:gd name="T2" fmla="*/ 41 w 48"/>
                <a:gd name="T3" fmla="*/ 5 h 67"/>
                <a:gd name="T4" fmla="*/ 48 w 48"/>
                <a:gd name="T5" fmla="*/ 22 h 67"/>
                <a:gd name="T6" fmla="*/ 46 w 48"/>
                <a:gd name="T7" fmla="*/ 32 h 67"/>
                <a:gd name="T8" fmla="*/ 40 w 48"/>
                <a:gd name="T9" fmla="*/ 39 h 67"/>
                <a:gd name="T10" fmla="*/ 31 w 48"/>
                <a:gd name="T11" fmla="*/ 43 h 67"/>
                <a:gd name="T12" fmla="*/ 18 w 48"/>
                <a:gd name="T13" fmla="*/ 44 h 67"/>
                <a:gd name="T14" fmla="*/ 12 w 48"/>
                <a:gd name="T15" fmla="*/ 44 h 67"/>
                <a:gd name="T16" fmla="*/ 12 w 48"/>
                <a:gd name="T17" fmla="*/ 67 h 67"/>
                <a:gd name="T18" fmla="*/ 0 w 48"/>
                <a:gd name="T19" fmla="*/ 67 h 67"/>
                <a:gd name="T20" fmla="*/ 0 w 48"/>
                <a:gd name="T21" fmla="*/ 2 h 67"/>
                <a:gd name="T22" fmla="*/ 9 w 48"/>
                <a:gd name="T23" fmla="*/ 1 h 67"/>
                <a:gd name="T24" fmla="*/ 18 w 48"/>
                <a:gd name="T25" fmla="*/ 0 h 67"/>
                <a:gd name="T26" fmla="*/ 19 w 48"/>
                <a:gd name="T27" fmla="*/ 11 h 67"/>
                <a:gd name="T28" fmla="*/ 12 w 48"/>
                <a:gd name="T29" fmla="*/ 11 h 67"/>
                <a:gd name="T30" fmla="*/ 12 w 48"/>
                <a:gd name="T31" fmla="*/ 34 h 67"/>
                <a:gd name="T32" fmla="*/ 18 w 48"/>
                <a:gd name="T33" fmla="*/ 34 h 67"/>
                <a:gd name="T34" fmla="*/ 31 w 48"/>
                <a:gd name="T35" fmla="*/ 31 h 67"/>
                <a:gd name="T36" fmla="*/ 36 w 48"/>
                <a:gd name="T37" fmla="*/ 22 h 67"/>
                <a:gd name="T38" fmla="*/ 35 w 48"/>
                <a:gd name="T39" fmla="*/ 16 h 67"/>
                <a:gd name="T40" fmla="*/ 31 w 48"/>
                <a:gd name="T41" fmla="*/ 13 h 67"/>
                <a:gd name="T42" fmla="*/ 26 w 48"/>
                <a:gd name="T43" fmla="*/ 11 h 67"/>
                <a:gd name="T44" fmla="*/ 19 w 48"/>
                <a:gd name="T45" fmla="*/ 11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8" h="67">
                  <a:moveTo>
                    <a:pt x="18" y="0"/>
                  </a:moveTo>
                  <a:cubicBezTo>
                    <a:pt x="28" y="0"/>
                    <a:pt x="36" y="2"/>
                    <a:pt x="41" y="5"/>
                  </a:cubicBezTo>
                  <a:cubicBezTo>
                    <a:pt x="46" y="9"/>
                    <a:pt x="48" y="14"/>
                    <a:pt x="48" y="22"/>
                  </a:cubicBezTo>
                  <a:cubicBezTo>
                    <a:pt x="48" y="26"/>
                    <a:pt x="48" y="29"/>
                    <a:pt x="46" y="32"/>
                  </a:cubicBezTo>
                  <a:cubicBezTo>
                    <a:pt x="45" y="35"/>
                    <a:pt x="43" y="37"/>
                    <a:pt x="40" y="39"/>
                  </a:cubicBezTo>
                  <a:cubicBezTo>
                    <a:pt x="38" y="41"/>
                    <a:pt x="35" y="42"/>
                    <a:pt x="31" y="43"/>
                  </a:cubicBezTo>
                  <a:cubicBezTo>
                    <a:pt x="27" y="44"/>
                    <a:pt x="23" y="44"/>
                    <a:pt x="18" y="44"/>
                  </a:cubicBezTo>
                  <a:cubicBezTo>
                    <a:pt x="12" y="44"/>
                    <a:pt x="12" y="44"/>
                    <a:pt x="12" y="44"/>
                  </a:cubicBezTo>
                  <a:cubicBezTo>
                    <a:pt x="12" y="67"/>
                    <a:pt x="12" y="67"/>
                    <a:pt x="12" y="67"/>
                  </a:cubicBezTo>
                  <a:cubicBezTo>
                    <a:pt x="0" y="67"/>
                    <a:pt x="0" y="67"/>
                    <a:pt x="0" y="67"/>
                  </a:cubicBezTo>
                  <a:cubicBezTo>
                    <a:pt x="0" y="2"/>
                    <a:pt x="0" y="2"/>
                    <a:pt x="0" y="2"/>
                  </a:cubicBezTo>
                  <a:cubicBezTo>
                    <a:pt x="2" y="1"/>
                    <a:pt x="6" y="1"/>
                    <a:pt x="9" y="1"/>
                  </a:cubicBezTo>
                  <a:cubicBezTo>
                    <a:pt x="12" y="0"/>
                    <a:pt x="16" y="0"/>
                    <a:pt x="18" y="0"/>
                  </a:cubicBezTo>
                  <a:close/>
                  <a:moveTo>
                    <a:pt x="19" y="11"/>
                  </a:moveTo>
                  <a:cubicBezTo>
                    <a:pt x="16" y="11"/>
                    <a:pt x="14" y="11"/>
                    <a:pt x="12" y="11"/>
                  </a:cubicBezTo>
                  <a:cubicBezTo>
                    <a:pt x="12" y="34"/>
                    <a:pt x="12" y="34"/>
                    <a:pt x="12" y="34"/>
                  </a:cubicBezTo>
                  <a:cubicBezTo>
                    <a:pt x="18" y="34"/>
                    <a:pt x="18" y="34"/>
                    <a:pt x="18" y="34"/>
                  </a:cubicBezTo>
                  <a:cubicBezTo>
                    <a:pt x="23" y="34"/>
                    <a:pt x="28" y="33"/>
                    <a:pt x="31" y="31"/>
                  </a:cubicBezTo>
                  <a:cubicBezTo>
                    <a:pt x="34" y="29"/>
                    <a:pt x="36" y="26"/>
                    <a:pt x="36" y="22"/>
                  </a:cubicBezTo>
                  <a:cubicBezTo>
                    <a:pt x="36" y="20"/>
                    <a:pt x="35" y="18"/>
                    <a:pt x="35" y="16"/>
                  </a:cubicBezTo>
                  <a:cubicBezTo>
                    <a:pt x="34" y="15"/>
                    <a:pt x="33" y="14"/>
                    <a:pt x="31" y="13"/>
                  </a:cubicBezTo>
                  <a:cubicBezTo>
                    <a:pt x="30" y="12"/>
                    <a:pt x="28" y="12"/>
                    <a:pt x="26" y="11"/>
                  </a:cubicBezTo>
                  <a:cubicBezTo>
                    <a:pt x="24" y="11"/>
                    <a:pt x="22" y="11"/>
                    <a:pt x="19" y="1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9" name="Freeform 6"/>
            <p:cNvSpPr>
              <a:spLocks noEditPoints="1"/>
            </p:cNvSpPr>
            <p:nvPr userDrawn="1"/>
          </p:nvSpPr>
          <p:spPr bwMode="auto">
            <a:xfrm>
              <a:off x="714150" y="5030484"/>
              <a:ext cx="280988" cy="334963"/>
            </a:xfrm>
            <a:custGeom>
              <a:avLst/>
              <a:gdLst>
                <a:gd name="T0" fmla="*/ 0 w 46"/>
                <a:gd name="T1" fmla="*/ 27 h 53"/>
                <a:gd name="T2" fmla="*/ 2 w 46"/>
                <a:gd name="T3" fmla="*/ 15 h 53"/>
                <a:gd name="T4" fmla="*/ 8 w 46"/>
                <a:gd name="T5" fmla="*/ 7 h 53"/>
                <a:gd name="T6" fmla="*/ 15 w 46"/>
                <a:gd name="T7" fmla="*/ 2 h 53"/>
                <a:gd name="T8" fmla="*/ 24 w 46"/>
                <a:gd name="T9" fmla="*/ 0 h 53"/>
                <a:gd name="T10" fmla="*/ 40 w 46"/>
                <a:gd name="T11" fmla="*/ 6 h 53"/>
                <a:gd name="T12" fmla="*/ 46 w 46"/>
                <a:gd name="T13" fmla="*/ 26 h 53"/>
                <a:gd name="T14" fmla="*/ 46 w 46"/>
                <a:gd name="T15" fmla="*/ 28 h 53"/>
                <a:gd name="T16" fmla="*/ 46 w 46"/>
                <a:gd name="T17" fmla="*/ 30 h 53"/>
                <a:gd name="T18" fmla="*/ 12 w 46"/>
                <a:gd name="T19" fmla="*/ 30 h 53"/>
                <a:gd name="T20" fmla="*/ 17 w 46"/>
                <a:gd name="T21" fmla="*/ 39 h 53"/>
                <a:gd name="T22" fmla="*/ 28 w 46"/>
                <a:gd name="T23" fmla="*/ 43 h 53"/>
                <a:gd name="T24" fmla="*/ 35 w 46"/>
                <a:gd name="T25" fmla="*/ 42 h 53"/>
                <a:gd name="T26" fmla="*/ 41 w 46"/>
                <a:gd name="T27" fmla="*/ 40 h 53"/>
                <a:gd name="T28" fmla="*/ 43 w 46"/>
                <a:gd name="T29" fmla="*/ 50 h 53"/>
                <a:gd name="T30" fmla="*/ 40 w 46"/>
                <a:gd name="T31" fmla="*/ 51 h 53"/>
                <a:gd name="T32" fmla="*/ 36 w 46"/>
                <a:gd name="T33" fmla="*/ 52 h 53"/>
                <a:gd name="T34" fmla="*/ 31 w 46"/>
                <a:gd name="T35" fmla="*/ 52 h 53"/>
                <a:gd name="T36" fmla="*/ 26 w 46"/>
                <a:gd name="T37" fmla="*/ 53 h 53"/>
                <a:gd name="T38" fmla="*/ 15 w 46"/>
                <a:gd name="T39" fmla="*/ 51 h 53"/>
                <a:gd name="T40" fmla="*/ 7 w 46"/>
                <a:gd name="T41" fmla="*/ 45 h 53"/>
                <a:gd name="T42" fmla="*/ 2 w 46"/>
                <a:gd name="T43" fmla="*/ 37 h 53"/>
                <a:gd name="T44" fmla="*/ 0 w 46"/>
                <a:gd name="T45" fmla="*/ 27 h 53"/>
                <a:gd name="T46" fmla="*/ 34 w 46"/>
                <a:gd name="T47" fmla="*/ 21 h 53"/>
                <a:gd name="T48" fmla="*/ 34 w 46"/>
                <a:gd name="T49" fmla="*/ 17 h 53"/>
                <a:gd name="T50" fmla="*/ 32 w 46"/>
                <a:gd name="T51" fmla="*/ 13 h 53"/>
                <a:gd name="T52" fmla="*/ 28 w 46"/>
                <a:gd name="T53" fmla="*/ 11 h 53"/>
                <a:gd name="T54" fmla="*/ 24 w 46"/>
                <a:gd name="T55" fmla="*/ 10 h 53"/>
                <a:gd name="T56" fmla="*/ 19 w 46"/>
                <a:gd name="T57" fmla="*/ 11 h 53"/>
                <a:gd name="T58" fmla="*/ 16 w 46"/>
                <a:gd name="T59" fmla="*/ 13 h 53"/>
                <a:gd name="T60" fmla="*/ 14 w 46"/>
                <a:gd name="T61" fmla="*/ 17 h 53"/>
                <a:gd name="T62" fmla="*/ 13 w 46"/>
                <a:gd name="T63" fmla="*/ 21 h 53"/>
                <a:gd name="T64" fmla="*/ 34 w 46"/>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6" h="53">
                  <a:moveTo>
                    <a:pt x="0" y="27"/>
                  </a:moveTo>
                  <a:cubicBezTo>
                    <a:pt x="0" y="22"/>
                    <a:pt x="1" y="18"/>
                    <a:pt x="2" y="15"/>
                  </a:cubicBezTo>
                  <a:cubicBezTo>
                    <a:pt x="4" y="12"/>
                    <a:pt x="6" y="9"/>
                    <a:pt x="8" y="7"/>
                  </a:cubicBezTo>
                  <a:cubicBezTo>
                    <a:pt x="10" y="4"/>
                    <a:pt x="12" y="3"/>
                    <a:pt x="15" y="2"/>
                  </a:cubicBezTo>
                  <a:cubicBezTo>
                    <a:pt x="18" y="0"/>
                    <a:pt x="21" y="0"/>
                    <a:pt x="24" y="0"/>
                  </a:cubicBezTo>
                  <a:cubicBezTo>
                    <a:pt x="31" y="0"/>
                    <a:pt x="36" y="2"/>
                    <a:pt x="40" y="6"/>
                  </a:cubicBezTo>
                  <a:cubicBezTo>
                    <a:pt x="44" y="11"/>
                    <a:pt x="46" y="17"/>
                    <a:pt x="46" y="26"/>
                  </a:cubicBezTo>
                  <a:cubicBezTo>
                    <a:pt x="46" y="26"/>
                    <a:pt x="46" y="27"/>
                    <a:pt x="46" y="28"/>
                  </a:cubicBezTo>
                  <a:cubicBezTo>
                    <a:pt x="46" y="29"/>
                    <a:pt x="46" y="29"/>
                    <a:pt x="46" y="30"/>
                  </a:cubicBezTo>
                  <a:cubicBezTo>
                    <a:pt x="12" y="30"/>
                    <a:pt x="12" y="30"/>
                    <a:pt x="12" y="30"/>
                  </a:cubicBezTo>
                  <a:cubicBezTo>
                    <a:pt x="13" y="34"/>
                    <a:pt x="14" y="37"/>
                    <a:pt x="17" y="39"/>
                  </a:cubicBezTo>
                  <a:cubicBezTo>
                    <a:pt x="19" y="41"/>
                    <a:pt x="23" y="43"/>
                    <a:pt x="28" y="43"/>
                  </a:cubicBezTo>
                  <a:cubicBezTo>
                    <a:pt x="31" y="43"/>
                    <a:pt x="33" y="42"/>
                    <a:pt x="35" y="42"/>
                  </a:cubicBezTo>
                  <a:cubicBezTo>
                    <a:pt x="38" y="41"/>
                    <a:pt x="40" y="41"/>
                    <a:pt x="41" y="40"/>
                  </a:cubicBezTo>
                  <a:cubicBezTo>
                    <a:pt x="43" y="50"/>
                    <a:pt x="43" y="50"/>
                    <a:pt x="43" y="50"/>
                  </a:cubicBezTo>
                  <a:cubicBezTo>
                    <a:pt x="42" y="50"/>
                    <a:pt x="41" y="50"/>
                    <a:pt x="40" y="51"/>
                  </a:cubicBezTo>
                  <a:cubicBezTo>
                    <a:pt x="39" y="51"/>
                    <a:pt x="38" y="51"/>
                    <a:pt x="36" y="52"/>
                  </a:cubicBezTo>
                  <a:cubicBezTo>
                    <a:pt x="35" y="52"/>
                    <a:pt x="33" y="52"/>
                    <a:pt x="31" y="52"/>
                  </a:cubicBezTo>
                  <a:cubicBezTo>
                    <a:pt x="30" y="53"/>
                    <a:pt x="28" y="53"/>
                    <a:pt x="26" y="53"/>
                  </a:cubicBezTo>
                  <a:cubicBezTo>
                    <a:pt x="22" y="53"/>
                    <a:pt x="18" y="52"/>
                    <a:pt x="15" y="51"/>
                  </a:cubicBezTo>
                  <a:cubicBezTo>
                    <a:pt x="12" y="49"/>
                    <a:pt x="9" y="48"/>
                    <a:pt x="7" y="45"/>
                  </a:cubicBezTo>
                  <a:cubicBezTo>
                    <a:pt x="5" y="43"/>
                    <a:pt x="3" y="40"/>
                    <a:pt x="2" y="37"/>
                  </a:cubicBezTo>
                  <a:cubicBezTo>
                    <a:pt x="1" y="34"/>
                    <a:pt x="0" y="30"/>
                    <a:pt x="0" y="27"/>
                  </a:cubicBezTo>
                  <a:close/>
                  <a:moveTo>
                    <a:pt x="34" y="21"/>
                  </a:moveTo>
                  <a:cubicBezTo>
                    <a:pt x="34" y="20"/>
                    <a:pt x="34" y="18"/>
                    <a:pt x="34" y="17"/>
                  </a:cubicBezTo>
                  <a:cubicBezTo>
                    <a:pt x="33" y="15"/>
                    <a:pt x="32" y="14"/>
                    <a:pt x="32" y="13"/>
                  </a:cubicBezTo>
                  <a:cubicBezTo>
                    <a:pt x="31" y="12"/>
                    <a:pt x="30" y="11"/>
                    <a:pt x="28" y="11"/>
                  </a:cubicBezTo>
                  <a:cubicBezTo>
                    <a:pt x="27" y="10"/>
                    <a:pt x="26" y="10"/>
                    <a:pt x="24" y="10"/>
                  </a:cubicBezTo>
                  <a:cubicBezTo>
                    <a:pt x="22" y="10"/>
                    <a:pt x="21" y="10"/>
                    <a:pt x="19" y="11"/>
                  </a:cubicBezTo>
                  <a:cubicBezTo>
                    <a:pt x="18" y="11"/>
                    <a:pt x="17" y="12"/>
                    <a:pt x="16" y="13"/>
                  </a:cubicBezTo>
                  <a:cubicBezTo>
                    <a:pt x="15" y="14"/>
                    <a:pt x="14" y="16"/>
                    <a:pt x="14" y="17"/>
                  </a:cubicBezTo>
                  <a:cubicBezTo>
                    <a:pt x="13" y="18"/>
                    <a:pt x="13" y="20"/>
                    <a:pt x="13" y="21"/>
                  </a:cubicBezTo>
                  <a:lnTo>
                    <a:pt x="34"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2" name="Freeform 7"/>
            <p:cNvSpPr>
              <a:spLocks noEditPoints="1"/>
            </p:cNvSpPr>
            <p:nvPr userDrawn="1"/>
          </p:nvSpPr>
          <p:spPr bwMode="auto">
            <a:xfrm>
              <a:off x="1038000" y="5030484"/>
              <a:ext cx="298450" cy="334963"/>
            </a:xfrm>
            <a:custGeom>
              <a:avLst/>
              <a:gdLst>
                <a:gd name="T0" fmla="*/ 49 w 49"/>
                <a:gd name="T1" fmla="*/ 26 h 53"/>
                <a:gd name="T2" fmla="*/ 47 w 49"/>
                <a:gd name="T3" fmla="*/ 37 h 53"/>
                <a:gd name="T4" fmla="*/ 42 w 49"/>
                <a:gd name="T5" fmla="*/ 45 h 53"/>
                <a:gd name="T6" fmla="*/ 34 w 49"/>
                <a:gd name="T7" fmla="*/ 51 h 53"/>
                <a:gd name="T8" fmla="*/ 24 w 49"/>
                <a:gd name="T9" fmla="*/ 53 h 53"/>
                <a:gd name="T10" fmla="*/ 15 w 49"/>
                <a:gd name="T11" fmla="*/ 51 h 53"/>
                <a:gd name="T12" fmla="*/ 7 w 49"/>
                <a:gd name="T13" fmla="*/ 45 h 53"/>
                <a:gd name="T14" fmla="*/ 2 w 49"/>
                <a:gd name="T15" fmla="*/ 37 h 53"/>
                <a:gd name="T16" fmla="*/ 0 w 49"/>
                <a:gd name="T17" fmla="*/ 26 h 53"/>
                <a:gd name="T18" fmla="*/ 2 w 49"/>
                <a:gd name="T19" fmla="*/ 15 h 53"/>
                <a:gd name="T20" fmla="*/ 7 w 49"/>
                <a:gd name="T21" fmla="*/ 7 h 53"/>
                <a:gd name="T22" fmla="*/ 15 w 49"/>
                <a:gd name="T23" fmla="*/ 2 h 53"/>
                <a:gd name="T24" fmla="*/ 24 w 49"/>
                <a:gd name="T25" fmla="*/ 0 h 53"/>
                <a:gd name="T26" fmla="*/ 34 w 49"/>
                <a:gd name="T27" fmla="*/ 2 h 53"/>
                <a:gd name="T28" fmla="*/ 42 w 49"/>
                <a:gd name="T29" fmla="*/ 7 h 53"/>
                <a:gd name="T30" fmla="*/ 47 w 49"/>
                <a:gd name="T31" fmla="*/ 15 h 53"/>
                <a:gd name="T32" fmla="*/ 49 w 49"/>
                <a:gd name="T33" fmla="*/ 26 h 53"/>
                <a:gd name="T34" fmla="*/ 37 w 49"/>
                <a:gd name="T35" fmla="*/ 26 h 53"/>
                <a:gd name="T36" fmla="*/ 33 w 49"/>
                <a:gd name="T37" fmla="*/ 14 h 53"/>
                <a:gd name="T38" fmla="*/ 24 w 49"/>
                <a:gd name="T39" fmla="*/ 10 h 53"/>
                <a:gd name="T40" fmla="*/ 16 w 49"/>
                <a:gd name="T41" fmla="*/ 14 h 53"/>
                <a:gd name="T42" fmla="*/ 12 w 49"/>
                <a:gd name="T43" fmla="*/ 26 h 53"/>
                <a:gd name="T44" fmla="*/ 16 w 49"/>
                <a:gd name="T45" fmla="*/ 38 h 53"/>
                <a:gd name="T46" fmla="*/ 24 w 49"/>
                <a:gd name="T47" fmla="*/ 43 h 53"/>
                <a:gd name="T48" fmla="*/ 33 w 49"/>
                <a:gd name="T49" fmla="*/ 38 h 53"/>
                <a:gd name="T50" fmla="*/ 37 w 49"/>
                <a:gd name="T51"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9" h="53">
                  <a:moveTo>
                    <a:pt x="49" y="26"/>
                  </a:moveTo>
                  <a:cubicBezTo>
                    <a:pt x="49" y="30"/>
                    <a:pt x="48" y="34"/>
                    <a:pt x="47" y="37"/>
                  </a:cubicBezTo>
                  <a:cubicBezTo>
                    <a:pt x="46" y="40"/>
                    <a:pt x="44" y="43"/>
                    <a:pt x="42" y="45"/>
                  </a:cubicBezTo>
                  <a:cubicBezTo>
                    <a:pt x="40" y="48"/>
                    <a:pt x="37" y="50"/>
                    <a:pt x="34" y="51"/>
                  </a:cubicBezTo>
                  <a:cubicBezTo>
                    <a:pt x="31" y="52"/>
                    <a:pt x="28" y="53"/>
                    <a:pt x="24" y="53"/>
                  </a:cubicBezTo>
                  <a:cubicBezTo>
                    <a:pt x="21" y="53"/>
                    <a:pt x="18" y="52"/>
                    <a:pt x="15" y="51"/>
                  </a:cubicBezTo>
                  <a:cubicBezTo>
                    <a:pt x="12" y="50"/>
                    <a:pt x="9" y="48"/>
                    <a:pt x="7" y="45"/>
                  </a:cubicBezTo>
                  <a:cubicBezTo>
                    <a:pt x="5" y="43"/>
                    <a:pt x="3" y="40"/>
                    <a:pt x="2" y="37"/>
                  </a:cubicBezTo>
                  <a:cubicBezTo>
                    <a:pt x="1" y="34"/>
                    <a:pt x="0" y="30"/>
                    <a:pt x="0" y="26"/>
                  </a:cubicBezTo>
                  <a:cubicBezTo>
                    <a:pt x="0" y="22"/>
                    <a:pt x="1" y="19"/>
                    <a:pt x="2" y="15"/>
                  </a:cubicBezTo>
                  <a:cubicBezTo>
                    <a:pt x="3" y="12"/>
                    <a:pt x="5" y="9"/>
                    <a:pt x="7" y="7"/>
                  </a:cubicBezTo>
                  <a:cubicBezTo>
                    <a:pt x="9" y="5"/>
                    <a:pt x="12" y="3"/>
                    <a:pt x="15" y="2"/>
                  </a:cubicBezTo>
                  <a:cubicBezTo>
                    <a:pt x="18" y="1"/>
                    <a:pt x="21" y="0"/>
                    <a:pt x="24" y="0"/>
                  </a:cubicBezTo>
                  <a:cubicBezTo>
                    <a:pt x="28" y="0"/>
                    <a:pt x="31" y="1"/>
                    <a:pt x="34" y="2"/>
                  </a:cubicBezTo>
                  <a:cubicBezTo>
                    <a:pt x="37" y="3"/>
                    <a:pt x="40" y="5"/>
                    <a:pt x="42" y="7"/>
                  </a:cubicBezTo>
                  <a:cubicBezTo>
                    <a:pt x="44" y="9"/>
                    <a:pt x="46" y="12"/>
                    <a:pt x="47" y="15"/>
                  </a:cubicBezTo>
                  <a:cubicBezTo>
                    <a:pt x="48" y="19"/>
                    <a:pt x="49" y="22"/>
                    <a:pt x="49" y="26"/>
                  </a:cubicBezTo>
                  <a:close/>
                  <a:moveTo>
                    <a:pt x="37" y="26"/>
                  </a:moveTo>
                  <a:cubicBezTo>
                    <a:pt x="37" y="21"/>
                    <a:pt x="36" y="17"/>
                    <a:pt x="33" y="14"/>
                  </a:cubicBezTo>
                  <a:cubicBezTo>
                    <a:pt x="31" y="11"/>
                    <a:pt x="28" y="10"/>
                    <a:pt x="24" y="10"/>
                  </a:cubicBezTo>
                  <a:cubicBezTo>
                    <a:pt x="21" y="10"/>
                    <a:pt x="18" y="11"/>
                    <a:pt x="16" y="14"/>
                  </a:cubicBezTo>
                  <a:cubicBezTo>
                    <a:pt x="13" y="17"/>
                    <a:pt x="12" y="21"/>
                    <a:pt x="12" y="26"/>
                  </a:cubicBezTo>
                  <a:cubicBezTo>
                    <a:pt x="12" y="31"/>
                    <a:pt x="13" y="35"/>
                    <a:pt x="16" y="38"/>
                  </a:cubicBezTo>
                  <a:cubicBezTo>
                    <a:pt x="18" y="41"/>
                    <a:pt x="21" y="43"/>
                    <a:pt x="24" y="43"/>
                  </a:cubicBezTo>
                  <a:cubicBezTo>
                    <a:pt x="28" y="43"/>
                    <a:pt x="31" y="41"/>
                    <a:pt x="33" y="38"/>
                  </a:cubicBezTo>
                  <a:cubicBezTo>
                    <a:pt x="36" y="35"/>
                    <a:pt x="37" y="31"/>
                    <a:pt x="37" y="2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3" name="Freeform 8"/>
            <p:cNvSpPr>
              <a:spLocks noEditPoints="1"/>
            </p:cNvSpPr>
            <p:nvPr userDrawn="1"/>
          </p:nvSpPr>
          <p:spPr bwMode="auto">
            <a:xfrm>
              <a:off x="1398362" y="5030484"/>
              <a:ext cx="274638" cy="434975"/>
            </a:xfrm>
            <a:custGeom>
              <a:avLst/>
              <a:gdLst>
                <a:gd name="T0" fmla="*/ 45 w 45"/>
                <a:gd name="T1" fmla="*/ 26 h 69"/>
                <a:gd name="T2" fmla="*/ 43 w 45"/>
                <a:gd name="T3" fmla="*/ 37 h 69"/>
                <a:gd name="T4" fmla="*/ 39 w 45"/>
                <a:gd name="T5" fmla="*/ 45 h 69"/>
                <a:gd name="T6" fmla="*/ 32 w 45"/>
                <a:gd name="T7" fmla="*/ 51 h 69"/>
                <a:gd name="T8" fmla="*/ 23 w 45"/>
                <a:gd name="T9" fmla="*/ 52 h 69"/>
                <a:gd name="T10" fmla="*/ 16 w 45"/>
                <a:gd name="T11" fmla="*/ 52 h 69"/>
                <a:gd name="T12" fmla="*/ 11 w 45"/>
                <a:gd name="T13" fmla="*/ 50 h 69"/>
                <a:gd name="T14" fmla="*/ 11 w 45"/>
                <a:gd name="T15" fmla="*/ 69 h 69"/>
                <a:gd name="T16" fmla="*/ 0 w 45"/>
                <a:gd name="T17" fmla="*/ 69 h 69"/>
                <a:gd name="T18" fmla="*/ 0 w 45"/>
                <a:gd name="T19" fmla="*/ 3 h 69"/>
                <a:gd name="T20" fmla="*/ 8 w 45"/>
                <a:gd name="T21" fmla="*/ 1 h 69"/>
                <a:gd name="T22" fmla="*/ 19 w 45"/>
                <a:gd name="T23" fmla="*/ 0 h 69"/>
                <a:gd name="T24" fmla="*/ 30 w 45"/>
                <a:gd name="T25" fmla="*/ 2 h 69"/>
                <a:gd name="T26" fmla="*/ 38 w 45"/>
                <a:gd name="T27" fmla="*/ 7 h 69"/>
                <a:gd name="T28" fmla="*/ 43 w 45"/>
                <a:gd name="T29" fmla="*/ 15 h 69"/>
                <a:gd name="T30" fmla="*/ 45 w 45"/>
                <a:gd name="T31" fmla="*/ 26 h 69"/>
                <a:gd name="T32" fmla="*/ 33 w 45"/>
                <a:gd name="T33" fmla="*/ 27 h 69"/>
                <a:gd name="T34" fmla="*/ 29 w 45"/>
                <a:gd name="T35" fmla="*/ 14 h 69"/>
                <a:gd name="T36" fmla="*/ 18 w 45"/>
                <a:gd name="T37" fmla="*/ 10 h 69"/>
                <a:gd name="T38" fmla="*/ 15 w 45"/>
                <a:gd name="T39" fmla="*/ 10 h 69"/>
                <a:gd name="T40" fmla="*/ 11 w 45"/>
                <a:gd name="T41" fmla="*/ 11 h 69"/>
                <a:gd name="T42" fmla="*/ 11 w 45"/>
                <a:gd name="T43" fmla="*/ 40 h 69"/>
                <a:gd name="T44" fmla="*/ 15 w 45"/>
                <a:gd name="T45" fmla="*/ 42 h 69"/>
                <a:gd name="T46" fmla="*/ 21 w 45"/>
                <a:gd name="T47" fmla="*/ 42 h 69"/>
                <a:gd name="T48" fmla="*/ 30 w 45"/>
                <a:gd name="T49" fmla="*/ 38 h 69"/>
                <a:gd name="T50" fmla="*/ 33 w 45"/>
                <a:gd name="T51" fmla="*/ 27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5" h="69">
                  <a:moveTo>
                    <a:pt x="45" y="26"/>
                  </a:moveTo>
                  <a:cubicBezTo>
                    <a:pt x="45" y="30"/>
                    <a:pt x="44" y="34"/>
                    <a:pt x="43" y="37"/>
                  </a:cubicBezTo>
                  <a:cubicBezTo>
                    <a:pt x="42" y="40"/>
                    <a:pt x="41" y="43"/>
                    <a:pt x="39" y="45"/>
                  </a:cubicBezTo>
                  <a:cubicBezTo>
                    <a:pt x="37" y="47"/>
                    <a:pt x="35" y="49"/>
                    <a:pt x="32" y="51"/>
                  </a:cubicBezTo>
                  <a:cubicBezTo>
                    <a:pt x="29" y="52"/>
                    <a:pt x="26" y="52"/>
                    <a:pt x="23" y="52"/>
                  </a:cubicBezTo>
                  <a:cubicBezTo>
                    <a:pt x="20" y="52"/>
                    <a:pt x="18" y="52"/>
                    <a:pt x="16" y="52"/>
                  </a:cubicBezTo>
                  <a:cubicBezTo>
                    <a:pt x="14" y="51"/>
                    <a:pt x="13" y="50"/>
                    <a:pt x="11" y="50"/>
                  </a:cubicBezTo>
                  <a:cubicBezTo>
                    <a:pt x="11" y="69"/>
                    <a:pt x="11" y="69"/>
                    <a:pt x="11" y="69"/>
                  </a:cubicBezTo>
                  <a:cubicBezTo>
                    <a:pt x="0" y="69"/>
                    <a:pt x="0" y="69"/>
                    <a:pt x="0" y="69"/>
                  </a:cubicBezTo>
                  <a:cubicBezTo>
                    <a:pt x="0" y="3"/>
                    <a:pt x="0" y="3"/>
                    <a:pt x="0" y="3"/>
                  </a:cubicBezTo>
                  <a:cubicBezTo>
                    <a:pt x="2" y="2"/>
                    <a:pt x="5" y="2"/>
                    <a:pt x="8" y="1"/>
                  </a:cubicBezTo>
                  <a:cubicBezTo>
                    <a:pt x="12" y="0"/>
                    <a:pt x="16" y="0"/>
                    <a:pt x="19" y="0"/>
                  </a:cubicBezTo>
                  <a:cubicBezTo>
                    <a:pt x="23" y="0"/>
                    <a:pt x="27" y="1"/>
                    <a:pt x="30" y="2"/>
                  </a:cubicBezTo>
                  <a:cubicBezTo>
                    <a:pt x="33" y="3"/>
                    <a:pt x="36" y="5"/>
                    <a:pt x="38" y="7"/>
                  </a:cubicBezTo>
                  <a:cubicBezTo>
                    <a:pt x="40" y="9"/>
                    <a:pt x="42" y="12"/>
                    <a:pt x="43" y="15"/>
                  </a:cubicBezTo>
                  <a:cubicBezTo>
                    <a:pt x="44" y="19"/>
                    <a:pt x="45" y="22"/>
                    <a:pt x="45" y="26"/>
                  </a:cubicBezTo>
                  <a:close/>
                  <a:moveTo>
                    <a:pt x="33" y="27"/>
                  </a:moveTo>
                  <a:cubicBezTo>
                    <a:pt x="33" y="21"/>
                    <a:pt x="32" y="17"/>
                    <a:pt x="29" y="14"/>
                  </a:cubicBezTo>
                  <a:cubicBezTo>
                    <a:pt x="27" y="12"/>
                    <a:pt x="23" y="10"/>
                    <a:pt x="18" y="10"/>
                  </a:cubicBezTo>
                  <a:cubicBezTo>
                    <a:pt x="17" y="10"/>
                    <a:pt x="16" y="10"/>
                    <a:pt x="15" y="10"/>
                  </a:cubicBezTo>
                  <a:cubicBezTo>
                    <a:pt x="14" y="10"/>
                    <a:pt x="12" y="11"/>
                    <a:pt x="11" y="11"/>
                  </a:cubicBezTo>
                  <a:cubicBezTo>
                    <a:pt x="11" y="40"/>
                    <a:pt x="11" y="40"/>
                    <a:pt x="11" y="40"/>
                  </a:cubicBezTo>
                  <a:cubicBezTo>
                    <a:pt x="12" y="40"/>
                    <a:pt x="14" y="41"/>
                    <a:pt x="15" y="42"/>
                  </a:cubicBezTo>
                  <a:cubicBezTo>
                    <a:pt x="17" y="42"/>
                    <a:pt x="19" y="42"/>
                    <a:pt x="21" y="42"/>
                  </a:cubicBezTo>
                  <a:cubicBezTo>
                    <a:pt x="25" y="42"/>
                    <a:pt x="28" y="41"/>
                    <a:pt x="30" y="38"/>
                  </a:cubicBezTo>
                  <a:cubicBezTo>
                    <a:pt x="32" y="35"/>
                    <a:pt x="33" y="31"/>
                    <a:pt x="33" y="27"/>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4" name="Freeform 9"/>
            <p:cNvSpPr>
              <a:spLocks/>
            </p:cNvSpPr>
            <p:nvPr userDrawn="1"/>
          </p:nvSpPr>
          <p:spPr bwMode="auto">
            <a:xfrm>
              <a:off x="1734912" y="4886021"/>
              <a:ext cx="115888" cy="473075"/>
            </a:xfrm>
            <a:custGeom>
              <a:avLst/>
              <a:gdLst>
                <a:gd name="T0" fmla="*/ 17 w 19"/>
                <a:gd name="T1" fmla="*/ 75 h 75"/>
                <a:gd name="T2" fmla="*/ 9 w 19"/>
                <a:gd name="T3" fmla="*/ 74 h 75"/>
                <a:gd name="T4" fmla="*/ 3 w 19"/>
                <a:gd name="T5" fmla="*/ 71 h 75"/>
                <a:gd name="T6" fmla="*/ 1 w 19"/>
                <a:gd name="T7" fmla="*/ 66 h 75"/>
                <a:gd name="T8" fmla="*/ 0 w 19"/>
                <a:gd name="T9" fmla="*/ 60 h 75"/>
                <a:gd name="T10" fmla="*/ 0 w 19"/>
                <a:gd name="T11" fmla="*/ 2 h 75"/>
                <a:gd name="T12" fmla="*/ 11 w 19"/>
                <a:gd name="T13" fmla="*/ 0 h 75"/>
                <a:gd name="T14" fmla="*/ 11 w 19"/>
                <a:gd name="T15" fmla="*/ 57 h 75"/>
                <a:gd name="T16" fmla="*/ 12 w 19"/>
                <a:gd name="T17" fmla="*/ 61 h 75"/>
                <a:gd name="T18" fmla="*/ 13 w 19"/>
                <a:gd name="T19" fmla="*/ 63 h 75"/>
                <a:gd name="T20" fmla="*/ 15 w 19"/>
                <a:gd name="T21" fmla="*/ 65 h 75"/>
                <a:gd name="T22" fmla="*/ 19 w 19"/>
                <a:gd name="T23" fmla="*/ 66 h 75"/>
                <a:gd name="T24" fmla="*/ 17 w 19"/>
                <a:gd name="T25" fmla="*/ 7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 h="75">
                  <a:moveTo>
                    <a:pt x="17" y="75"/>
                  </a:moveTo>
                  <a:cubicBezTo>
                    <a:pt x="14" y="75"/>
                    <a:pt x="11" y="75"/>
                    <a:pt x="9" y="74"/>
                  </a:cubicBezTo>
                  <a:cubicBezTo>
                    <a:pt x="7" y="73"/>
                    <a:pt x="5" y="72"/>
                    <a:pt x="3" y="71"/>
                  </a:cubicBezTo>
                  <a:cubicBezTo>
                    <a:pt x="2" y="70"/>
                    <a:pt x="1" y="68"/>
                    <a:pt x="1" y="66"/>
                  </a:cubicBezTo>
                  <a:cubicBezTo>
                    <a:pt x="0" y="64"/>
                    <a:pt x="0" y="62"/>
                    <a:pt x="0" y="60"/>
                  </a:cubicBezTo>
                  <a:cubicBezTo>
                    <a:pt x="0" y="2"/>
                    <a:pt x="0" y="2"/>
                    <a:pt x="0" y="2"/>
                  </a:cubicBezTo>
                  <a:cubicBezTo>
                    <a:pt x="11" y="0"/>
                    <a:pt x="11" y="0"/>
                    <a:pt x="11" y="0"/>
                  </a:cubicBezTo>
                  <a:cubicBezTo>
                    <a:pt x="11" y="57"/>
                    <a:pt x="11" y="57"/>
                    <a:pt x="11" y="57"/>
                  </a:cubicBezTo>
                  <a:cubicBezTo>
                    <a:pt x="11" y="59"/>
                    <a:pt x="11" y="60"/>
                    <a:pt x="12" y="61"/>
                  </a:cubicBezTo>
                  <a:cubicBezTo>
                    <a:pt x="12" y="62"/>
                    <a:pt x="12" y="63"/>
                    <a:pt x="13" y="63"/>
                  </a:cubicBezTo>
                  <a:cubicBezTo>
                    <a:pt x="13" y="64"/>
                    <a:pt x="14" y="65"/>
                    <a:pt x="15" y="65"/>
                  </a:cubicBezTo>
                  <a:cubicBezTo>
                    <a:pt x="16" y="65"/>
                    <a:pt x="18" y="66"/>
                    <a:pt x="19" y="66"/>
                  </a:cubicBezTo>
                  <a:lnTo>
                    <a:pt x="17" y="7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5" name="Freeform 10"/>
            <p:cNvSpPr>
              <a:spLocks noEditPoints="1"/>
            </p:cNvSpPr>
            <p:nvPr userDrawn="1"/>
          </p:nvSpPr>
          <p:spPr bwMode="auto">
            <a:xfrm>
              <a:off x="1880962" y="5030484"/>
              <a:ext cx="274638" cy="334963"/>
            </a:xfrm>
            <a:custGeom>
              <a:avLst/>
              <a:gdLst>
                <a:gd name="T0" fmla="*/ 0 w 45"/>
                <a:gd name="T1" fmla="*/ 27 h 53"/>
                <a:gd name="T2" fmla="*/ 2 w 45"/>
                <a:gd name="T3" fmla="*/ 15 h 53"/>
                <a:gd name="T4" fmla="*/ 7 w 45"/>
                <a:gd name="T5" fmla="*/ 7 h 53"/>
                <a:gd name="T6" fmla="*/ 14 w 45"/>
                <a:gd name="T7" fmla="*/ 2 h 53"/>
                <a:gd name="T8" fmla="*/ 23 w 45"/>
                <a:gd name="T9" fmla="*/ 0 h 53"/>
                <a:gd name="T10" fmla="*/ 39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0 w 45"/>
                <a:gd name="T27" fmla="*/ 40 h 53"/>
                <a:gd name="T28" fmla="*/ 42 w 45"/>
                <a:gd name="T29" fmla="*/ 50 h 53"/>
                <a:gd name="T30" fmla="*/ 39 w 45"/>
                <a:gd name="T31" fmla="*/ 51 h 53"/>
                <a:gd name="T32" fmla="*/ 35 w 45"/>
                <a:gd name="T33" fmla="*/ 52 h 53"/>
                <a:gd name="T34" fmla="*/ 31 w 45"/>
                <a:gd name="T35" fmla="*/ 52 h 53"/>
                <a:gd name="T36" fmla="*/ 26 w 45"/>
                <a:gd name="T37" fmla="*/ 53 h 53"/>
                <a:gd name="T38" fmla="*/ 14 w 45"/>
                <a:gd name="T39" fmla="*/ 51 h 53"/>
                <a:gd name="T40" fmla="*/ 6 w 45"/>
                <a:gd name="T41" fmla="*/ 45 h 53"/>
                <a:gd name="T42" fmla="*/ 1 w 45"/>
                <a:gd name="T43" fmla="*/ 37 h 53"/>
                <a:gd name="T44" fmla="*/ 0 w 45"/>
                <a:gd name="T45" fmla="*/ 27 h 53"/>
                <a:gd name="T46" fmla="*/ 33 w 45"/>
                <a:gd name="T47" fmla="*/ 21 h 53"/>
                <a:gd name="T48" fmla="*/ 33 w 45"/>
                <a:gd name="T49" fmla="*/ 17 h 53"/>
                <a:gd name="T50" fmla="*/ 31 w 45"/>
                <a:gd name="T51" fmla="*/ 13 h 53"/>
                <a:gd name="T52" fmla="*/ 28 w 45"/>
                <a:gd name="T53" fmla="*/ 11 h 53"/>
                <a:gd name="T54" fmla="*/ 23 w 45"/>
                <a:gd name="T55" fmla="*/ 10 h 53"/>
                <a:gd name="T56" fmla="*/ 18 w 45"/>
                <a:gd name="T57" fmla="*/ 11 h 53"/>
                <a:gd name="T58" fmla="*/ 15 w 45"/>
                <a:gd name="T59" fmla="*/ 13 h 53"/>
                <a:gd name="T60" fmla="*/ 13 w 45"/>
                <a:gd name="T61" fmla="*/ 17 h 53"/>
                <a:gd name="T62" fmla="*/ 12 w 45"/>
                <a:gd name="T63" fmla="*/ 21 h 53"/>
                <a:gd name="T64" fmla="*/ 33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0" y="18"/>
                    <a:pt x="2" y="15"/>
                  </a:cubicBezTo>
                  <a:cubicBezTo>
                    <a:pt x="3" y="12"/>
                    <a:pt x="5" y="9"/>
                    <a:pt x="7" y="7"/>
                  </a:cubicBezTo>
                  <a:cubicBezTo>
                    <a:pt x="9" y="4"/>
                    <a:pt x="12" y="3"/>
                    <a:pt x="14" y="2"/>
                  </a:cubicBezTo>
                  <a:cubicBezTo>
                    <a:pt x="17" y="0"/>
                    <a:pt x="20" y="0"/>
                    <a:pt x="23" y="0"/>
                  </a:cubicBezTo>
                  <a:cubicBezTo>
                    <a:pt x="30" y="0"/>
                    <a:pt x="35" y="2"/>
                    <a:pt x="39" y="6"/>
                  </a:cubicBezTo>
                  <a:cubicBezTo>
                    <a:pt x="43"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2" y="43"/>
                    <a:pt x="27" y="43"/>
                  </a:cubicBezTo>
                  <a:cubicBezTo>
                    <a:pt x="30" y="43"/>
                    <a:pt x="32" y="42"/>
                    <a:pt x="35" y="42"/>
                  </a:cubicBezTo>
                  <a:cubicBezTo>
                    <a:pt x="37" y="41"/>
                    <a:pt x="39" y="41"/>
                    <a:pt x="40" y="40"/>
                  </a:cubicBezTo>
                  <a:cubicBezTo>
                    <a:pt x="42" y="50"/>
                    <a:pt x="42" y="50"/>
                    <a:pt x="42" y="50"/>
                  </a:cubicBezTo>
                  <a:cubicBezTo>
                    <a:pt x="41" y="50"/>
                    <a:pt x="40" y="50"/>
                    <a:pt x="39" y="51"/>
                  </a:cubicBezTo>
                  <a:cubicBezTo>
                    <a:pt x="38" y="51"/>
                    <a:pt x="37" y="51"/>
                    <a:pt x="35" y="52"/>
                  </a:cubicBezTo>
                  <a:cubicBezTo>
                    <a:pt x="34" y="52"/>
                    <a:pt x="32" y="52"/>
                    <a:pt x="31" y="52"/>
                  </a:cubicBezTo>
                  <a:cubicBezTo>
                    <a:pt x="29" y="53"/>
                    <a:pt x="27" y="53"/>
                    <a:pt x="26" y="53"/>
                  </a:cubicBezTo>
                  <a:cubicBezTo>
                    <a:pt x="21" y="53"/>
                    <a:pt x="17" y="52"/>
                    <a:pt x="14" y="51"/>
                  </a:cubicBezTo>
                  <a:cubicBezTo>
                    <a:pt x="11" y="49"/>
                    <a:pt x="8" y="48"/>
                    <a:pt x="6" y="45"/>
                  </a:cubicBezTo>
                  <a:cubicBezTo>
                    <a:pt x="4" y="43"/>
                    <a:pt x="2" y="40"/>
                    <a:pt x="1" y="37"/>
                  </a:cubicBezTo>
                  <a:cubicBezTo>
                    <a:pt x="0" y="34"/>
                    <a:pt x="0" y="30"/>
                    <a:pt x="0" y="27"/>
                  </a:cubicBezTo>
                  <a:close/>
                  <a:moveTo>
                    <a:pt x="33" y="21"/>
                  </a:moveTo>
                  <a:cubicBezTo>
                    <a:pt x="33" y="20"/>
                    <a:pt x="33" y="18"/>
                    <a:pt x="33" y="17"/>
                  </a:cubicBezTo>
                  <a:cubicBezTo>
                    <a:pt x="32" y="15"/>
                    <a:pt x="32" y="14"/>
                    <a:pt x="31" y="13"/>
                  </a:cubicBezTo>
                  <a:cubicBezTo>
                    <a:pt x="30" y="12"/>
                    <a:pt x="29" y="11"/>
                    <a:pt x="28" y="11"/>
                  </a:cubicBezTo>
                  <a:cubicBezTo>
                    <a:pt x="26" y="10"/>
                    <a:pt x="25" y="10"/>
                    <a:pt x="23" y="10"/>
                  </a:cubicBezTo>
                  <a:cubicBezTo>
                    <a:pt x="21" y="10"/>
                    <a:pt x="20" y="10"/>
                    <a:pt x="18" y="11"/>
                  </a:cubicBezTo>
                  <a:cubicBezTo>
                    <a:pt x="17" y="11"/>
                    <a:pt x="16" y="12"/>
                    <a:pt x="15" y="13"/>
                  </a:cubicBezTo>
                  <a:cubicBezTo>
                    <a:pt x="14" y="14"/>
                    <a:pt x="13" y="16"/>
                    <a:pt x="13" y="17"/>
                  </a:cubicBezTo>
                  <a:cubicBezTo>
                    <a:pt x="12" y="18"/>
                    <a:pt x="12" y="20"/>
                    <a:pt x="12" y="21"/>
                  </a:cubicBezTo>
                  <a:lnTo>
                    <a:pt x="33"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6" name="Freeform 11"/>
            <p:cNvSpPr>
              <a:spLocks/>
            </p:cNvSpPr>
            <p:nvPr userDrawn="1"/>
          </p:nvSpPr>
          <p:spPr bwMode="auto">
            <a:xfrm>
              <a:off x="2346100" y="5030484"/>
              <a:ext cx="422275" cy="322263"/>
            </a:xfrm>
            <a:custGeom>
              <a:avLst/>
              <a:gdLst>
                <a:gd name="T0" fmla="*/ 29 w 69"/>
                <a:gd name="T1" fmla="*/ 25 h 51"/>
                <a:gd name="T2" fmla="*/ 27 w 69"/>
                <a:gd name="T3" fmla="*/ 14 h 51"/>
                <a:gd name="T4" fmla="*/ 19 w 69"/>
                <a:gd name="T5" fmla="*/ 10 h 51"/>
                <a:gd name="T6" fmla="*/ 15 w 69"/>
                <a:gd name="T7" fmla="*/ 10 h 51"/>
                <a:gd name="T8" fmla="*/ 12 w 69"/>
                <a:gd name="T9" fmla="*/ 11 h 51"/>
                <a:gd name="T10" fmla="*/ 12 w 69"/>
                <a:gd name="T11" fmla="*/ 51 h 51"/>
                <a:gd name="T12" fmla="*/ 0 w 69"/>
                <a:gd name="T13" fmla="*/ 51 h 51"/>
                <a:gd name="T14" fmla="*/ 0 w 69"/>
                <a:gd name="T15" fmla="*/ 3 h 51"/>
                <a:gd name="T16" fmla="*/ 9 w 69"/>
                <a:gd name="T17" fmla="*/ 1 h 51"/>
                <a:gd name="T18" fmla="*/ 20 w 69"/>
                <a:gd name="T19" fmla="*/ 0 h 51"/>
                <a:gd name="T20" fmla="*/ 29 w 69"/>
                <a:gd name="T21" fmla="*/ 1 h 51"/>
                <a:gd name="T22" fmla="*/ 34 w 69"/>
                <a:gd name="T23" fmla="*/ 5 h 51"/>
                <a:gd name="T24" fmla="*/ 37 w 69"/>
                <a:gd name="T25" fmla="*/ 3 h 51"/>
                <a:gd name="T26" fmla="*/ 41 w 69"/>
                <a:gd name="T27" fmla="*/ 2 h 51"/>
                <a:gd name="T28" fmla="*/ 45 w 69"/>
                <a:gd name="T29" fmla="*/ 1 h 51"/>
                <a:gd name="T30" fmla="*/ 49 w 69"/>
                <a:gd name="T31" fmla="*/ 0 h 51"/>
                <a:gd name="T32" fmla="*/ 59 w 69"/>
                <a:gd name="T33" fmla="*/ 2 h 51"/>
                <a:gd name="T34" fmla="*/ 65 w 69"/>
                <a:gd name="T35" fmla="*/ 6 h 51"/>
                <a:gd name="T36" fmla="*/ 68 w 69"/>
                <a:gd name="T37" fmla="*/ 14 h 51"/>
                <a:gd name="T38" fmla="*/ 69 w 69"/>
                <a:gd name="T39" fmla="*/ 23 h 51"/>
                <a:gd name="T40" fmla="*/ 69 w 69"/>
                <a:gd name="T41" fmla="*/ 51 h 51"/>
                <a:gd name="T42" fmla="*/ 57 w 69"/>
                <a:gd name="T43" fmla="*/ 51 h 51"/>
                <a:gd name="T44" fmla="*/ 57 w 69"/>
                <a:gd name="T45" fmla="*/ 25 h 51"/>
                <a:gd name="T46" fmla="*/ 55 w 69"/>
                <a:gd name="T47" fmla="*/ 14 h 51"/>
                <a:gd name="T48" fmla="*/ 48 w 69"/>
                <a:gd name="T49" fmla="*/ 10 h 51"/>
                <a:gd name="T50" fmla="*/ 43 w 69"/>
                <a:gd name="T51" fmla="*/ 11 h 51"/>
                <a:gd name="T52" fmla="*/ 39 w 69"/>
                <a:gd name="T53" fmla="*/ 13 h 51"/>
                <a:gd name="T54" fmla="*/ 40 w 69"/>
                <a:gd name="T55" fmla="*/ 18 h 51"/>
                <a:gd name="T56" fmla="*/ 40 w 69"/>
                <a:gd name="T57" fmla="*/ 24 h 51"/>
                <a:gd name="T58" fmla="*/ 40 w 69"/>
                <a:gd name="T59" fmla="*/ 51 h 51"/>
                <a:gd name="T60" fmla="*/ 29 w 69"/>
                <a:gd name="T61" fmla="*/ 51 h 51"/>
                <a:gd name="T62" fmla="*/ 29 w 69"/>
                <a:gd name="T63" fmla="*/ 25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9" h="51">
                  <a:moveTo>
                    <a:pt x="29" y="25"/>
                  </a:moveTo>
                  <a:cubicBezTo>
                    <a:pt x="29" y="20"/>
                    <a:pt x="28" y="16"/>
                    <a:pt x="27" y="14"/>
                  </a:cubicBezTo>
                  <a:cubicBezTo>
                    <a:pt x="25" y="11"/>
                    <a:pt x="23" y="10"/>
                    <a:pt x="19" y="10"/>
                  </a:cubicBezTo>
                  <a:cubicBezTo>
                    <a:pt x="18" y="10"/>
                    <a:pt x="17" y="10"/>
                    <a:pt x="15" y="10"/>
                  </a:cubicBezTo>
                  <a:cubicBezTo>
                    <a:pt x="13" y="11"/>
                    <a:pt x="12" y="11"/>
                    <a:pt x="12" y="11"/>
                  </a:cubicBezTo>
                  <a:cubicBezTo>
                    <a:pt x="12" y="51"/>
                    <a:pt x="12" y="51"/>
                    <a:pt x="12" y="51"/>
                  </a:cubicBezTo>
                  <a:cubicBezTo>
                    <a:pt x="0" y="51"/>
                    <a:pt x="0" y="51"/>
                    <a:pt x="0" y="51"/>
                  </a:cubicBezTo>
                  <a:cubicBezTo>
                    <a:pt x="0" y="3"/>
                    <a:pt x="0" y="3"/>
                    <a:pt x="0" y="3"/>
                  </a:cubicBezTo>
                  <a:cubicBezTo>
                    <a:pt x="2" y="2"/>
                    <a:pt x="5" y="2"/>
                    <a:pt x="9" y="1"/>
                  </a:cubicBezTo>
                  <a:cubicBezTo>
                    <a:pt x="12" y="0"/>
                    <a:pt x="16" y="0"/>
                    <a:pt x="20" y="0"/>
                  </a:cubicBezTo>
                  <a:cubicBezTo>
                    <a:pt x="24" y="0"/>
                    <a:pt x="26" y="1"/>
                    <a:pt x="29" y="1"/>
                  </a:cubicBezTo>
                  <a:cubicBezTo>
                    <a:pt x="31" y="2"/>
                    <a:pt x="33" y="4"/>
                    <a:pt x="34" y="5"/>
                  </a:cubicBezTo>
                  <a:cubicBezTo>
                    <a:pt x="35" y="4"/>
                    <a:pt x="36" y="4"/>
                    <a:pt x="37" y="3"/>
                  </a:cubicBezTo>
                  <a:cubicBezTo>
                    <a:pt x="38" y="3"/>
                    <a:pt x="39" y="2"/>
                    <a:pt x="41" y="2"/>
                  </a:cubicBezTo>
                  <a:cubicBezTo>
                    <a:pt x="42" y="1"/>
                    <a:pt x="43" y="1"/>
                    <a:pt x="45" y="1"/>
                  </a:cubicBezTo>
                  <a:cubicBezTo>
                    <a:pt x="46" y="0"/>
                    <a:pt x="48" y="0"/>
                    <a:pt x="49" y="0"/>
                  </a:cubicBezTo>
                  <a:cubicBezTo>
                    <a:pt x="53" y="0"/>
                    <a:pt x="56" y="1"/>
                    <a:pt x="59" y="2"/>
                  </a:cubicBezTo>
                  <a:cubicBezTo>
                    <a:pt x="62" y="3"/>
                    <a:pt x="63" y="4"/>
                    <a:pt x="65" y="6"/>
                  </a:cubicBezTo>
                  <a:cubicBezTo>
                    <a:pt x="66" y="9"/>
                    <a:pt x="67" y="11"/>
                    <a:pt x="68" y="14"/>
                  </a:cubicBezTo>
                  <a:cubicBezTo>
                    <a:pt x="68" y="17"/>
                    <a:pt x="69" y="20"/>
                    <a:pt x="69" y="23"/>
                  </a:cubicBezTo>
                  <a:cubicBezTo>
                    <a:pt x="69" y="51"/>
                    <a:pt x="69" y="51"/>
                    <a:pt x="69" y="51"/>
                  </a:cubicBezTo>
                  <a:cubicBezTo>
                    <a:pt x="57" y="51"/>
                    <a:pt x="57" y="51"/>
                    <a:pt x="57" y="51"/>
                  </a:cubicBezTo>
                  <a:cubicBezTo>
                    <a:pt x="57" y="25"/>
                    <a:pt x="57" y="25"/>
                    <a:pt x="57" y="25"/>
                  </a:cubicBezTo>
                  <a:cubicBezTo>
                    <a:pt x="57" y="20"/>
                    <a:pt x="56" y="16"/>
                    <a:pt x="55" y="14"/>
                  </a:cubicBezTo>
                  <a:cubicBezTo>
                    <a:pt x="54" y="11"/>
                    <a:pt x="51" y="10"/>
                    <a:pt x="48" y="10"/>
                  </a:cubicBezTo>
                  <a:cubicBezTo>
                    <a:pt x="46" y="10"/>
                    <a:pt x="44" y="10"/>
                    <a:pt x="43" y="11"/>
                  </a:cubicBezTo>
                  <a:cubicBezTo>
                    <a:pt x="41" y="12"/>
                    <a:pt x="40" y="12"/>
                    <a:pt x="39" y="13"/>
                  </a:cubicBezTo>
                  <a:cubicBezTo>
                    <a:pt x="39" y="14"/>
                    <a:pt x="40" y="16"/>
                    <a:pt x="40" y="18"/>
                  </a:cubicBezTo>
                  <a:cubicBezTo>
                    <a:pt x="40" y="20"/>
                    <a:pt x="40" y="22"/>
                    <a:pt x="40" y="24"/>
                  </a:cubicBezTo>
                  <a:cubicBezTo>
                    <a:pt x="40" y="51"/>
                    <a:pt x="40" y="51"/>
                    <a:pt x="40" y="51"/>
                  </a:cubicBezTo>
                  <a:cubicBezTo>
                    <a:pt x="29" y="51"/>
                    <a:pt x="29" y="51"/>
                    <a:pt x="29" y="51"/>
                  </a:cubicBezTo>
                  <a:lnTo>
                    <a:pt x="29" y="2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7" name="Freeform 12"/>
            <p:cNvSpPr>
              <a:spLocks noEditPoints="1"/>
            </p:cNvSpPr>
            <p:nvPr userDrawn="1"/>
          </p:nvSpPr>
          <p:spPr bwMode="auto">
            <a:xfrm>
              <a:off x="2816000" y="5030484"/>
              <a:ext cx="250825" cy="328613"/>
            </a:xfrm>
            <a:custGeom>
              <a:avLst/>
              <a:gdLst>
                <a:gd name="T0" fmla="*/ 21 w 41"/>
                <a:gd name="T1" fmla="*/ 0 h 52"/>
                <a:gd name="T2" fmla="*/ 30 w 41"/>
                <a:gd name="T3" fmla="*/ 1 h 52"/>
                <a:gd name="T4" fmla="*/ 37 w 41"/>
                <a:gd name="T5" fmla="*/ 5 h 52"/>
                <a:gd name="T6" fmla="*/ 40 w 41"/>
                <a:gd name="T7" fmla="*/ 12 h 52"/>
                <a:gd name="T8" fmla="*/ 41 w 41"/>
                <a:gd name="T9" fmla="*/ 20 h 52"/>
                <a:gd name="T10" fmla="*/ 41 w 41"/>
                <a:gd name="T11" fmla="*/ 50 h 52"/>
                <a:gd name="T12" fmla="*/ 33 w 41"/>
                <a:gd name="T13" fmla="*/ 52 h 52"/>
                <a:gd name="T14" fmla="*/ 21 w 41"/>
                <a:gd name="T15" fmla="*/ 52 h 52"/>
                <a:gd name="T16" fmla="*/ 12 w 41"/>
                <a:gd name="T17" fmla="*/ 52 h 52"/>
                <a:gd name="T18" fmla="*/ 6 w 41"/>
                <a:gd name="T19" fmla="*/ 49 h 52"/>
                <a:gd name="T20" fmla="*/ 2 w 41"/>
                <a:gd name="T21" fmla="*/ 44 h 52"/>
                <a:gd name="T22" fmla="*/ 0 w 41"/>
                <a:gd name="T23" fmla="*/ 36 h 52"/>
                <a:gd name="T24" fmla="*/ 2 w 41"/>
                <a:gd name="T25" fmla="*/ 29 h 52"/>
                <a:gd name="T26" fmla="*/ 7 w 41"/>
                <a:gd name="T27" fmla="*/ 24 h 52"/>
                <a:gd name="T28" fmla="*/ 13 w 41"/>
                <a:gd name="T29" fmla="*/ 21 h 52"/>
                <a:gd name="T30" fmla="*/ 21 w 41"/>
                <a:gd name="T31" fmla="*/ 21 h 52"/>
                <a:gd name="T32" fmla="*/ 25 w 41"/>
                <a:gd name="T33" fmla="*/ 21 h 52"/>
                <a:gd name="T34" fmla="*/ 30 w 41"/>
                <a:gd name="T35" fmla="*/ 22 h 52"/>
                <a:gd name="T36" fmla="*/ 30 w 41"/>
                <a:gd name="T37" fmla="*/ 20 h 52"/>
                <a:gd name="T38" fmla="*/ 29 w 41"/>
                <a:gd name="T39" fmla="*/ 16 h 52"/>
                <a:gd name="T40" fmla="*/ 28 w 41"/>
                <a:gd name="T41" fmla="*/ 13 h 52"/>
                <a:gd name="T42" fmla="*/ 25 w 41"/>
                <a:gd name="T43" fmla="*/ 10 h 52"/>
                <a:gd name="T44" fmla="*/ 20 w 41"/>
                <a:gd name="T45" fmla="*/ 10 h 52"/>
                <a:gd name="T46" fmla="*/ 12 w 41"/>
                <a:gd name="T47" fmla="*/ 10 h 52"/>
                <a:gd name="T48" fmla="*/ 7 w 41"/>
                <a:gd name="T49" fmla="*/ 12 h 52"/>
                <a:gd name="T50" fmla="*/ 5 w 41"/>
                <a:gd name="T51" fmla="*/ 2 h 52"/>
                <a:gd name="T52" fmla="*/ 12 w 41"/>
                <a:gd name="T53" fmla="*/ 1 h 52"/>
                <a:gd name="T54" fmla="*/ 21 w 41"/>
                <a:gd name="T55" fmla="*/ 0 h 52"/>
                <a:gd name="T56" fmla="*/ 22 w 41"/>
                <a:gd name="T57" fmla="*/ 43 h 52"/>
                <a:gd name="T58" fmla="*/ 30 w 41"/>
                <a:gd name="T59" fmla="*/ 43 h 52"/>
                <a:gd name="T60" fmla="*/ 30 w 41"/>
                <a:gd name="T61" fmla="*/ 30 h 52"/>
                <a:gd name="T62" fmla="*/ 27 w 41"/>
                <a:gd name="T63" fmla="*/ 29 h 52"/>
                <a:gd name="T64" fmla="*/ 23 w 41"/>
                <a:gd name="T65" fmla="*/ 29 h 52"/>
                <a:gd name="T66" fmla="*/ 19 w 41"/>
                <a:gd name="T67" fmla="*/ 29 h 52"/>
                <a:gd name="T68" fmla="*/ 16 w 41"/>
                <a:gd name="T69" fmla="*/ 30 h 52"/>
                <a:gd name="T70" fmla="*/ 13 w 41"/>
                <a:gd name="T71" fmla="*/ 32 h 52"/>
                <a:gd name="T72" fmla="*/ 12 w 41"/>
                <a:gd name="T73" fmla="*/ 36 h 52"/>
                <a:gd name="T74" fmla="*/ 15 w 41"/>
                <a:gd name="T75" fmla="*/ 42 h 52"/>
                <a:gd name="T76" fmla="*/ 22 w 41"/>
                <a:gd name="T77" fmla="*/ 4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 h="52">
                  <a:moveTo>
                    <a:pt x="21" y="0"/>
                  </a:moveTo>
                  <a:cubicBezTo>
                    <a:pt x="25" y="0"/>
                    <a:pt x="28" y="0"/>
                    <a:pt x="30" y="1"/>
                  </a:cubicBezTo>
                  <a:cubicBezTo>
                    <a:pt x="33" y="2"/>
                    <a:pt x="35" y="4"/>
                    <a:pt x="37" y="5"/>
                  </a:cubicBezTo>
                  <a:cubicBezTo>
                    <a:pt x="38" y="7"/>
                    <a:pt x="39" y="9"/>
                    <a:pt x="40" y="12"/>
                  </a:cubicBezTo>
                  <a:cubicBezTo>
                    <a:pt x="41" y="14"/>
                    <a:pt x="41" y="17"/>
                    <a:pt x="41" y="20"/>
                  </a:cubicBezTo>
                  <a:cubicBezTo>
                    <a:pt x="41" y="50"/>
                    <a:pt x="41" y="50"/>
                    <a:pt x="41" y="50"/>
                  </a:cubicBezTo>
                  <a:cubicBezTo>
                    <a:pt x="39" y="51"/>
                    <a:pt x="37" y="51"/>
                    <a:pt x="33" y="52"/>
                  </a:cubicBezTo>
                  <a:cubicBezTo>
                    <a:pt x="29" y="52"/>
                    <a:pt x="25" y="52"/>
                    <a:pt x="21" y="52"/>
                  </a:cubicBezTo>
                  <a:cubicBezTo>
                    <a:pt x="18" y="52"/>
                    <a:pt x="15" y="52"/>
                    <a:pt x="12" y="52"/>
                  </a:cubicBezTo>
                  <a:cubicBezTo>
                    <a:pt x="10" y="51"/>
                    <a:pt x="8" y="50"/>
                    <a:pt x="6" y="49"/>
                  </a:cubicBezTo>
                  <a:cubicBezTo>
                    <a:pt x="4" y="47"/>
                    <a:pt x="3" y="46"/>
                    <a:pt x="2" y="44"/>
                  </a:cubicBezTo>
                  <a:cubicBezTo>
                    <a:pt x="1" y="42"/>
                    <a:pt x="0" y="39"/>
                    <a:pt x="0" y="36"/>
                  </a:cubicBezTo>
                  <a:cubicBezTo>
                    <a:pt x="0" y="33"/>
                    <a:pt x="1" y="31"/>
                    <a:pt x="2" y="29"/>
                  </a:cubicBezTo>
                  <a:cubicBezTo>
                    <a:pt x="3" y="27"/>
                    <a:pt x="5" y="25"/>
                    <a:pt x="7" y="24"/>
                  </a:cubicBezTo>
                  <a:cubicBezTo>
                    <a:pt x="9" y="23"/>
                    <a:pt x="11" y="22"/>
                    <a:pt x="13" y="21"/>
                  </a:cubicBezTo>
                  <a:cubicBezTo>
                    <a:pt x="16" y="21"/>
                    <a:pt x="19" y="21"/>
                    <a:pt x="21" y="21"/>
                  </a:cubicBezTo>
                  <a:cubicBezTo>
                    <a:pt x="23" y="21"/>
                    <a:pt x="24" y="21"/>
                    <a:pt x="25" y="21"/>
                  </a:cubicBezTo>
                  <a:cubicBezTo>
                    <a:pt x="27" y="21"/>
                    <a:pt x="28" y="21"/>
                    <a:pt x="30" y="22"/>
                  </a:cubicBezTo>
                  <a:cubicBezTo>
                    <a:pt x="30" y="20"/>
                    <a:pt x="30" y="20"/>
                    <a:pt x="30" y="20"/>
                  </a:cubicBezTo>
                  <a:cubicBezTo>
                    <a:pt x="30" y="18"/>
                    <a:pt x="30" y="17"/>
                    <a:pt x="29" y="16"/>
                  </a:cubicBezTo>
                  <a:cubicBezTo>
                    <a:pt x="29" y="15"/>
                    <a:pt x="28" y="14"/>
                    <a:pt x="28" y="13"/>
                  </a:cubicBezTo>
                  <a:cubicBezTo>
                    <a:pt x="27" y="12"/>
                    <a:pt x="26" y="11"/>
                    <a:pt x="25" y="10"/>
                  </a:cubicBezTo>
                  <a:cubicBezTo>
                    <a:pt x="23" y="10"/>
                    <a:pt x="22" y="10"/>
                    <a:pt x="20" y="10"/>
                  </a:cubicBezTo>
                  <a:cubicBezTo>
                    <a:pt x="17" y="10"/>
                    <a:pt x="14" y="10"/>
                    <a:pt x="12" y="10"/>
                  </a:cubicBezTo>
                  <a:cubicBezTo>
                    <a:pt x="10" y="11"/>
                    <a:pt x="8" y="11"/>
                    <a:pt x="7" y="12"/>
                  </a:cubicBezTo>
                  <a:cubicBezTo>
                    <a:pt x="5" y="2"/>
                    <a:pt x="5" y="2"/>
                    <a:pt x="5" y="2"/>
                  </a:cubicBezTo>
                  <a:cubicBezTo>
                    <a:pt x="7" y="2"/>
                    <a:pt x="9" y="1"/>
                    <a:pt x="12" y="1"/>
                  </a:cubicBezTo>
                  <a:cubicBezTo>
                    <a:pt x="15" y="0"/>
                    <a:pt x="18" y="0"/>
                    <a:pt x="21" y="0"/>
                  </a:cubicBezTo>
                  <a:close/>
                  <a:moveTo>
                    <a:pt x="22" y="43"/>
                  </a:moveTo>
                  <a:cubicBezTo>
                    <a:pt x="25" y="43"/>
                    <a:pt x="28" y="43"/>
                    <a:pt x="30" y="43"/>
                  </a:cubicBezTo>
                  <a:cubicBezTo>
                    <a:pt x="30" y="30"/>
                    <a:pt x="30" y="30"/>
                    <a:pt x="30" y="30"/>
                  </a:cubicBezTo>
                  <a:cubicBezTo>
                    <a:pt x="29" y="30"/>
                    <a:pt x="28" y="29"/>
                    <a:pt x="27" y="29"/>
                  </a:cubicBezTo>
                  <a:cubicBezTo>
                    <a:pt x="26" y="29"/>
                    <a:pt x="24" y="29"/>
                    <a:pt x="23" y="29"/>
                  </a:cubicBezTo>
                  <a:cubicBezTo>
                    <a:pt x="22" y="29"/>
                    <a:pt x="20" y="29"/>
                    <a:pt x="19" y="29"/>
                  </a:cubicBezTo>
                  <a:cubicBezTo>
                    <a:pt x="18" y="29"/>
                    <a:pt x="17" y="30"/>
                    <a:pt x="16" y="30"/>
                  </a:cubicBezTo>
                  <a:cubicBezTo>
                    <a:pt x="15" y="31"/>
                    <a:pt x="14" y="31"/>
                    <a:pt x="13" y="32"/>
                  </a:cubicBezTo>
                  <a:cubicBezTo>
                    <a:pt x="12" y="33"/>
                    <a:pt x="12" y="35"/>
                    <a:pt x="12" y="36"/>
                  </a:cubicBezTo>
                  <a:cubicBezTo>
                    <a:pt x="12" y="39"/>
                    <a:pt x="13" y="41"/>
                    <a:pt x="15" y="42"/>
                  </a:cubicBezTo>
                  <a:cubicBezTo>
                    <a:pt x="16" y="43"/>
                    <a:pt x="19" y="43"/>
                    <a:pt x="22" y="4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8" name="Freeform 13"/>
            <p:cNvSpPr>
              <a:spLocks/>
            </p:cNvSpPr>
            <p:nvPr userDrawn="1"/>
          </p:nvSpPr>
          <p:spPr bwMode="auto">
            <a:xfrm>
              <a:off x="3141437"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5"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5" y="67"/>
                    <a:pt x="12" y="66"/>
                    <a:pt x="9"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9" name="Freeform 14"/>
            <p:cNvSpPr>
              <a:spLocks/>
            </p:cNvSpPr>
            <p:nvPr userDrawn="1"/>
          </p:nvSpPr>
          <p:spPr bwMode="auto">
            <a:xfrm>
              <a:off x="3373212" y="4943171"/>
              <a:ext cx="188913" cy="422275"/>
            </a:xfrm>
            <a:custGeom>
              <a:avLst/>
              <a:gdLst>
                <a:gd name="T0" fmla="*/ 0 w 31"/>
                <a:gd name="T1" fmla="*/ 2 h 67"/>
                <a:gd name="T2" fmla="*/ 12 w 31"/>
                <a:gd name="T3" fmla="*/ 0 h 67"/>
                <a:gd name="T4" fmla="*/ 12 w 31"/>
                <a:gd name="T5" fmla="*/ 15 h 67"/>
                <a:gd name="T6" fmla="*/ 29 w 31"/>
                <a:gd name="T7" fmla="*/ 15 h 67"/>
                <a:gd name="T8" fmla="*/ 29 w 31"/>
                <a:gd name="T9" fmla="*/ 25 h 67"/>
                <a:gd name="T10" fmla="*/ 12 w 31"/>
                <a:gd name="T11" fmla="*/ 25 h 67"/>
                <a:gd name="T12" fmla="*/ 12 w 31"/>
                <a:gd name="T13" fmla="*/ 45 h 67"/>
                <a:gd name="T14" fmla="*/ 14 w 31"/>
                <a:gd name="T15" fmla="*/ 54 h 67"/>
                <a:gd name="T16" fmla="*/ 20 w 31"/>
                <a:gd name="T17" fmla="*/ 57 h 67"/>
                <a:gd name="T18" fmla="*/ 26 w 31"/>
                <a:gd name="T19" fmla="*/ 56 h 67"/>
                <a:gd name="T20" fmla="*/ 30 w 31"/>
                <a:gd name="T21" fmla="*/ 55 h 67"/>
                <a:gd name="T22" fmla="*/ 31 w 31"/>
                <a:gd name="T23" fmla="*/ 64 h 67"/>
                <a:gd name="T24" fmla="*/ 26 w 31"/>
                <a:gd name="T25" fmla="*/ 66 h 67"/>
                <a:gd name="T26" fmla="*/ 19 w 31"/>
                <a:gd name="T27" fmla="*/ 67 h 67"/>
                <a:gd name="T28" fmla="*/ 10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2" y="0"/>
                    <a:pt x="12" y="0"/>
                    <a:pt x="12" y="0"/>
                  </a:cubicBezTo>
                  <a:cubicBezTo>
                    <a:pt x="12" y="15"/>
                    <a:pt x="12" y="15"/>
                    <a:pt x="12" y="15"/>
                  </a:cubicBezTo>
                  <a:cubicBezTo>
                    <a:pt x="29" y="15"/>
                    <a:pt x="29" y="15"/>
                    <a:pt x="29" y="15"/>
                  </a:cubicBezTo>
                  <a:cubicBezTo>
                    <a:pt x="29" y="25"/>
                    <a:pt x="29" y="25"/>
                    <a:pt x="29" y="25"/>
                  </a:cubicBezTo>
                  <a:cubicBezTo>
                    <a:pt x="12" y="25"/>
                    <a:pt x="12" y="25"/>
                    <a:pt x="12" y="25"/>
                  </a:cubicBezTo>
                  <a:cubicBezTo>
                    <a:pt x="12" y="45"/>
                    <a:pt x="12" y="45"/>
                    <a:pt x="12" y="45"/>
                  </a:cubicBezTo>
                  <a:cubicBezTo>
                    <a:pt x="12" y="49"/>
                    <a:pt x="12" y="52"/>
                    <a:pt x="14" y="54"/>
                  </a:cubicBezTo>
                  <a:cubicBezTo>
                    <a:pt x="15" y="56"/>
                    <a:pt x="17" y="57"/>
                    <a:pt x="20" y="57"/>
                  </a:cubicBezTo>
                  <a:cubicBezTo>
                    <a:pt x="22" y="57"/>
                    <a:pt x="24" y="56"/>
                    <a:pt x="26" y="56"/>
                  </a:cubicBezTo>
                  <a:cubicBezTo>
                    <a:pt x="27" y="55"/>
                    <a:pt x="29" y="55"/>
                    <a:pt x="30" y="55"/>
                  </a:cubicBezTo>
                  <a:cubicBezTo>
                    <a:pt x="31" y="64"/>
                    <a:pt x="31" y="64"/>
                    <a:pt x="31" y="64"/>
                  </a:cubicBezTo>
                  <a:cubicBezTo>
                    <a:pt x="30" y="64"/>
                    <a:pt x="28" y="65"/>
                    <a:pt x="26" y="66"/>
                  </a:cubicBezTo>
                  <a:cubicBezTo>
                    <a:pt x="24" y="66"/>
                    <a:pt x="21" y="67"/>
                    <a:pt x="19" y="67"/>
                  </a:cubicBezTo>
                  <a:cubicBezTo>
                    <a:pt x="15" y="67"/>
                    <a:pt x="12" y="66"/>
                    <a:pt x="10"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0" name="Freeform 15"/>
            <p:cNvSpPr>
              <a:spLocks noEditPoints="1"/>
            </p:cNvSpPr>
            <p:nvPr userDrawn="1"/>
          </p:nvSpPr>
          <p:spPr bwMode="auto">
            <a:xfrm>
              <a:off x="3587525" y="5030484"/>
              <a:ext cx="274638" cy="334963"/>
            </a:xfrm>
            <a:custGeom>
              <a:avLst/>
              <a:gdLst>
                <a:gd name="T0" fmla="*/ 0 w 45"/>
                <a:gd name="T1" fmla="*/ 27 h 53"/>
                <a:gd name="T2" fmla="*/ 2 w 45"/>
                <a:gd name="T3" fmla="*/ 15 h 53"/>
                <a:gd name="T4" fmla="*/ 7 w 45"/>
                <a:gd name="T5" fmla="*/ 7 h 53"/>
                <a:gd name="T6" fmla="*/ 15 w 45"/>
                <a:gd name="T7" fmla="*/ 2 h 53"/>
                <a:gd name="T8" fmla="*/ 23 w 45"/>
                <a:gd name="T9" fmla="*/ 0 h 53"/>
                <a:gd name="T10" fmla="*/ 40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1 w 45"/>
                <a:gd name="T27" fmla="*/ 40 h 53"/>
                <a:gd name="T28" fmla="*/ 42 w 45"/>
                <a:gd name="T29" fmla="*/ 50 h 53"/>
                <a:gd name="T30" fmla="*/ 40 w 45"/>
                <a:gd name="T31" fmla="*/ 51 h 53"/>
                <a:gd name="T32" fmla="*/ 36 w 45"/>
                <a:gd name="T33" fmla="*/ 52 h 53"/>
                <a:gd name="T34" fmla="*/ 31 w 45"/>
                <a:gd name="T35" fmla="*/ 52 h 53"/>
                <a:gd name="T36" fmla="*/ 26 w 45"/>
                <a:gd name="T37" fmla="*/ 53 h 53"/>
                <a:gd name="T38" fmla="*/ 14 w 45"/>
                <a:gd name="T39" fmla="*/ 51 h 53"/>
                <a:gd name="T40" fmla="*/ 6 w 45"/>
                <a:gd name="T41" fmla="*/ 45 h 53"/>
                <a:gd name="T42" fmla="*/ 2 w 45"/>
                <a:gd name="T43" fmla="*/ 37 h 53"/>
                <a:gd name="T44" fmla="*/ 0 w 45"/>
                <a:gd name="T45" fmla="*/ 27 h 53"/>
                <a:gd name="T46" fmla="*/ 34 w 45"/>
                <a:gd name="T47" fmla="*/ 21 h 53"/>
                <a:gd name="T48" fmla="*/ 33 w 45"/>
                <a:gd name="T49" fmla="*/ 17 h 53"/>
                <a:gd name="T50" fmla="*/ 31 w 45"/>
                <a:gd name="T51" fmla="*/ 13 h 53"/>
                <a:gd name="T52" fmla="*/ 28 w 45"/>
                <a:gd name="T53" fmla="*/ 11 h 53"/>
                <a:gd name="T54" fmla="*/ 24 w 45"/>
                <a:gd name="T55" fmla="*/ 10 h 53"/>
                <a:gd name="T56" fmla="*/ 19 w 45"/>
                <a:gd name="T57" fmla="*/ 11 h 53"/>
                <a:gd name="T58" fmla="*/ 15 w 45"/>
                <a:gd name="T59" fmla="*/ 13 h 53"/>
                <a:gd name="T60" fmla="*/ 13 w 45"/>
                <a:gd name="T61" fmla="*/ 17 h 53"/>
                <a:gd name="T62" fmla="*/ 12 w 45"/>
                <a:gd name="T63" fmla="*/ 21 h 53"/>
                <a:gd name="T64" fmla="*/ 34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1" y="18"/>
                    <a:pt x="2" y="15"/>
                  </a:cubicBezTo>
                  <a:cubicBezTo>
                    <a:pt x="3" y="12"/>
                    <a:pt x="5" y="9"/>
                    <a:pt x="7" y="7"/>
                  </a:cubicBezTo>
                  <a:cubicBezTo>
                    <a:pt x="9" y="4"/>
                    <a:pt x="12" y="3"/>
                    <a:pt x="15" y="2"/>
                  </a:cubicBezTo>
                  <a:cubicBezTo>
                    <a:pt x="18" y="0"/>
                    <a:pt x="21" y="0"/>
                    <a:pt x="23" y="0"/>
                  </a:cubicBezTo>
                  <a:cubicBezTo>
                    <a:pt x="30" y="0"/>
                    <a:pt x="36" y="2"/>
                    <a:pt x="40" y="6"/>
                  </a:cubicBezTo>
                  <a:cubicBezTo>
                    <a:pt x="44"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3" y="43"/>
                    <a:pt x="27" y="43"/>
                  </a:cubicBezTo>
                  <a:cubicBezTo>
                    <a:pt x="30" y="43"/>
                    <a:pt x="33" y="42"/>
                    <a:pt x="35" y="42"/>
                  </a:cubicBezTo>
                  <a:cubicBezTo>
                    <a:pt x="37" y="41"/>
                    <a:pt x="39" y="41"/>
                    <a:pt x="41" y="40"/>
                  </a:cubicBezTo>
                  <a:cubicBezTo>
                    <a:pt x="42" y="50"/>
                    <a:pt x="42" y="50"/>
                    <a:pt x="42" y="50"/>
                  </a:cubicBezTo>
                  <a:cubicBezTo>
                    <a:pt x="42" y="50"/>
                    <a:pt x="41" y="50"/>
                    <a:pt x="40" y="51"/>
                  </a:cubicBezTo>
                  <a:cubicBezTo>
                    <a:pt x="38" y="51"/>
                    <a:pt x="37" y="51"/>
                    <a:pt x="36" y="52"/>
                  </a:cubicBezTo>
                  <a:cubicBezTo>
                    <a:pt x="34" y="52"/>
                    <a:pt x="33" y="52"/>
                    <a:pt x="31" y="52"/>
                  </a:cubicBezTo>
                  <a:cubicBezTo>
                    <a:pt x="29" y="53"/>
                    <a:pt x="28" y="53"/>
                    <a:pt x="26" y="53"/>
                  </a:cubicBezTo>
                  <a:cubicBezTo>
                    <a:pt x="22" y="53"/>
                    <a:pt x="18" y="52"/>
                    <a:pt x="14" y="51"/>
                  </a:cubicBezTo>
                  <a:cubicBezTo>
                    <a:pt x="11" y="49"/>
                    <a:pt x="8" y="48"/>
                    <a:pt x="6" y="45"/>
                  </a:cubicBezTo>
                  <a:cubicBezTo>
                    <a:pt x="4" y="43"/>
                    <a:pt x="3" y="40"/>
                    <a:pt x="2" y="37"/>
                  </a:cubicBezTo>
                  <a:cubicBezTo>
                    <a:pt x="1" y="34"/>
                    <a:pt x="0" y="30"/>
                    <a:pt x="0" y="27"/>
                  </a:cubicBezTo>
                  <a:close/>
                  <a:moveTo>
                    <a:pt x="34" y="21"/>
                  </a:moveTo>
                  <a:cubicBezTo>
                    <a:pt x="34" y="20"/>
                    <a:pt x="34" y="18"/>
                    <a:pt x="33" y="17"/>
                  </a:cubicBezTo>
                  <a:cubicBezTo>
                    <a:pt x="33" y="15"/>
                    <a:pt x="32" y="14"/>
                    <a:pt x="31" y="13"/>
                  </a:cubicBezTo>
                  <a:cubicBezTo>
                    <a:pt x="30" y="12"/>
                    <a:pt x="29" y="11"/>
                    <a:pt x="28" y="11"/>
                  </a:cubicBezTo>
                  <a:cubicBezTo>
                    <a:pt x="27" y="10"/>
                    <a:pt x="25" y="10"/>
                    <a:pt x="24" y="10"/>
                  </a:cubicBezTo>
                  <a:cubicBezTo>
                    <a:pt x="22" y="10"/>
                    <a:pt x="20" y="10"/>
                    <a:pt x="19" y="11"/>
                  </a:cubicBezTo>
                  <a:cubicBezTo>
                    <a:pt x="18" y="11"/>
                    <a:pt x="16" y="12"/>
                    <a:pt x="15" y="13"/>
                  </a:cubicBezTo>
                  <a:cubicBezTo>
                    <a:pt x="15" y="14"/>
                    <a:pt x="14" y="16"/>
                    <a:pt x="13" y="17"/>
                  </a:cubicBezTo>
                  <a:cubicBezTo>
                    <a:pt x="13" y="18"/>
                    <a:pt x="12" y="20"/>
                    <a:pt x="12" y="21"/>
                  </a:cubicBezTo>
                  <a:lnTo>
                    <a:pt x="34"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1" name="Freeform 16"/>
            <p:cNvSpPr>
              <a:spLocks/>
            </p:cNvSpPr>
            <p:nvPr userDrawn="1"/>
          </p:nvSpPr>
          <p:spPr bwMode="auto">
            <a:xfrm>
              <a:off x="3928837" y="5030484"/>
              <a:ext cx="184150" cy="322263"/>
            </a:xfrm>
            <a:custGeom>
              <a:avLst/>
              <a:gdLst>
                <a:gd name="T0" fmla="*/ 28 w 30"/>
                <a:gd name="T1" fmla="*/ 12 h 51"/>
                <a:gd name="T2" fmla="*/ 24 w 30"/>
                <a:gd name="T3" fmla="*/ 11 h 51"/>
                <a:gd name="T4" fmla="*/ 19 w 30"/>
                <a:gd name="T5" fmla="*/ 10 h 51"/>
                <a:gd name="T6" fmla="*/ 14 w 30"/>
                <a:gd name="T7" fmla="*/ 10 h 51"/>
                <a:gd name="T8" fmla="*/ 11 w 30"/>
                <a:gd name="T9" fmla="*/ 11 h 51"/>
                <a:gd name="T10" fmla="*/ 11 w 30"/>
                <a:gd name="T11" fmla="*/ 51 h 51"/>
                <a:gd name="T12" fmla="*/ 0 w 30"/>
                <a:gd name="T13" fmla="*/ 51 h 51"/>
                <a:gd name="T14" fmla="*/ 0 w 30"/>
                <a:gd name="T15" fmla="*/ 4 h 51"/>
                <a:gd name="T16" fmla="*/ 8 w 30"/>
                <a:gd name="T17" fmla="*/ 1 h 51"/>
                <a:gd name="T18" fmla="*/ 19 w 30"/>
                <a:gd name="T19" fmla="*/ 0 h 51"/>
                <a:gd name="T20" fmla="*/ 22 w 30"/>
                <a:gd name="T21" fmla="*/ 0 h 51"/>
                <a:gd name="T22" fmla="*/ 25 w 30"/>
                <a:gd name="T23" fmla="*/ 1 h 51"/>
                <a:gd name="T24" fmla="*/ 28 w 30"/>
                <a:gd name="T25" fmla="*/ 1 h 51"/>
                <a:gd name="T26" fmla="*/ 30 w 30"/>
                <a:gd name="T27" fmla="*/ 2 h 51"/>
                <a:gd name="T28" fmla="*/ 28 w 30"/>
                <a:gd name="T29" fmla="*/ 1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 h="51">
                  <a:moveTo>
                    <a:pt x="28" y="12"/>
                  </a:moveTo>
                  <a:cubicBezTo>
                    <a:pt x="27" y="11"/>
                    <a:pt x="26" y="11"/>
                    <a:pt x="24" y="11"/>
                  </a:cubicBezTo>
                  <a:cubicBezTo>
                    <a:pt x="23" y="10"/>
                    <a:pt x="21" y="10"/>
                    <a:pt x="19" y="10"/>
                  </a:cubicBezTo>
                  <a:cubicBezTo>
                    <a:pt x="17" y="10"/>
                    <a:pt x="16" y="10"/>
                    <a:pt x="14" y="10"/>
                  </a:cubicBezTo>
                  <a:cubicBezTo>
                    <a:pt x="13" y="11"/>
                    <a:pt x="12" y="11"/>
                    <a:pt x="11" y="11"/>
                  </a:cubicBezTo>
                  <a:cubicBezTo>
                    <a:pt x="11" y="51"/>
                    <a:pt x="11" y="51"/>
                    <a:pt x="11" y="51"/>
                  </a:cubicBezTo>
                  <a:cubicBezTo>
                    <a:pt x="0" y="51"/>
                    <a:pt x="0" y="51"/>
                    <a:pt x="0" y="51"/>
                  </a:cubicBezTo>
                  <a:cubicBezTo>
                    <a:pt x="0" y="4"/>
                    <a:pt x="0" y="4"/>
                    <a:pt x="0" y="4"/>
                  </a:cubicBezTo>
                  <a:cubicBezTo>
                    <a:pt x="2" y="3"/>
                    <a:pt x="5" y="2"/>
                    <a:pt x="8" y="1"/>
                  </a:cubicBezTo>
                  <a:cubicBezTo>
                    <a:pt x="12" y="0"/>
                    <a:pt x="15" y="0"/>
                    <a:pt x="19" y="0"/>
                  </a:cubicBezTo>
                  <a:cubicBezTo>
                    <a:pt x="20" y="0"/>
                    <a:pt x="21" y="0"/>
                    <a:pt x="22" y="0"/>
                  </a:cubicBezTo>
                  <a:cubicBezTo>
                    <a:pt x="23" y="0"/>
                    <a:pt x="24" y="0"/>
                    <a:pt x="25" y="1"/>
                  </a:cubicBezTo>
                  <a:cubicBezTo>
                    <a:pt x="26" y="1"/>
                    <a:pt x="27" y="1"/>
                    <a:pt x="28" y="1"/>
                  </a:cubicBezTo>
                  <a:cubicBezTo>
                    <a:pt x="29" y="1"/>
                    <a:pt x="30" y="2"/>
                    <a:pt x="30" y="2"/>
                  </a:cubicBezTo>
                  <a:lnTo>
                    <a:pt x="28" y="1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2" name="Freeform 17"/>
            <p:cNvSpPr>
              <a:spLocks/>
            </p:cNvSpPr>
            <p:nvPr userDrawn="1"/>
          </p:nvSpPr>
          <p:spPr bwMode="auto">
            <a:xfrm>
              <a:off x="4100287" y="5276546"/>
              <a:ext cx="98425" cy="176213"/>
            </a:xfrm>
            <a:custGeom>
              <a:avLst/>
              <a:gdLst>
                <a:gd name="T0" fmla="*/ 16 w 16"/>
                <a:gd name="T1" fmla="*/ 0 h 28"/>
                <a:gd name="T2" fmla="*/ 16 w 16"/>
                <a:gd name="T3" fmla="*/ 2 h 28"/>
                <a:gd name="T4" fmla="*/ 16 w 16"/>
                <a:gd name="T5" fmla="*/ 4 h 28"/>
                <a:gd name="T6" fmla="*/ 14 w 16"/>
                <a:gd name="T7" fmla="*/ 16 h 28"/>
                <a:gd name="T8" fmla="*/ 9 w 16"/>
                <a:gd name="T9" fmla="*/ 28 h 28"/>
                <a:gd name="T10" fmla="*/ 0 w 16"/>
                <a:gd name="T11" fmla="*/ 25 h 28"/>
                <a:gd name="T12" fmla="*/ 3 w 16"/>
                <a:gd name="T13" fmla="*/ 14 h 28"/>
                <a:gd name="T14" fmla="*/ 4 w 16"/>
                <a:gd name="T15" fmla="*/ 5 h 28"/>
                <a:gd name="T16" fmla="*/ 4 w 16"/>
                <a:gd name="T17" fmla="*/ 2 h 28"/>
                <a:gd name="T18" fmla="*/ 4 w 16"/>
                <a:gd name="T19" fmla="*/ 0 h 28"/>
                <a:gd name="T20" fmla="*/ 16 w 16"/>
                <a:gd name="T21"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 h="28">
                  <a:moveTo>
                    <a:pt x="16" y="0"/>
                  </a:moveTo>
                  <a:cubicBezTo>
                    <a:pt x="16" y="1"/>
                    <a:pt x="16" y="1"/>
                    <a:pt x="16" y="2"/>
                  </a:cubicBezTo>
                  <a:cubicBezTo>
                    <a:pt x="16" y="3"/>
                    <a:pt x="16" y="3"/>
                    <a:pt x="16" y="4"/>
                  </a:cubicBezTo>
                  <a:cubicBezTo>
                    <a:pt x="16" y="8"/>
                    <a:pt x="15" y="12"/>
                    <a:pt x="14" y="16"/>
                  </a:cubicBezTo>
                  <a:cubicBezTo>
                    <a:pt x="13" y="20"/>
                    <a:pt x="11" y="24"/>
                    <a:pt x="9" y="28"/>
                  </a:cubicBezTo>
                  <a:cubicBezTo>
                    <a:pt x="0" y="25"/>
                    <a:pt x="0" y="25"/>
                    <a:pt x="0" y="25"/>
                  </a:cubicBezTo>
                  <a:cubicBezTo>
                    <a:pt x="1" y="22"/>
                    <a:pt x="2" y="18"/>
                    <a:pt x="3" y="14"/>
                  </a:cubicBezTo>
                  <a:cubicBezTo>
                    <a:pt x="3" y="11"/>
                    <a:pt x="4" y="8"/>
                    <a:pt x="4" y="5"/>
                  </a:cubicBezTo>
                  <a:cubicBezTo>
                    <a:pt x="4" y="4"/>
                    <a:pt x="4" y="3"/>
                    <a:pt x="4" y="2"/>
                  </a:cubicBezTo>
                  <a:cubicBezTo>
                    <a:pt x="4" y="1"/>
                    <a:pt x="4" y="0"/>
                    <a:pt x="4" y="0"/>
                  </a:cubicBezTo>
                  <a:lnTo>
                    <a:pt x="16"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3" name="Freeform 18"/>
            <p:cNvSpPr>
              <a:spLocks/>
            </p:cNvSpPr>
            <p:nvPr userDrawn="1"/>
          </p:nvSpPr>
          <p:spPr bwMode="auto">
            <a:xfrm>
              <a:off x="4393975" y="5030484"/>
              <a:ext cx="188913" cy="322263"/>
            </a:xfrm>
            <a:custGeom>
              <a:avLst/>
              <a:gdLst>
                <a:gd name="T0" fmla="*/ 29 w 31"/>
                <a:gd name="T1" fmla="*/ 12 h 51"/>
                <a:gd name="T2" fmla="*/ 25 w 31"/>
                <a:gd name="T3" fmla="*/ 11 h 51"/>
                <a:gd name="T4" fmla="*/ 19 w 31"/>
                <a:gd name="T5" fmla="*/ 10 h 51"/>
                <a:gd name="T6" fmla="*/ 15 w 31"/>
                <a:gd name="T7" fmla="*/ 10 h 51"/>
                <a:gd name="T8" fmla="*/ 12 w 31"/>
                <a:gd name="T9" fmla="*/ 11 h 51"/>
                <a:gd name="T10" fmla="*/ 12 w 31"/>
                <a:gd name="T11" fmla="*/ 51 h 51"/>
                <a:gd name="T12" fmla="*/ 0 w 31"/>
                <a:gd name="T13" fmla="*/ 51 h 51"/>
                <a:gd name="T14" fmla="*/ 0 w 31"/>
                <a:gd name="T15" fmla="*/ 4 h 51"/>
                <a:gd name="T16" fmla="*/ 9 w 31"/>
                <a:gd name="T17" fmla="*/ 1 h 51"/>
                <a:gd name="T18" fmla="*/ 20 w 31"/>
                <a:gd name="T19" fmla="*/ 0 h 51"/>
                <a:gd name="T20" fmla="*/ 22 w 31"/>
                <a:gd name="T21" fmla="*/ 0 h 51"/>
                <a:gd name="T22" fmla="*/ 25 w 31"/>
                <a:gd name="T23" fmla="*/ 1 h 51"/>
                <a:gd name="T24" fmla="*/ 28 w 31"/>
                <a:gd name="T25" fmla="*/ 1 h 51"/>
                <a:gd name="T26" fmla="*/ 31 w 31"/>
                <a:gd name="T27" fmla="*/ 2 h 51"/>
                <a:gd name="T28" fmla="*/ 29 w 31"/>
                <a:gd name="T29" fmla="*/ 1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1" h="51">
                  <a:moveTo>
                    <a:pt x="29" y="12"/>
                  </a:moveTo>
                  <a:cubicBezTo>
                    <a:pt x="28" y="11"/>
                    <a:pt x="26" y="11"/>
                    <a:pt x="25" y="11"/>
                  </a:cubicBezTo>
                  <a:cubicBezTo>
                    <a:pt x="23" y="10"/>
                    <a:pt x="21" y="10"/>
                    <a:pt x="19" y="10"/>
                  </a:cubicBezTo>
                  <a:cubicBezTo>
                    <a:pt x="18" y="10"/>
                    <a:pt x="16" y="10"/>
                    <a:pt x="15" y="10"/>
                  </a:cubicBezTo>
                  <a:cubicBezTo>
                    <a:pt x="13" y="11"/>
                    <a:pt x="12" y="11"/>
                    <a:pt x="12" y="11"/>
                  </a:cubicBezTo>
                  <a:cubicBezTo>
                    <a:pt x="12" y="51"/>
                    <a:pt x="12" y="51"/>
                    <a:pt x="12" y="51"/>
                  </a:cubicBezTo>
                  <a:cubicBezTo>
                    <a:pt x="0" y="51"/>
                    <a:pt x="0" y="51"/>
                    <a:pt x="0" y="51"/>
                  </a:cubicBezTo>
                  <a:cubicBezTo>
                    <a:pt x="0" y="4"/>
                    <a:pt x="0" y="4"/>
                    <a:pt x="0" y="4"/>
                  </a:cubicBezTo>
                  <a:cubicBezTo>
                    <a:pt x="2" y="3"/>
                    <a:pt x="5" y="2"/>
                    <a:pt x="9" y="1"/>
                  </a:cubicBezTo>
                  <a:cubicBezTo>
                    <a:pt x="12" y="0"/>
                    <a:pt x="16" y="0"/>
                    <a:pt x="20" y="0"/>
                  </a:cubicBezTo>
                  <a:cubicBezTo>
                    <a:pt x="20" y="0"/>
                    <a:pt x="21" y="0"/>
                    <a:pt x="22" y="0"/>
                  </a:cubicBezTo>
                  <a:cubicBezTo>
                    <a:pt x="23" y="0"/>
                    <a:pt x="24" y="0"/>
                    <a:pt x="25" y="1"/>
                  </a:cubicBezTo>
                  <a:cubicBezTo>
                    <a:pt x="26" y="1"/>
                    <a:pt x="27" y="1"/>
                    <a:pt x="28" y="1"/>
                  </a:cubicBezTo>
                  <a:cubicBezTo>
                    <a:pt x="29" y="1"/>
                    <a:pt x="30" y="2"/>
                    <a:pt x="31" y="2"/>
                  </a:cubicBezTo>
                  <a:lnTo>
                    <a:pt x="29" y="1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4" name="Freeform 19"/>
            <p:cNvSpPr>
              <a:spLocks noEditPoints="1"/>
            </p:cNvSpPr>
            <p:nvPr userDrawn="1"/>
          </p:nvSpPr>
          <p:spPr bwMode="auto">
            <a:xfrm>
              <a:off x="4601938" y="5030484"/>
              <a:ext cx="274638" cy="334963"/>
            </a:xfrm>
            <a:custGeom>
              <a:avLst/>
              <a:gdLst>
                <a:gd name="T0" fmla="*/ 0 w 45"/>
                <a:gd name="T1" fmla="*/ 27 h 53"/>
                <a:gd name="T2" fmla="*/ 2 w 45"/>
                <a:gd name="T3" fmla="*/ 15 h 53"/>
                <a:gd name="T4" fmla="*/ 7 w 45"/>
                <a:gd name="T5" fmla="*/ 7 h 53"/>
                <a:gd name="T6" fmla="*/ 15 w 45"/>
                <a:gd name="T7" fmla="*/ 2 h 53"/>
                <a:gd name="T8" fmla="*/ 23 w 45"/>
                <a:gd name="T9" fmla="*/ 0 h 53"/>
                <a:gd name="T10" fmla="*/ 40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1 w 45"/>
                <a:gd name="T27" fmla="*/ 40 h 53"/>
                <a:gd name="T28" fmla="*/ 42 w 45"/>
                <a:gd name="T29" fmla="*/ 50 h 53"/>
                <a:gd name="T30" fmla="*/ 40 w 45"/>
                <a:gd name="T31" fmla="*/ 51 h 53"/>
                <a:gd name="T32" fmla="*/ 36 w 45"/>
                <a:gd name="T33" fmla="*/ 52 h 53"/>
                <a:gd name="T34" fmla="*/ 31 w 45"/>
                <a:gd name="T35" fmla="*/ 52 h 53"/>
                <a:gd name="T36" fmla="*/ 26 w 45"/>
                <a:gd name="T37" fmla="*/ 53 h 53"/>
                <a:gd name="T38" fmla="*/ 14 w 45"/>
                <a:gd name="T39" fmla="*/ 51 h 53"/>
                <a:gd name="T40" fmla="*/ 6 w 45"/>
                <a:gd name="T41" fmla="*/ 45 h 53"/>
                <a:gd name="T42" fmla="*/ 2 w 45"/>
                <a:gd name="T43" fmla="*/ 37 h 53"/>
                <a:gd name="T44" fmla="*/ 0 w 45"/>
                <a:gd name="T45" fmla="*/ 27 h 53"/>
                <a:gd name="T46" fmla="*/ 34 w 45"/>
                <a:gd name="T47" fmla="*/ 21 h 53"/>
                <a:gd name="T48" fmla="*/ 33 w 45"/>
                <a:gd name="T49" fmla="*/ 17 h 53"/>
                <a:gd name="T50" fmla="*/ 31 w 45"/>
                <a:gd name="T51" fmla="*/ 13 h 53"/>
                <a:gd name="T52" fmla="*/ 28 w 45"/>
                <a:gd name="T53" fmla="*/ 11 h 53"/>
                <a:gd name="T54" fmla="*/ 24 w 45"/>
                <a:gd name="T55" fmla="*/ 10 h 53"/>
                <a:gd name="T56" fmla="*/ 19 w 45"/>
                <a:gd name="T57" fmla="*/ 11 h 53"/>
                <a:gd name="T58" fmla="*/ 15 w 45"/>
                <a:gd name="T59" fmla="*/ 13 h 53"/>
                <a:gd name="T60" fmla="*/ 13 w 45"/>
                <a:gd name="T61" fmla="*/ 17 h 53"/>
                <a:gd name="T62" fmla="*/ 12 w 45"/>
                <a:gd name="T63" fmla="*/ 21 h 53"/>
                <a:gd name="T64" fmla="*/ 34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1" y="18"/>
                    <a:pt x="2" y="15"/>
                  </a:cubicBezTo>
                  <a:cubicBezTo>
                    <a:pt x="3" y="12"/>
                    <a:pt x="5" y="9"/>
                    <a:pt x="7" y="7"/>
                  </a:cubicBezTo>
                  <a:cubicBezTo>
                    <a:pt x="9" y="4"/>
                    <a:pt x="12" y="3"/>
                    <a:pt x="15" y="2"/>
                  </a:cubicBezTo>
                  <a:cubicBezTo>
                    <a:pt x="18" y="0"/>
                    <a:pt x="20" y="0"/>
                    <a:pt x="23" y="0"/>
                  </a:cubicBezTo>
                  <a:cubicBezTo>
                    <a:pt x="30" y="0"/>
                    <a:pt x="36" y="2"/>
                    <a:pt x="40" y="6"/>
                  </a:cubicBezTo>
                  <a:cubicBezTo>
                    <a:pt x="43"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3" y="43"/>
                    <a:pt x="27" y="43"/>
                  </a:cubicBezTo>
                  <a:cubicBezTo>
                    <a:pt x="30" y="43"/>
                    <a:pt x="33" y="42"/>
                    <a:pt x="35" y="42"/>
                  </a:cubicBezTo>
                  <a:cubicBezTo>
                    <a:pt x="37" y="41"/>
                    <a:pt x="39" y="41"/>
                    <a:pt x="41" y="40"/>
                  </a:cubicBezTo>
                  <a:cubicBezTo>
                    <a:pt x="42" y="50"/>
                    <a:pt x="42" y="50"/>
                    <a:pt x="42" y="50"/>
                  </a:cubicBezTo>
                  <a:cubicBezTo>
                    <a:pt x="42" y="50"/>
                    <a:pt x="41" y="50"/>
                    <a:pt x="40" y="51"/>
                  </a:cubicBezTo>
                  <a:cubicBezTo>
                    <a:pt x="38" y="51"/>
                    <a:pt x="37" y="51"/>
                    <a:pt x="36" y="52"/>
                  </a:cubicBezTo>
                  <a:cubicBezTo>
                    <a:pt x="34" y="52"/>
                    <a:pt x="33" y="52"/>
                    <a:pt x="31" y="52"/>
                  </a:cubicBezTo>
                  <a:cubicBezTo>
                    <a:pt x="29" y="53"/>
                    <a:pt x="28" y="53"/>
                    <a:pt x="26" y="53"/>
                  </a:cubicBezTo>
                  <a:cubicBezTo>
                    <a:pt x="22" y="53"/>
                    <a:pt x="18" y="52"/>
                    <a:pt x="14" y="51"/>
                  </a:cubicBezTo>
                  <a:cubicBezTo>
                    <a:pt x="11" y="49"/>
                    <a:pt x="8" y="48"/>
                    <a:pt x="6" y="45"/>
                  </a:cubicBezTo>
                  <a:cubicBezTo>
                    <a:pt x="4" y="43"/>
                    <a:pt x="3" y="40"/>
                    <a:pt x="2" y="37"/>
                  </a:cubicBezTo>
                  <a:cubicBezTo>
                    <a:pt x="1" y="34"/>
                    <a:pt x="0" y="30"/>
                    <a:pt x="0" y="27"/>
                  </a:cubicBezTo>
                  <a:close/>
                  <a:moveTo>
                    <a:pt x="34" y="21"/>
                  </a:moveTo>
                  <a:cubicBezTo>
                    <a:pt x="34" y="20"/>
                    <a:pt x="34" y="18"/>
                    <a:pt x="33" y="17"/>
                  </a:cubicBezTo>
                  <a:cubicBezTo>
                    <a:pt x="33" y="15"/>
                    <a:pt x="32" y="14"/>
                    <a:pt x="31" y="13"/>
                  </a:cubicBezTo>
                  <a:cubicBezTo>
                    <a:pt x="30" y="12"/>
                    <a:pt x="29" y="11"/>
                    <a:pt x="28" y="11"/>
                  </a:cubicBezTo>
                  <a:cubicBezTo>
                    <a:pt x="27" y="10"/>
                    <a:pt x="25" y="10"/>
                    <a:pt x="24" y="10"/>
                  </a:cubicBezTo>
                  <a:cubicBezTo>
                    <a:pt x="22" y="10"/>
                    <a:pt x="20" y="10"/>
                    <a:pt x="19" y="11"/>
                  </a:cubicBezTo>
                  <a:cubicBezTo>
                    <a:pt x="17" y="11"/>
                    <a:pt x="16" y="12"/>
                    <a:pt x="15" y="13"/>
                  </a:cubicBezTo>
                  <a:cubicBezTo>
                    <a:pt x="14" y="14"/>
                    <a:pt x="14" y="16"/>
                    <a:pt x="13" y="17"/>
                  </a:cubicBezTo>
                  <a:cubicBezTo>
                    <a:pt x="13" y="18"/>
                    <a:pt x="12" y="20"/>
                    <a:pt x="12" y="21"/>
                  </a:cubicBezTo>
                  <a:lnTo>
                    <a:pt x="34"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5" name="Freeform 20"/>
            <p:cNvSpPr>
              <a:spLocks/>
            </p:cNvSpPr>
            <p:nvPr userDrawn="1"/>
          </p:nvSpPr>
          <p:spPr bwMode="auto">
            <a:xfrm>
              <a:off x="4919438" y="5030484"/>
              <a:ext cx="227013" cy="334963"/>
            </a:xfrm>
            <a:custGeom>
              <a:avLst/>
              <a:gdLst>
                <a:gd name="T0" fmla="*/ 16 w 37"/>
                <a:gd name="T1" fmla="*/ 43 h 53"/>
                <a:gd name="T2" fmla="*/ 23 w 37"/>
                <a:gd name="T3" fmla="*/ 42 h 53"/>
                <a:gd name="T4" fmla="*/ 25 w 37"/>
                <a:gd name="T5" fmla="*/ 38 h 53"/>
                <a:gd name="T6" fmla="*/ 23 w 37"/>
                <a:gd name="T7" fmla="*/ 34 h 53"/>
                <a:gd name="T8" fmla="*/ 15 w 37"/>
                <a:gd name="T9" fmla="*/ 30 h 53"/>
                <a:gd name="T10" fmla="*/ 10 w 37"/>
                <a:gd name="T11" fmla="*/ 28 h 53"/>
                <a:gd name="T12" fmla="*/ 5 w 37"/>
                <a:gd name="T13" fmla="*/ 25 h 53"/>
                <a:gd name="T14" fmla="*/ 2 w 37"/>
                <a:gd name="T15" fmla="*/ 21 h 53"/>
                <a:gd name="T16" fmla="*/ 1 w 37"/>
                <a:gd name="T17" fmla="*/ 15 h 53"/>
                <a:gd name="T18" fmla="*/ 6 w 37"/>
                <a:gd name="T19" fmla="*/ 4 h 53"/>
                <a:gd name="T20" fmla="*/ 20 w 37"/>
                <a:gd name="T21" fmla="*/ 0 h 53"/>
                <a:gd name="T22" fmla="*/ 28 w 37"/>
                <a:gd name="T23" fmla="*/ 1 h 53"/>
                <a:gd name="T24" fmla="*/ 34 w 37"/>
                <a:gd name="T25" fmla="*/ 2 h 53"/>
                <a:gd name="T26" fmla="*/ 32 w 37"/>
                <a:gd name="T27" fmla="*/ 12 h 53"/>
                <a:gd name="T28" fmla="*/ 27 w 37"/>
                <a:gd name="T29" fmla="*/ 10 h 53"/>
                <a:gd name="T30" fmla="*/ 20 w 37"/>
                <a:gd name="T31" fmla="*/ 9 h 53"/>
                <a:gd name="T32" fmla="*/ 15 w 37"/>
                <a:gd name="T33" fmla="*/ 11 h 53"/>
                <a:gd name="T34" fmla="*/ 13 w 37"/>
                <a:gd name="T35" fmla="*/ 14 h 53"/>
                <a:gd name="T36" fmla="*/ 13 w 37"/>
                <a:gd name="T37" fmla="*/ 17 h 53"/>
                <a:gd name="T38" fmla="*/ 14 w 37"/>
                <a:gd name="T39" fmla="*/ 18 h 53"/>
                <a:gd name="T40" fmla="*/ 17 w 37"/>
                <a:gd name="T41" fmla="*/ 20 h 53"/>
                <a:gd name="T42" fmla="*/ 21 w 37"/>
                <a:gd name="T43" fmla="*/ 22 h 53"/>
                <a:gd name="T44" fmla="*/ 28 w 37"/>
                <a:gd name="T45" fmla="*/ 25 h 53"/>
                <a:gd name="T46" fmla="*/ 33 w 37"/>
                <a:gd name="T47" fmla="*/ 28 h 53"/>
                <a:gd name="T48" fmla="*/ 36 w 37"/>
                <a:gd name="T49" fmla="*/ 32 h 53"/>
                <a:gd name="T50" fmla="*/ 37 w 37"/>
                <a:gd name="T51" fmla="*/ 38 h 53"/>
                <a:gd name="T52" fmla="*/ 31 w 37"/>
                <a:gd name="T53" fmla="*/ 49 h 53"/>
                <a:gd name="T54" fmla="*/ 16 w 37"/>
                <a:gd name="T55" fmla="*/ 53 h 53"/>
                <a:gd name="T56" fmla="*/ 6 w 37"/>
                <a:gd name="T57" fmla="*/ 52 h 53"/>
                <a:gd name="T58" fmla="*/ 0 w 37"/>
                <a:gd name="T59" fmla="*/ 50 h 53"/>
                <a:gd name="T60" fmla="*/ 2 w 37"/>
                <a:gd name="T61" fmla="*/ 40 h 53"/>
                <a:gd name="T62" fmla="*/ 8 w 37"/>
                <a:gd name="T63" fmla="*/ 42 h 53"/>
                <a:gd name="T64" fmla="*/ 16 w 37"/>
                <a:gd name="T65" fmla="*/ 4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7" h="53">
                  <a:moveTo>
                    <a:pt x="16" y="43"/>
                  </a:moveTo>
                  <a:cubicBezTo>
                    <a:pt x="19" y="43"/>
                    <a:pt x="22" y="43"/>
                    <a:pt x="23" y="42"/>
                  </a:cubicBezTo>
                  <a:cubicBezTo>
                    <a:pt x="24" y="41"/>
                    <a:pt x="25" y="40"/>
                    <a:pt x="25" y="38"/>
                  </a:cubicBezTo>
                  <a:cubicBezTo>
                    <a:pt x="25" y="36"/>
                    <a:pt x="24" y="35"/>
                    <a:pt x="23" y="34"/>
                  </a:cubicBezTo>
                  <a:cubicBezTo>
                    <a:pt x="21" y="33"/>
                    <a:pt x="19" y="32"/>
                    <a:pt x="15" y="30"/>
                  </a:cubicBezTo>
                  <a:cubicBezTo>
                    <a:pt x="13" y="30"/>
                    <a:pt x="11" y="29"/>
                    <a:pt x="10" y="28"/>
                  </a:cubicBezTo>
                  <a:cubicBezTo>
                    <a:pt x="8" y="27"/>
                    <a:pt x="6" y="26"/>
                    <a:pt x="5" y="25"/>
                  </a:cubicBezTo>
                  <a:cubicBezTo>
                    <a:pt x="4" y="24"/>
                    <a:pt x="3" y="22"/>
                    <a:pt x="2" y="21"/>
                  </a:cubicBezTo>
                  <a:cubicBezTo>
                    <a:pt x="1" y="19"/>
                    <a:pt x="1" y="17"/>
                    <a:pt x="1" y="15"/>
                  </a:cubicBezTo>
                  <a:cubicBezTo>
                    <a:pt x="1" y="10"/>
                    <a:pt x="3" y="7"/>
                    <a:pt x="6" y="4"/>
                  </a:cubicBezTo>
                  <a:cubicBezTo>
                    <a:pt x="9" y="1"/>
                    <a:pt x="14" y="0"/>
                    <a:pt x="20" y="0"/>
                  </a:cubicBezTo>
                  <a:cubicBezTo>
                    <a:pt x="23" y="0"/>
                    <a:pt x="26" y="0"/>
                    <a:pt x="28" y="1"/>
                  </a:cubicBezTo>
                  <a:cubicBezTo>
                    <a:pt x="31" y="1"/>
                    <a:pt x="33" y="2"/>
                    <a:pt x="34" y="2"/>
                  </a:cubicBezTo>
                  <a:cubicBezTo>
                    <a:pt x="32" y="12"/>
                    <a:pt x="32" y="12"/>
                    <a:pt x="32" y="12"/>
                  </a:cubicBezTo>
                  <a:cubicBezTo>
                    <a:pt x="31" y="11"/>
                    <a:pt x="29" y="11"/>
                    <a:pt x="27" y="10"/>
                  </a:cubicBezTo>
                  <a:cubicBezTo>
                    <a:pt x="25" y="10"/>
                    <a:pt x="23" y="9"/>
                    <a:pt x="20" y="9"/>
                  </a:cubicBezTo>
                  <a:cubicBezTo>
                    <a:pt x="18" y="9"/>
                    <a:pt x="16" y="10"/>
                    <a:pt x="15" y="11"/>
                  </a:cubicBezTo>
                  <a:cubicBezTo>
                    <a:pt x="13" y="11"/>
                    <a:pt x="13" y="13"/>
                    <a:pt x="13" y="14"/>
                  </a:cubicBezTo>
                  <a:cubicBezTo>
                    <a:pt x="13" y="15"/>
                    <a:pt x="13" y="16"/>
                    <a:pt x="13" y="17"/>
                  </a:cubicBezTo>
                  <a:cubicBezTo>
                    <a:pt x="13" y="17"/>
                    <a:pt x="14" y="18"/>
                    <a:pt x="14" y="18"/>
                  </a:cubicBezTo>
                  <a:cubicBezTo>
                    <a:pt x="15" y="19"/>
                    <a:pt x="16" y="19"/>
                    <a:pt x="17" y="20"/>
                  </a:cubicBezTo>
                  <a:cubicBezTo>
                    <a:pt x="18" y="20"/>
                    <a:pt x="20" y="21"/>
                    <a:pt x="21" y="22"/>
                  </a:cubicBezTo>
                  <a:cubicBezTo>
                    <a:pt x="24" y="23"/>
                    <a:pt x="27" y="24"/>
                    <a:pt x="28" y="25"/>
                  </a:cubicBezTo>
                  <a:cubicBezTo>
                    <a:pt x="30" y="26"/>
                    <a:pt x="32" y="27"/>
                    <a:pt x="33" y="28"/>
                  </a:cubicBezTo>
                  <a:cubicBezTo>
                    <a:pt x="34" y="29"/>
                    <a:pt x="35" y="31"/>
                    <a:pt x="36" y="32"/>
                  </a:cubicBezTo>
                  <a:cubicBezTo>
                    <a:pt x="37" y="34"/>
                    <a:pt x="37" y="36"/>
                    <a:pt x="37" y="38"/>
                  </a:cubicBezTo>
                  <a:cubicBezTo>
                    <a:pt x="37" y="43"/>
                    <a:pt x="35" y="46"/>
                    <a:pt x="31" y="49"/>
                  </a:cubicBezTo>
                  <a:cubicBezTo>
                    <a:pt x="28" y="51"/>
                    <a:pt x="23" y="53"/>
                    <a:pt x="16" y="53"/>
                  </a:cubicBezTo>
                  <a:cubicBezTo>
                    <a:pt x="12" y="53"/>
                    <a:pt x="8" y="52"/>
                    <a:pt x="6" y="52"/>
                  </a:cubicBezTo>
                  <a:cubicBezTo>
                    <a:pt x="3" y="51"/>
                    <a:pt x="1" y="50"/>
                    <a:pt x="0" y="50"/>
                  </a:cubicBezTo>
                  <a:cubicBezTo>
                    <a:pt x="2" y="40"/>
                    <a:pt x="2" y="40"/>
                    <a:pt x="2" y="40"/>
                  </a:cubicBezTo>
                  <a:cubicBezTo>
                    <a:pt x="4" y="41"/>
                    <a:pt x="6" y="41"/>
                    <a:pt x="8" y="42"/>
                  </a:cubicBezTo>
                  <a:cubicBezTo>
                    <a:pt x="11" y="43"/>
                    <a:pt x="13" y="43"/>
                    <a:pt x="16" y="4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6" name="Freeform 21"/>
            <p:cNvSpPr>
              <a:spLocks/>
            </p:cNvSpPr>
            <p:nvPr userDrawn="1"/>
          </p:nvSpPr>
          <p:spPr bwMode="auto">
            <a:xfrm>
              <a:off x="5195663" y="5036834"/>
              <a:ext cx="255588" cy="328613"/>
            </a:xfrm>
            <a:custGeom>
              <a:avLst/>
              <a:gdLst>
                <a:gd name="T0" fmla="*/ 42 w 42"/>
                <a:gd name="T1" fmla="*/ 49 h 52"/>
                <a:gd name="T2" fmla="*/ 33 w 42"/>
                <a:gd name="T3" fmla="*/ 51 h 52"/>
                <a:gd name="T4" fmla="*/ 21 w 42"/>
                <a:gd name="T5" fmla="*/ 52 h 52"/>
                <a:gd name="T6" fmla="*/ 11 w 42"/>
                <a:gd name="T7" fmla="*/ 50 h 52"/>
                <a:gd name="T8" fmla="*/ 5 w 42"/>
                <a:gd name="T9" fmla="*/ 45 h 52"/>
                <a:gd name="T10" fmla="*/ 1 w 42"/>
                <a:gd name="T11" fmla="*/ 38 h 52"/>
                <a:gd name="T12" fmla="*/ 0 w 42"/>
                <a:gd name="T13" fmla="*/ 28 h 52"/>
                <a:gd name="T14" fmla="*/ 0 w 42"/>
                <a:gd name="T15" fmla="*/ 0 h 52"/>
                <a:gd name="T16" fmla="*/ 12 w 42"/>
                <a:gd name="T17" fmla="*/ 0 h 52"/>
                <a:gd name="T18" fmla="*/ 12 w 42"/>
                <a:gd name="T19" fmla="*/ 26 h 52"/>
                <a:gd name="T20" fmla="*/ 14 w 42"/>
                <a:gd name="T21" fmla="*/ 38 h 52"/>
                <a:gd name="T22" fmla="*/ 22 w 42"/>
                <a:gd name="T23" fmla="*/ 41 h 52"/>
                <a:gd name="T24" fmla="*/ 27 w 42"/>
                <a:gd name="T25" fmla="*/ 41 h 52"/>
                <a:gd name="T26" fmla="*/ 30 w 42"/>
                <a:gd name="T27" fmla="*/ 41 h 52"/>
                <a:gd name="T28" fmla="*/ 30 w 42"/>
                <a:gd name="T29" fmla="*/ 0 h 52"/>
                <a:gd name="T30" fmla="*/ 42 w 42"/>
                <a:gd name="T31" fmla="*/ 0 h 52"/>
                <a:gd name="T32" fmla="*/ 42 w 42"/>
                <a:gd name="T33" fmla="*/ 49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 h="52">
                  <a:moveTo>
                    <a:pt x="42" y="49"/>
                  </a:moveTo>
                  <a:cubicBezTo>
                    <a:pt x="40" y="49"/>
                    <a:pt x="37" y="50"/>
                    <a:pt x="33" y="51"/>
                  </a:cubicBezTo>
                  <a:cubicBezTo>
                    <a:pt x="30" y="51"/>
                    <a:pt x="26" y="52"/>
                    <a:pt x="21" y="52"/>
                  </a:cubicBezTo>
                  <a:cubicBezTo>
                    <a:pt x="17" y="52"/>
                    <a:pt x="14" y="51"/>
                    <a:pt x="11" y="50"/>
                  </a:cubicBezTo>
                  <a:cubicBezTo>
                    <a:pt x="9" y="49"/>
                    <a:pt x="6" y="47"/>
                    <a:pt x="5" y="45"/>
                  </a:cubicBezTo>
                  <a:cubicBezTo>
                    <a:pt x="3" y="43"/>
                    <a:pt x="2" y="40"/>
                    <a:pt x="1" y="38"/>
                  </a:cubicBezTo>
                  <a:cubicBezTo>
                    <a:pt x="1" y="35"/>
                    <a:pt x="0" y="32"/>
                    <a:pt x="0" y="28"/>
                  </a:cubicBezTo>
                  <a:cubicBezTo>
                    <a:pt x="0" y="0"/>
                    <a:pt x="0" y="0"/>
                    <a:pt x="0" y="0"/>
                  </a:cubicBezTo>
                  <a:cubicBezTo>
                    <a:pt x="12" y="0"/>
                    <a:pt x="12" y="0"/>
                    <a:pt x="12" y="0"/>
                  </a:cubicBezTo>
                  <a:cubicBezTo>
                    <a:pt x="12" y="26"/>
                    <a:pt x="12" y="26"/>
                    <a:pt x="12" y="26"/>
                  </a:cubicBezTo>
                  <a:cubicBezTo>
                    <a:pt x="12" y="32"/>
                    <a:pt x="13" y="36"/>
                    <a:pt x="14" y="38"/>
                  </a:cubicBezTo>
                  <a:cubicBezTo>
                    <a:pt x="16" y="40"/>
                    <a:pt x="18" y="41"/>
                    <a:pt x="22" y="41"/>
                  </a:cubicBezTo>
                  <a:cubicBezTo>
                    <a:pt x="24" y="41"/>
                    <a:pt x="25" y="41"/>
                    <a:pt x="27" y="41"/>
                  </a:cubicBezTo>
                  <a:cubicBezTo>
                    <a:pt x="28" y="41"/>
                    <a:pt x="30" y="41"/>
                    <a:pt x="30" y="41"/>
                  </a:cubicBezTo>
                  <a:cubicBezTo>
                    <a:pt x="30" y="0"/>
                    <a:pt x="30" y="0"/>
                    <a:pt x="30" y="0"/>
                  </a:cubicBezTo>
                  <a:cubicBezTo>
                    <a:pt x="42" y="0"/>
                    <a:pt x="42" y="0"/>
                    <a:pt x="42" y="0"/>
                  </a:cubicBezTo>
                  <a:lnTo>
                    <a:pt x="42" y="49"/>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7" name="Freeform 22"/>
            <p:cNvSpPr>
              <a:spLocks/>
            </p:cNvSpPr>
            <p:nvPr userDrawn="1"/>
          </p:nvSpPr>
          <p:spPr bwMode="auto">
            <a:xfrm>
              <a:off x="5530625" y="4886021"/>
              <a:ext cx="117475" cy="473075"/>
            </a:xfrm>
            <a:custGeom>
              <a:avLst/>
              <a:gdLst>
                <a:gd name="T0" fmla="*/ 17 w 19"/>
                <a:gd name="T1" fmla="*/ 75 h 75"/>
                <a:gd name="T2" fmla="*/ 9 w 19"/>
                <a:gd name="T3" fmla="*/ 74 h 75"/>
                <a:gd name="T4" fmla="*/ 3 w 19"/>
                <a:gd name="T5" fmla="*/ 71 h 75"/>
                <a:gd name="T6" fmla="*/ 0 w 19"/>
                <a:gd name="T7" fmla="*/ 66 h 75"/>
                <a:gd name="T8" fmla="*/ 0 w 19"/>
                <a:gd name="T9" fmla="*/ 60 h 75"/>
                <a:gd name="T10" fmla="*/ 0 w 19"/>
                <a:gd name="T11" fmla="*/ 2 h 75"/>
                <a:gd name="T12" fmla="*/ 11 w 19"/>
                <a:gd name="T13" fmla="*/ 0 h 75"/>
                <a:gd name="T14" fmla="*/ 11 w 19"/>
                <a:gd name="T15" fmla="*/ 57 h 75"/>
                <a:gd name="T16" fmla="*/ 12 w 19"/>
                <a:gd name="T17" fmla="*/ 61 h 75"/>
                <a:gd name="T18" fmla="*/ 13 w 19"/>
                <a:gd name="T19" fmla="*/ 63 h 75"/>
                <a:gd name="T20" fmla="*/ 15 w 19"/>
                <a:gd name="T21" fmla="*/ 65 h 75"/>
                <a:gd name="T22" fmla="*/ 19 w 19"/>
                <a:gd name="T23" fmla="*/ 66 h 75"/>
                <a:gd name="T24" fmla="*/ 17 w 19"/>
                <a:gd name="T25" fmla="*/ 7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 h="75">
                  <a:moveTo>
                    <a:pt x="17" y="75"/>
                  </a:moveTo>
                  <a:cubicBezTo>
                    <a:pt x="14" y="75"/>
                    <a:pt x="11" y="75"/>
                    <a:pt x="9" y="74"/>
                  </a:cubicBezTo>
                  <a:cubicBezTo>
                    <a:pt x="6" y="73"/>
                    <a:pt x="5" y="72"/>
                    <a:pt x="3" y="71"/>
                  </a:cubicBezTo>
                  <a:cubicBezTo>
                    <a:pt x="2" y="70"/>
                    <a:pt x="1" y="68"/>
                    <a:pt x="0" y="66"/>
                  </a:cubicBezTo>
                  <a:cubicBezTo>
                    <a:pt x="0" y="64"/>
                    <a:pt x="0" y="62"/>
                    <a:pt x="0" y="60"/>
                  </a:cubicBezTo>
                  <a:cubicBezTo>
                    <a:pt x="0" y="2"/>
                    <a:pt x="0" y="2"/>
                    <a:pt x="0" y="2"/>
                  </a:cubicBezTo>
                  <a:cubicBezTo>
                    <a:pt x="11" y="0"/>
                    <a:pt x="11" y="0"/>
                    <a:pt x="11" y="0"/>
                  </a:cubicBezTo>
                  <a:cubicBezTo>
                    <a:pt x="11" y="57"/>
                    <a:pt x="11" y="57"/>
                    <a:pt x="11" y="57"/>
                  </a:cubicBezTo>
                  <a:cubicBezTo>
                    <a:pt x="11" y="59"/>
                    <a:pt x="11" y="60"/>
                    <a:pt x="12" y="61"/>
                  </a:cubicBezTo>
                  <a:cubicBezTo>
                    <a:pt x="12" y="62"/>
                    <a:pt x="12" y="63"/>
                    <a:pt x="13" y="63"/>
                  </a:cubicBezTo>
                  <a:cubicBezTo>
                    <a:pt x="13" y="64"/>
                    <a:pt x="14" y="65"/>
                    <a:pt x="15" y="65"/>
                  </a:cubicBezTo>
                  <a:cubicBezTo>
                    <a:pt x="16" y="65"/>
                    <a:pt x="17" y="66"/>
                    <a:pt x="19" y="66"/>
                  </a:cubicBezTo>
                  <a:lnTo>
                    <a:pt x="17" y="7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8" name="Freeform 23"/>
            <p:cNvSpPr>
              <a:spLocks/>
            </p:cNvSpPr>
            <p:nvPr userDrawn="1"/>
          </p:nvSpPr>
          <p:spPr bwMode="auto">
            <a:xfrm>
              <a:off x="5690963"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5"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5" y="67"/>
                    <a:pt x="12" y="66"/>
                    <a:pt x="9"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9" name="Freeform 24"/>
            <p:cNvSpPr>
              <a:spLocks/>
            </p:cNvSpPr>
            <p:nvPr userDrawn="1"/>
          </p:nvSpPr>
          <p:spPr bwMode="auto">
            <a:xfrm>
              <a:off x="5903688" y="5030484"/>
              <a:ext cx="227013" cy="334963"/>
            </a:xfrm>
            <a:custGeom>
              <a:avLst/>
              <a:gdLst>
                <a:gd name="T0" fmla="*/ 16 w 37"/>
                <a:gd name="T1" fmla="*/ 43 h 53"/>
                <a:gd name="T2" fmla="*/ 23 w 37"/>
                <a:gd name="T3" fmla="*/ 42 h 53"/>
                <a:gd name="T4" fmla="*/ 25 w 37"/>
                <a:gd name="T5" fmla="*/ 38 h 53"/>
                <a:gd name="T6" fmla="*/ 23 w 37"/>
                <a:gd name="T7" fmla="*/ 34 h 53"/>
                <a:gd name="T8" fmla="*/ 15 w 37"/>
                <a:gd name="T9" fmla="*/ 30 h 53"/>
                <a:gd name="T10" fmla="*/ 9 w 37"/>
                <a:gd name="T11" fmla="*/ 28 h 53"/>
                <a:gd name="T12" fmla="*/ 5 w 37"/>
                <a:gd name="T13" fmla="*/ 25 h 53"/>
                <a:gd name="T14" fmla="*/ 2 w 37"/>
                <a:gd name="T15" fmla="*/ 21 h 53"/>
                <a:gd name="T16" fmla="*/ 1 w 37"/>
                <a:gd name="T17" fmla="*/ 15 h 53"/>
                <a:gd name="T18" fmla="*/ 6 w 37"/>
                <a:gd name="T19" fmla="*/ 4 h 53"/>
                <a:gd name="T20" fmla="*/ 20 w 37"/>
                <a:gd name="T21" fmla="*/ 0 h 53"/>
                <a:gd name="T22" fmla="*/ 28 w 37"/>
                <a:gd name="T23" fmla="*/ 1 h 53"/>
                <a:gd name="T24" fmla="*/ 34 w 37"/>
                <a:gd name="T25" fmla="*/ 2 h 53"/>
                <a:gd name="T26" fmla="*/ 32 w 37"/>
                <a:gd name="T27" fmla="*/ 12 h 53"/>
                <a:gd name="T28" fmla="*/ 27 w 37"/>
                <a:gd name="T29" fmla="*/ 10 h 53"/>
                <a:gd name="T30" fmla="*/ 20 w 37"/>
                <a:gd name="T31" fmla="*/ 9 h 53"/>
                <a:gd name="T32" fmla="*/ 15 w 37"/>
                <a:gd name="T33" fmla="*/ 11 h 53"/>
                <a:gd name="T34" fmla="*/ 12 w 37"/>
                <a:gd name="T35" fmla="*/ 14 h 53"/>
                <a:gd name="T36" fmla="*/ 13 w 37"/>
                <a:gd name="T37" fmla="*/ 17 h 53"/>
                <a:gd name="T38" fmla="*/ 14 w 37"/>
                <a:gd name="T39" fmla="*/ 18 h 53"/>
                <a:gd name="T40" fmla="*/ 17 w 37"/>
                <a:gd name="T41" fmla="*/ 20 h 53"/>
                <a:gd name="T42" fmla="*/ 21 w 37"/>
                <a:gd name="T43" fmla="*/ 22 h 53"/>
                <a:gd name="T44" fmla="*/ 28 w 37"/>
                <a:gd name="T45" fmla="*/ 25 h 53"/>
                <a:gd name="T46" fmla="*/ 33 w 37"/>
                <a:gd name="T47" fmla="*/ 28 h 53"/>
                <a:gd name="T48" fmla="*/ 36 w 37"/>
                <a:gd name="T49" fmla="*/ 32 h 53"/>
                <a:gd name="T50" fmla="*/ 37 w 37"/>
                <a:gd name="T51" fmla="*/ 38 h 53"/>
                <a:gd name="T52" fmla="*/ 31 w 37"/>
                <a:gd name="T53" fmla="*/ 49 h 53"/>
                <a:gd name="T54" fmla="*/ 16 w 37"/>
                <a:gd name="T55" fmla="*/ 53 h 53"/>
                <a:gd name="T56" fmla="*/ 5 w 37"/>
                <a:gd name="T57" fmla="*/ 52 h 53"/>
                <a:gd name="T58" fmla="*/ 0 w 37"/>
                <a:gd name="T59" fmla="*/ 50 h 53"/>
                <a:gd name="T60" fmla="*/ 2 w 37"/>
                <a:gd name="T61" fmla="*/ 40 h 53"/>
                <a:gd name="T62" fmla="*/ 8 w 37"/>
                <a:gd name="T63" fmla="*/ 42 h 53"/>
                <a:gd name="T64" fmla="*/ 16 w 37"/>
                <a:gd name="T65" fmla="*/ 4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7" h="53">
                  <a:moveTo>
                    <a:pt x="16" y="43"/>
                  </a:moveTo>
                  <a:cubicBezTo>
                    <a:pt x="19" y="43"/>
                    <a:pt x="21" y="43"/>
                    <a:pt x="23" y="42"/>
                  </a:cubicBezTo>
                  <a:cubicBezTo>
                    <a:pt x="24" y="41"/>
                    <a:pt x="25" y="40"/>
                    <a:pt x="25" y="38"/>
                  </a:cubicBezTo>
                  <a:cubicBezTo>
                    <a:pt x="25" y="36"/>
                    <a:pt x="24" y="35"/>
                    <a:pt x="23" y="34"/>
                  </a:cubicBezTo>
                  <a:cubicBezTo>
                    <a:pt x="21" y="33"/>
                    <a:pt x="19" y="32"/>
                    <a:pt x="15" y="30"/>
                  </a:cubicBezTo>
                  <a:cubicBezTo>
                    <a:pt x="13" y="30"/>
                    <a:pt x="11" y="29"/>
                    <a:pt x="9" y="28"/>
                  </a:cubicBezTo>
                  <a:cubicBezTo>
                    <a:pt x="8" y="27"/>
                    <a:pt x="6" y="26"/>
                    <a:pt x="5" y="25"/>
                  </a:cubicBezTo>
                  <a:cubicBezTo>
                    <a:pt x="4" y="24"/>
                    <a:pt x="3" y="22"/>
                    <a:pt x="2" y="21"/>
                  </a:cubicBezTo>
                  <a:cubicBezTo>
                    <a:pt x="1" y="19"/>
                    <a:pt x="1" y="17"/>
                    <a:pt x="1" y="15"/>
                  </a:cubicBezTo>
                  <a:cubicBezTo>
                    <a:pt x="1" y="10"/>
                    <a:pt x="2" y="7"/>
                    <a:pt x="6" y="4"/>
                  </a:cubicBezTo>
                  <a:cubicBezTo>
                    <a:pt x="9" y="1"/>
                    <a:pt x="14" y="0"/>
                    <a:pt x="20" y="0"/>
                  </a:cubicBezTo>
                  <a:cubicBezTo>
                    <a:pt x="23" y="0"/>
                    <a:pt x="25" y="0"/>
                    <a:pt x="28" y="1"/>
                  </a:cubicBezTo>
                  <a:cubicBezTo>
                    <a:pt x="31" y="1"/>
                    <a:pt x="33" y="2"/>
                    <a:pt x="34" y="2"/>
                  </a:cubicBezTo>
                  <a:cubicBezTo>
                    <a:pt x="32" y="12"/>
                    <a:pt x="32" y="12"/>
                    <a:pt x="32" y="12"/>
                  </a:cubicBezTo>
                  <a:cubicBezTo>
                    <a:pt x="31" y="11"/>
                    <a:pt x="29" y="11"/>
                    <a:pt x="27" y="10"/>
                  </a:cubicBezTo>
                  <a:cubicBezTo>
                    <a:pt x="25" y="10"/>
                    <a:pt x="23" y="9"/>
                    <a:pt x="20" y="9"/>
                  </a:cubicBezTo>
                  <a:cubicBezTo>
                    <a:pt x="18" y="9"/>
                    <a:pt x="16" y="10"/>
                    <a:pt x="15" y="11"/>
                  </a:cubicBezTo>
                  <a:cubicBezTo>
                    <a:pt x="13" y="11"/>
                    <a:pt x="12" y="13"/>
                    <a:pt x="12" y="14"/>
                  </a:cubicBezTo>
                  <a:cubicBezTo>
                    <a:pt x="12" y="15"/>
                    <a:pt x="12" y="16"/>
                    <a:pt x="13" y="17"/>
                  </a:cubicBezTo>
                  <a:cubicBezTo>
                    <a:pt x="13" y="17"/>
                    <a:pt x="14" y="18"/>
                    <a:pt x="14" y="18"/>
                  </a:cubicBezTo>
                  <a:cubicBezTo>
                    <a:pt x="15" y="19"/>
                    <a:pt x="16" y="19"/>
                    <a:pt x="17" y="20"/>
                  </a:cubicBezTo>
                  <a:cubicBezTo>
                    <a:pt x="18" y="20"/>
                    <a:pt x="20" y="21"/>
                    <a:pt x="21" y="22"/>
                  </a:cubicBezTo>
                  <a:cubicBezTo>
                    <a:pt x="24" y="23"/>
                    <a:pt x="26" y="24"/>
                    <a:pt x="28" y="25"/>
                  </a:cubicBezTo>
                  <a:cubicBezTo>
                    <a:pt x="30" y="26"/>
                    <a:pt x="32" y="27"/>
                    <a:pt x="33" y="28"/>
                  </a:cubicBezTo>
                  <a:cubicBezTo>
                    <a:pt x="34" y="29"/>
                    <a:pt x="35" y="31"/>
                    <a:pt x="36" y="32"/>
                  </a:cubicBezTo>
                  <a:cubicBezTo>
                    <a:pt x="36" y="34"/>
                    <a:pt x="37" y="36"/>
                    <a:pt x="37" y="38"/>
                  </a:cubicBezTo>
                  <a:cubicBezTo>
                    <a:pt x="37" y="43"/>
                    <a:pt x="35" y="46"/>
                    <a:pt x="31" y="49"/>
                  </a:cubicBezTo>
                  <a:cubicBezTo>
                    <a:pt x="28" y="51"/>
                    <a:pt x="23" y="53"/>
                    <a:pt x="16" y="53"/>
                  </a:cubicBezTo>
                  <a:cubicBezTo>
                    <a:pt x="12" y="53"/>
                    <a:pt x="8" y="52"/>
                    <a:pt x="5" y="52"/>
                  </a:cubicBezTo>
                  <a:cubicBezTo>
                    <a:pt x="3" y="51"/>
                    <a:pt x="1" y="50"/>
                    <a:pt x="0" y="50"/>
                  </a:cubicBezTo>
                  <a:cubicBezTo>
                    <a:pt x="2" y="40"/>
                    <a:pt x="2" y="40"/>
                    <a:pt x="2" y="40"/>
                  </a:cubicBezTo>
                  <a:cubicBezTo>
                    <a:pt x="3" y="41"/>
                    <a:pt x="6" y="41"/>
                    <a:pt x="8" y="42"/>
                  </a:cubicBezTo>
                  <a:cubicBezTo>
                    <a:pt x="10" y="43"/>
                    <a:pt x="13" y="43"/>
                    <a:pt x="16" y="4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0" name="Freeform 25"/>
            <p:cNvSpPr>
              <a:spLocks/>
            </p:cNvSpPr>
            <p:nvPr userDrawn="1"/>
          </p:nvSpPr>
          <p:spPr bwMode="auto">
            <a:xfrm>
              <a:off x="6289450" y="5030484"/>
              <a:ext cx="238125" cy="334963"/>
            </a:xfrm>
            <a:custGeom>
              <a:avLst/>
              <a:gdLst>
                <a:gd name="T0" fmla="*/ 0 w 39"/>
                <a:gd name="T1" fmla="*/ 26 h 53"/>
                <a:gd name="T2" fmla="*/ 2 w 39"/>
                <a:gd name="T3" fmla="*/ 16 h 53"/>
                <a:gd name="T4" fmla="*/ 7 w 39"/>
                <a:gd name="T5" fmla="*/ 7 h 53"/>
                <a:gd name="T6" fmla="*/ 15 w 39"/>
                <a:gd name="T7" fmla="*/ 2 h 53"/>
                <a:gd name="T8" fmla="*/ 25 w 39"/>
                <a:gd name="T9" fmla="*/ 0 h 53"/>
                <a:gd name="T10" fmla="*/ 39 w 39"/>
                <a:gd name="T11" fmla="*/ 3 h 53"/>
                <a:gd name="T12" fmla="*/ 36 w 39"/>
                <a:gd name="T13" fmla="*/ 12 h 53"/>
                <a:gd name="T14" fmla="*/ 31 w 39"/>
                <a:gd name="T15" fmla="*/ 11 h 53"/>
                <a:gd name="T16" fmla="*/ 26 w 39"/>
                <a:gd name="T17" fmla="*/ 10 h 53"/>
                <a:gd name="T18" fmla="*/ 16 w 39"/>
                <a:gd name="T19" fmla="*/ 14 h 53"/>
                <a:gd name="T20" fmla="*/ 12 w 39"/>
                <a:gd name="T21" fmla="*/ 26 h 53"/>
                <a:gd name="T22" fmla="*/ 15 w 39"/>
                <a:gd name="T23" fmla="*/ 38 h 53"/>
                <a:gd name="T24" fmla="*/ 27 w 39"/>
                <a:gd name="T25" fmla="*/ 43 h 53"/>
                <a:gd name="T26" fmla="*/ 33 w 39"/>
                <a:gd name="T27" fmla="*/ 42 h 53"/>
                <a:gd name="T28" fmla="*/ 38 w 39"/>
                <a:gd name="T29" fmla="*/ 41 h 53"/>
                <a:gd name="T30" fmla="*/ 39 w 39"/>
                <a:gd name="T31" fmla="*/ 50 h 53"/>
                <a:gd name="T32" fmla="*/ 33 w 39"/>
                <a:gd name="T33" fmla="*/ 52 h 53"/>
                <a:gd name="T34" fmla="*/ 25 w 39"/>
                <a:gd name="T35" fmla="*/ 53 h 53"/>
                <a:gd name="T36" fmla="*/ 14 w 39"/>
                <a:gd name="T37" fmla="*/ 51 h 53"/>
                <a:gd name="T38" fmla="*/ 6 w 39"/>
                <a:gd name="T39" fmla="*/ 45 h 53"/>
                <a:gd name="T40" fmla="*/ 2 w 39"/>
                <a:gd name="T41" fmla="*/ 37 h 53"/>
                <a:gd name="T42" fmla="*/ 0 w 39"/>
                <a:gd name="T43"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9" h="53">
                  <a:moveTo>
                    <a:pt x="0" y="26"/>
                  </a:moveTo>
                  <a:cubicBezTo>
                    <a:pt x="0" y="23"/>
                    <a:pt x="1" y="19"/>
                    <a:pt x="2" y="16"/>
                  </a:cubicBezTo>
                  <a:cubicBezTo>
                    <a:pt x="3" y="13"/>
                    <a:pt x="5" y="10"/>
                    <a:pt x="7" y="7"/>
                  </a:cubicBezTo>
                  <a:cubicBezTo>
                    <a:pt x="9" y="5"/>
                    <a:pt x="12" y="3"/>
                    <a:pt x="15" y="2"/>
                  </a:cubicBezTo>
                  <a:cubicBezTo>
                    <a:pt x="18" y="1"/>
                    <a:pt x="21" y="0"/>
                    <a:pt x="25" y="0"/>
                  </a:cubicBezTo>
                  <a:cubicBezTo>
                    <a:pt x="30" y="0"/>
                    <a:pt x="34" y="1"/>
                    <a:pt x="39" y="3"/>
                  </a:cubicBezTo>
                  <a:cubicBezTo>
                    <a:pt x="36" y="12"/>
                    <a:pt x="36" y="12"/>
                    <a:pt x="36" y="12"/>
                  </a:cubicBezTo>
                  <a:cubicBezTo>
                    <a:pt x="35" y="11"/>
                    <a:pt x="33" y="11"/>
                    <a:pt x="31" y="11"/>
                  </a:cubicBezTo>
                  <a:cubicBezTo>
                    <a:pt x="30" y="10"/>
                    <a:pt x="28" y="10"/>
                    <a:pt x="26" y="10"/>
                  </a:cubicBezTo>
                  <a:cubicBezTo>
                    <a:pt x="21" y="10"/>
                    <a:pt x="18" y="11"/>
                    <a:pt x="16" y="14"/>
                  </a:cubicBezTo>
                  <a:cubicBezTo>
                    <a:pt x="13" y="17"/>
                    <a:pt x="12" y="21"/>
                    <a:pt x="12" y="26"/>
                  </a:cubicBezTo>
                  <a:cubicBezTo>
                    <a:pt x="12" y="31"/>
                    <a:pt x="13" y="35"/>
                    <a:pt x="15" y="38"/>
                  </a:cubicBezTo>
                  <a:cubicBezTo>
                    <a:pt x="18" y="41"/>
                    <a:pt x="21" y="43"/>
                    <a:pt x="27" y="43"/>
                  </a:cubicBezTo>
                  <a:cubicBezTo>
                    <a:pt x="29" y="43"/>
                    <a:pt x="31" y="42"/>
                    <a:pt x="33" y="42"/>
                  </a:cubicBezTo>
                  <a:cubicBezTo>
                    <a:pt x="35" y="42"/>
                    <a:pt x="36" y="41"/>
                    <a:pt x="38" y="41"/>
                  </a:cubicBezTo>
                  <a:cubicBezTo>
                    <a:pt x="39" y="50"/>
                    <a:pt x="39" y="50"/>
                    <a:pt x="39" y="50"/>
                  </a:cubicBezTo>
                  <a:cubicBezTo>
                    <a:pt x="38" y="51"/>
                    <a:pt x="36" y="51"/>
                    <a:pt x="33" y="52"/>
                  </a:cubicBezTo>
                  <a:cubicBezTo>
                    <a:pt x="31" y="52"/>
                    <a:pt x="28" y="53"/>
                    <a:pt x="25" y="53"/>
                  </a:cubicBezTo>
                  <a:cubicBezTo>
                    <a:pt x="21" y="53"/>
                    <a:pt x="17" y="52"/>
                    <a:pt x="14" y="51"/>
                  </a:cubicBezTo>
                  <a:cubicBezTo>
                    <a:pt x="11" y="49"/>
                    <a:pt x="8" y="48"/>
                    <a:pt x="6" y="45"/>
                  </a:cubicBezTo>
                  <a:cubicBezTo>
                    <a:pt x="4" y="43"/>
                    <a:pt x="3" y="40"/>
                    <a:pt x="2" y="37"/>
                  </a:cubicBezTo>
                  <a:cubicBezTo>
                    <a:pt x="1" y="34"/>
                    <a:pt x="0" y="30"/>
                    <a:pt x="0" y="2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1" name="Freeform 26"/>
            <p:cNvSpPr>
              <a:spLocks noEditPoints="1"/>
            </p:cNvSpPr>
            <p:nvPr userDrawn="1"/>
          </p:nvSpPr>
          <p:spPr bwMode="auto">
            <a:xfrm>
              <a:off x="6552975" y="5030484"/>
              <a:ext cx="292100" cy="334963"/>
            </a:xfrm>
            <a:custGeom>
              <a:avLst/>
              <a:gdLst>
                <a:gd name="T0" fmla="*/ 48 w 48"/>
                <a:gd name="T1" fmla="*/ 26 h 53"/>
                <a:gd name="T2" fmla="*/ 46 w 48"/>
                <a:gd name="T3" fmla="*/ 37 h 53"/>
                <a:gd name="T4" fmla="*/ 41 w 48"/>
                <a:gd name="T5" fmla="*/ 45 h 53"/>
                <a:gd name="T6" fmla="*/ 33 w 48"/>
                <a:gd name="T7" fmla="*/ 51 h 53"/>
                <a:gd name="T8" fmla="*/ 24 w 48"/>
                <a:gd name="T9" fmla="*/ 53 h 53"/>
                <a:gd name="T10" fmla="*/ 14 w 48"/>
                <a:gd name="T11" fmla="*/ 51 h 53"/>
                <a:gd name="T12" fmla="*/ 6 w 48"/>
                <a:gd name="T13" fmla="*/ 45 h 53"/>
                <a:gd name="T14" fmla="*/ 1 w 48"/>
                <a:gd name="T15" fmla="*/ 37 h 53"/>
                <a:gd name="T16" fmla="*/ 0 w 48"/>
                <a:gd name="T17" fmla="*/ 26 h 53"/>
                <a:gd name="T18" fmla="*/ 1 w 48"/>
                <a:gd name="T19" fmla="*/ 15 h 53"/>
                <a:gd name="T20" fmla="*/ 6 w 48"/>
                <a:gd name="T21" fmla="*/ 7 h 53"/>
                <a:gd name="T22" fmla="*/ 14 w 48"/>
                <a:gd name="T23" fmla="*/ 2 h 53"/>
                <a:gd name="T24" fmla="*/ 24 w 48"/>
                <a:gd name="T25" fmla="*/ 0 h 53"/>
                <a:gd name="T26" fmla="*/ 33 w 48"/>
                <a:gd name="T27" fmla="*/ 2 h 53"/>
                <a:gd name="T28" fmla="*/ 41 w 48"/>
                <a:gd name="T29" fmla="*/ 7 h 53"/>
                <a:gd name="T30" fmla="*/ 46 w 48"/>
                <a:gd name="T31" fmla="*/ 15 h 53"/>
                <a:gd name="T32" fmla="*/ 48 w 48"/>
                <a:gd name="T33" fmla="*/ 26 h 53"/>
                <a:gd name="T34" fmla="*/ 36 w 48"/>
                <a:gd name="T35" fmla="*/ 26 h 53"/>
                <a:gd name="T36" fmla="*/ 33 w 48"/>
                <a:gd name="T37" fmla="*/ 14 h 53"/>
                <a:gd name="T38" fmla="*/ 24 w 48"/>
                <a:gd name="T39" fmla="*/ 10 h 53"/>
                <a:gd name="T40" fmla="*/ 15 w 48"/>
                <a:gd name="T41" fmla="*/ 14 h 53"/>
                <a:gd name="T42" fmla="*/ 11 w 48"/>
                <a:gd name="T43" fmla="*/ 26 h 53"/>
                <a:gd name="T44" fmla="*/ 15 w 48"/>
                <a:gd name="T45" fmla="*/ 38 h 53"/>
                <a:gd name="T46" fmla="*/ 24 w 48"/>
                <a:gd name="T47" fmla="*/ 43 h 53"/>
                <a:gd name="T48" fmla="*/ 33 w 48"/>
                <a:gd name="T49" fmla="*/ 38 h 53"/>
                <a:gd name="T50" fmla="*/ 36 w 48"/>
                <a:gd name="T51"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8" h="53">
                  <a:moveTo>
                    <a:pt x="48" y="26"/>
                  </a:moveTo>
                  <a:cubicBezTo>
                    <a:pt x="48" y="30"/>
                    <a:pt x="47" y="34"/>
                    <a:pt x="46" y="37"/>
                  </a:cubicBezTo>
                  <a:cubicBezTo>
                    <a:pt x="45" y="40"/>
                    <a:pt x="43" y="43"/>
                    <a:pt x="41" y="45"/>
                  </a:cubicBezTo>
                  <a:cubicBezTo>
                    <a:pt x="39" y="48"/>
                    <a:pt x="36" y="50"/>
                    <a:pt x="33" y="51"/>
                  </a:cubicBezTo>
                  <a:cubicBezTo>
                    <a:pt x="30" y="52"/>
                    <a:pt x="27" y="53"/>
                    <a:pt x="24" y="53"/>
                  </a:cubicBezTo>
                  <a:cubicBezTo>
                    <a:pt x="20" y="53"/>
                    <a:pt x="17" y="52"/>
                    <a:pt x="14" y="51"/>
                  </a:cubicBezTo>
                  <a:cubicBezTo>
                    <a:pt x="11" y="50"/>
                    <a:pt x="8" y="48"/>
                    <a:pt x="6" y="45"/>
                  </a:cubicBezTo>
                  <a:cubicBezTo>
                    <a:pt x="4" y="43"/>
                    <a:pt x="2" y="40"/>
                    <a:pt x="1" y="37"/>
                  </a:cubicBezTo>
                  <a:cubicBezTo>
                    <a:pt x="0" y="34"/>
                    <a:pt x="0" y="30"/>
                    <a:pt x="0" y="26"/>
                  </a:cubicBezTo>
                  <a:cubicBezTo>
                    <a:pt x="0" y="22"/>
                    <a:pt x="0" y="19"/>
                    <a:pt x="1" y="15"/>
                  </a:cubicBezTo>
                  <a:cubicBezTo>
                    <a:pt x="2" y="12"/>
                    <a:pt x="4" y="9"/>
                    <a:pt x="6" y="7"/>
                  </a:cubicBezTo>
                  <a:cubicBezTo>
                    <a:pt x="8" y="5"/>
                    <a:pt x="11" y="3"/>
                    <a:pt x="14" y="2"/>
                  </a:cubicBezTo>
                  <a:cubicBezTo>
                    <a:pt x="17" y="1"/>
                    <a:pt x="20" y="0"/>
                    <a:pt x="24" y="0"/>
                  </a:cubicBezTo>
                  <a:cubicBezTo>
                    <a:pt x="27" y="0"/>
                    <a:pt x="30" y="1"/>
                    <a:pt x="33" y="2"/>
                  </a:cubicBezTo>
                  <a:cubicBezTo>
                    <a:pt x="36" y="3"/>
                    <a:pt x="39" y="5"/>
                    <a:pt x="41" y="7"/>
                  </a:cubicBezTo>
                  <a:cubicBezTo>
                    <a:pt x="43" y="9"/>
                    <a:pt x="45" y="12"/>
                    <a:pt x="46" y="15"/>
                  </a:cubicBezTo>
                  <a:cubicBezTo>
                    <a:pt x="47" y="19"/>
                    <a:pt x="48" y="22"/>
                    <a:pt x="48" y="26"/>
                  </a:cubicBezTo>
                  <a:close/>
                  <a:moveTo>
                    <a:pt x="36" y="26"/>
                  </a:moveTo>
                  <a:cubicBezTo>
                    <a:pt x="36" y="21"/>
                    <a:pt x="35" y="17"/>
                    <a:pt x="33" y="14"/>
                  </a:cubicBezTo>
                  <a:cubicBezTo>
                    <a:pt x="30" y="11"/>
                    <a:pt x="27" y="10"/>
                    <a:pt x="24" y="10"/>
                  </a:cubicBezTo>
                  <a:cubicBezTo>
                    <a:pt x="20" y="10"/>
                    <a:pt x="17" y="11"/>
                    <a:pt x="15" y="14"/>
                  </a:cubicBezTo>
                  <a:cubicBezTo>
                    <a:pt x="13" y="17"/>
                    <a:pt x="11" y="21"/>
                    <a:pt x="11" y="26"/>
                  </a:cubicBezTo>
                  <a:cubicBezTo>
                    <a:pt x="11" y="31"/>
                    <a:pt x="13" y="35"/>
                    <a:pt x="15" y="38"/>
                  </a:cubicBezTo>
                  <a:cubicBezTo>
                    <a:pt x="17" y="41"/>
                    <a:pt x="20" y="43"/>
                    <a:pt x="24" y="43"/>
                  </a:cubicBezTo>
                  <a:cubicBezTo>
                    <a:pt x="27" y="43"/>
                    <a:pt x="30" y="41"/>
                    <a:pt x="33" y="38"/>
                  </a:cubicBezTo>
                  <a:cubicBezTo>
                    <a:pt x="35" y="35"/>
                    <a:pt x="36" y="31"/>
                    <a:pt x="36" y="2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2" name="Freeform 27"/>
            <p:cNvSpPr>
              <a:spLocks/>
            </p:cNvSpPr>
            <p:nvPr userDrawn="1"/>
          </p:nvSpPr>
          <p:spPr bwMode="auto">
            <a:xfrm>
              <a:off x="6900638" y="5036834"/>
              <a:ext cx="257175" cy="328613"/>
            </a:xfrm>
            <a:custGeom>
              <a:avLst/>
              <a:gdLst>
                <a:gd name="T0" fmla="*/ 42 w 42"/>
                <a:gd name="T1" fmla="*/ 49 h 52"/>
                <a:gd name="T2" fmla="*/ 33 w 42"/>
                <a:gd name="T3" fmla="*/ 51 h 52"/>
                <a:gd name="T4" fmla="*/ 21 w 42"/>
                <a:gd name="T5" fmla="*/ 52 h 52"/>
                <a:gd name="T6" fmla="*/ 11 w 42"/>
                <a:gd name="T7" fmla="*/ 50 h 52"/>
                <a:gd name="T8" fmla="*/ 5 w 42"/>
                <a:gd name="T9" fmla="*/ 45 h 52"/>
                <a:gd name="T10" fmla="*/ 1 w 42"/>
                <a:gd name="T11" fmla="*/ 38 h 52"/>
                <a:gd name="T12" fmla="*/ 0 w 42"/>
                <a:gd name="T13" fmla="*/ 28 h 52"/>
                <a:gd name="T14" fmla="*/ 0 w 42"/>
                <a:gd name="T15" fmla="*/ 0 h 52"/>
                <a:gd name="T16" fmla="*/ 12 w 42"/>
                <a:gd name="T17" fmla="*/ 0 h 52"/>
                <a:gd name="T18" fmla="*/ 12 w 42"/>
                <a:gd name="T19" fmla="*/ 26 h 52"/>
                <a:gd name="T20" fmla="*/ 14 w 42"/>
                <a:gd name="T21" fmla="*/ 38 h 52"/>
                <a:gd name="T22" fmla="*/ 22 w 42"/>
                <a:gd name="T23" fmla="*/ 41 h 52"/>
                <a:gd name="T24" fmla="*/ 27 w 42"/>
                <a:gd name="T25" fmla="*/ 41 h 52"/>
                <a:gd name="T26" fmla="*/ 30 w 42"/>
                <a:gd name="T27" fmla="*/ 41 h 52"/>
                <a:gd name="T28" fmla="*/ 30 w 42"/>
                <a:gd name="T29" fmla="*/ 0 h 52"/>
                <a:gd name="T30" fmla="*/ 42 w 42"/>
                <a:gd name="T31" fmla="*/ 0 h 52"/>
                <a:gd name="T32" fmla="*/ 42 w 42"/>
                <a:gd name="T33" fmla="*/ 49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 h="52">
                  <a:moveTo>
                    <a:pt x="42" y="49"/>
                  </a:moveTo>
                  <a:cubicBezTo>
                    <a:pt x="40" y="49"/>
                    <a:pt x="37" y="50"/>
                    <a:pt x="33" y="51"/>
                  </a:cubicBezTo>
                  <a:cubicBezTo>
                    <a:pt x="30" y="51"/>
                    <a:pt x="26" y="52"/>
                    <a:pt x="21" y="52"/>
                  </a:cubicBezTo>
                  <a:cubicBezTo>
                    <a:pt x="17" y="52"/>
                    <a:pt x="14" y="51"/>
                    <a:pt x="11" y="50"/>
                  </a:cubicBezTo>
                  <a:cubicBezTo>
                    <a:pt x="9" y="49"/>
                    <a:pt x="6" y="47"/>
                    <a:pt x="5" y="45"/>
                  </a:cubicBezTo>
                  <a:cubicBezTo>
                    <a:pt x="3" y="43"/>
                    <a:pt x="2" y="40"/>
                    <a:pt x="1" y="38"/>
                  </a:cubicBezTo>
                  <a:cubicBezTo>
                    <a:pt x="1" y="35"/>
                    <a:pt x="0" y="32"/>
                    <a:pt x="0" y="28"/>
                  </a:cubicBezTo>
                  <a:cubicBezTo>
                    <a:pt x="0" y="0"/>
                    <a:pt x="0" y="0"/>
                    <a:pt x="0" y="0"/>
                  </a:cubicBezTo>
                  <a:cubicBezTo>
                    <a:pt x="12" y="0"/>
                    <a:pt x="12" y="0"/>
                    <a:pt x="12" y="0"/>
                  </a:cubicBezTo>
                  <a:cubicBezTo>
                    <a:pt x="12" y="26"/>
                    <a:pt x="12" y="26"/>
                    <a:pt x="12" y="26"/>
                  </a:cubicBezTo>
                  <a:cubicBezTo>
                    <a:pt x="12" y="32"/>
                    <a:pt x="13" y="36"/>
                    <a:pt x="14" y="38"/>
                  </a:cubicBezTo>
                  <a:cubicBezTo>
                    <a:pt x="16" y="40"/>
                    <a:pt x="19" y="41"/>
                    <a:pt x="22" y="41"/>
                  </a:cubicBezTo>
                  <a:cubicBezTo>
                    <a:pt x="24" y="41"/>
                    <a:pt x="25" y="41"/>
                    <a:pt x="27" y="41"/>
                  </a:cubicBezTo>
                  <a:cubicBezTo>
                    <a:pt x="28" y="41"/>
                    <a:pt x="30" y="41"/>
                    <a:pt x="30" y="41"/>
                  </a:cubicBezTo>
                  <a:cubicBezTo>
                    <a:pt x="30" y="0"/>
                    <a:pt x="30" y="0"/>
                    <a:pt x="30" y="0"/>
                  </a:cubicBezTo>
                  <a:cubicBezTo>
                    <a:pt x="42" y="0"/>
                    <a:pt x="42" y="0"/>
                    <a:pt x="42" y="0"/>
                  </a:cubicBezTo>
                  <a:lnTo>
                    <a:pt x="42" y="49"/>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3" name="Freeform 28"/>
            <p:cNvSpPr>
              <a:spLocks/>
            </p:cNvSpPr>
            <p:nvPr userDrawn="1"/>
          </p:nvSpPr>
          <p:spPr bwMode="auto">
            <a:xfrm>
              <a:off x="7237188" y="5030484"/>
              <a:ext cx="257175" cy="322263"/>
            </a:xfrm>
            <a:custGeom>
              <a:avLst/>
              <a:gdLst>
                <a:gd name="T0" fmla="*/ 0 w 42"/>
                <a:gd name="T1" fmla="*/ 3 h 51"/>
                <a:gd name="T2" fmla="*/ 9 w 42"/>
                <a:gd name="T3" fmla="*/ 1 h 51"/>
                <a:gd name="T4" fmla="*/ 20 w 42"/>
                <a:gd name="T5" fmla="*/ 0 h 51"/>
                <a:gd name="T6" fmla="*/ 31 w 42"/>
                <a:gd name="T7" fmla="*/ 2 h 51"/>
                <a:gd name="T8" fmla="*/ 37 w 42"/>
                <a:gd name="T9" fmla="*/ 6 h 51"/>
                <a:gd name="T10" fmla="*/ 41 w 42"/>
                <a:gd name="T11" fmla="*/ 14 h 51"/>
                <a:gd name="T12" fmla="*/ 42 w 42"/>
                <a:gd name="T13" fmla="*/ 23 h 51"/>
                <a:gd name="T14" fmla="*/ 42 w 42"/>
                <a:gd name="T15" fmla="*/ 51 h 51"/>
                <a:gd name="T16" fmla="*/ 30 w 42"/>
                <a:gd name="T17" fmla="*/ 51 h 51"/>
                <a:gd name="T18" fmla="*/ 30 w 42"/>
                <a:gd name="T19" fmla="*/ 25 h 51"/>
                <a:gd name="T20" fmla="*/ 30 w 42"/>
                <a:gd name="T21" fmla="*/ 18 h 51"/>
                <a:gd name="T22" fmla="*/ 28 w 42"/>
                <a:gd name="T23" fmla="*/ 13 h 51"/>
                <a:gd name="T24" fmla="*/ 25 w 42"/>
                <a:gd name="T25" fmla="*/ 11 h 51"/>
                <a:gd name="T26" fmla="*/ 20 w 42"/>
                <a:gd name="T27" fmla="*/ 10 h 51"/>
                <a:gd name="T28" fmla="*/ 15 w 42"/>
                <a:gd name="T29" fmla="*/ 10 h 51"/>
                <a:gd name="T30" fmla="*/ 11 w 42"/>
                <a:gd name="T31" fmla="*/ 11 h 51"/>
                <a:gd name="T32" fmla="*/ 11 w 42"/>
                <a:gd name="T33" fmla="*/ 51 h 51"/>
                <a:gd name="T34" fmla="*/ 0 w 42"/>
                <a:gd name="T35" fmla="*/ 51 h 51"/>
                <a:gd name="T36" fmla="*/ 0 w 42"/>
                <a:gd name="T37" fmla="*/ 3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2" h="51">
                  <a:moveTo>
                    <a:pt x="0" y="3"/>
                  </a:moveTo>
                  <a:cubicBezTo>
                    <a:pt x="2" y="2"/>
                    <a:pt x="5" y="2"/>
                    <a:pt x="9" y="1"/>
                  </a:cubicBezTo>
                  <a:cubicBezTo>
                    <a:pt x="12" y="0"/>
                    <a:pt x="16" y="0"/>
                    <a:pt x="20" y="0"/>
                  </a:cubicBezTo>
                  <a:cubicBezTo>
                    <a:pt x="25" y="0"/>
                    <a:pt x="28" y="1"/>
                    <a:pt x="31" y="2"/>
                  </a:cubicBezTo>
                  <a:cubicBezTo>
                    <a:pt x="34" y="3"/>
                    <a:pt x="36" y="4"/>
                    <a:pt x="37" y="6"/>
                  </a:cubicBezTo>
                  <a:cubicBezTo>
                    <a:pt x="39" y="9"/>
                    <a:pt x="40" y="11"/>
                    <a:pt x="41" y="14"/>
                  </a:cubicBezTo>
                  <a:cubicBezTo>
                    <a:pt x="41" y="17"/>
                    <a:pt x="42" y="20"/>
                    <a:pt x="42" y="23"/>
                  </a:cubicBezTo>
                  <a:cubicBezTo>
                    <a:pt x="42" y="51"/>
                    <a:pt x="42" y="51"/>
                    <a:pt x="42" y="51"/>
                  </a:cubicBezTo>
                  <a:cubicBezTo>
                    <a:pt x="30" y="51"/>
                    <a:pt x="30" y="51"/>
                    <a:pt x="30" y="51"/>
                  </a:cubicBezTo>
                  <a:cubicBezTo>
                    <a:pt x="30" y="25"/>
                    <a:pt x="30" y="25"/>
                    <a:pt x="30" y="25"/>
                  </a:cubicBezTo>
                  <a:cubicBezTo>
                    <a:pt x="30" y="22"/>
                    <a:pt x="30" y="20"/>
                    <a:pt x="30" y="18"/>
                  </a:cubicBezTo>
                  <a:cubicBezTo>
                    <a:pt x="29" y="16"/>
                    <a:pt x="29" y="15"/>
                    <a:pt x="28" y="13"/>
                  </a:cubicBezTo>
                  <a:cubicBezTo>
                    <a:pt x="27" y="12"/>
                    <a:pt x="26" y="11"/>
                    <a:pt x="25" y="11"/>
                  </a:cubicBezTo>
                  <a:cubicBezTo>
                    <a:pt x="23" y="10"/>
                    <a:pt x="22" y="10"/>
                    <a:pt x="20" y="10"/>
                  </a:cubicBezTo>
                  <a:cubicBezTo>
                    <a:pt x="18" y="10"/>
                    <a:pt x="17" y="10"/>
                    <a:pt x="15" y="10"/>
                  </a:cubicBezTo>
                  <a:cubicBezTo>
                    <a:pt x="13" y="11"/>
                    <a:pt x="12" y="11"/>
                    <a:pt x="11" y="11"/>
                  </a:cubicBezTo>
                  <a:cubicBezTo>
                    <a:pt x="11" y="51"/>
                    <a:pt x="11" y="51"/>
                    <a:pt x="11" y="51"/>
                  </a:cubicBezTo>
                  <a:cubicBezTo>
                    <a:pt x="0" y="51"/>
                    <a:pt x="0" y="51"/>
                    <a:pt x="0" y="51"/>
                  </a:cubicBezTo>
                  <a:lnTo>
                    <a:pt x="0" y="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4" name="Freeform 29"/>
            <p:cNvSpPr>
              <a:spLocks/>
            </p:cNvSpPr>
            <p:nvPr userDrawn="1"/>
          </p:nvSpPr>
          <p:spPr bwMode="auto">
            <a:xfrm>
              <a:off x="7567388"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3 w 31"/>
                <a:gd name="T31" fmla="*/ 61 h 67"/>
                <a:gd name="T32" fmla="*/ 0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4"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4" y="67"/>
                    <a:pt x="11" y="66"/>
                    <a:pt x="9" y="65"/>
                  </a:cubicBezTo>
                  <a:cubicBezTo>
                    <a:pt x="7" y="64"/>
                    <a:pt x="5" y="63"/>
                    <a:pt x="3" y="61"/>
                  </a:cubicBezTo>
                  <a:cubicBezTo>
                    <a:pt x="2" y="59"/>
                    <a:pt x="1" y="57"/>
                    <a:pt x="0" y="54"/>
                  </a:cubicBezTo>
                  <a:cubicBezTo>
                    <a:pt x="0" y="52"/>
                    <a:pt x="0" y="49"/>
                    <a:pt x="0" y="45"/>
                  </a:cubicBezTo>
                  <a:lnTo>
                    <a:pt x="0" y="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5" name="Freeform 30"/>
            <p:cNvSpPr>
              <a:spLocks/>
            </p:cNvSpPr>
            <p:nvPr userDrawn="1"/>
          </p:nvSpPr>
          <p:spPr bwMode="auto">
            <a:xfrm>
              <a:off x="7792813" y="5263846"/>
              <a:ext cx="92075" cy="101600"/>
            </a:xfrm>
            <a:custGeom>
              <a:avLst/>
              <a:gdLst>
                <a:gd name="T0" fmla="*/ 15 w 15"/>
                <a:gd name="T1" fmla="*/ 8 h 16"/>
                <a:gd name="T2" fmla="*/ 13 w 15"/>
                <a:gd name="T3" fmla="*/ 14 h 16"/>
                <a:gd name="T4" fmla="*/ 8 w 15"/>
                <a:gd name="T5" fmla="*/ 16 h 16"/>
                <a:gd name="T6" fmla="*/ 2 w 15"/>
                <a:gd name="T7" fmla="*/ 14 h 16"/>
                <a:gd name="T8" fmla="*/ 0 w 15"/>
                <a:gd name="T9" fmla="*/ 8 h 16"/>
                <a:gd name="T10" fmla="*/ 2 w 15"/>
                <a:gd name="T11" fmla="*/ 3 h 16"/>
                <a:gd name="T12" fmla="*/ 8 w 15"/>
                <a:gd name="T13" fmla="*/ 0 h 16"/>
                <a:gd name="T14" fmla="*/ 13 w 15"/>
                <a:gd name="T15" fmla="*/ 3 h 16"/>
                <a:gd name="T16" fmla="*/ 15 w 15"/>
                <a:gd name="T17" fmla="*/ 8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16">
                  <a:moveTo>
                    <a:pt x="15" y="8"/>
                  </a:moveTo>
                  <a:cubicBezTo>
                    <a:pt x="15" y="10"/>
                    <a:pt x="14" y="12"/>
                    <a:pt x="13" y="14"/>
                  </a:cubicBezTo>
                  <a:cubicBezTo>
                    <a:pt x="11" y="15"/>
                    <a:pt x="10" y="16"/>
                    <a:pt x="8" y="16"/>
                  </a:cubicBezTo>
                  <a:cubicBezTo>
                    <a:pt x="5" y="16"/>
                    <a:pt x="4" y="15"/>
                    <a:pt x="2" y="14"/>
                  </a:cubicBezTo>
                  <a:cubicBezTo>
                    <a:pt x="1" y="12"/>
                    <a:pt x="0" y="10"/>
                    <a:pt x="0" y="8"/>
                  </a:cubicBezTo>
                  <a:cubicBezTo>
                    <a:pt x="0" y="6"/>
                    <a:pt x="1" y="4"/>
                    <a:pt x="2" y="3"/>
                  </a:cubicBezTo>
                  <a:cubicBezTo>
                    <a:pt x="4" y="1"/>
                    <a:pt x="5" y="0"/>
                    <a:pt x="8" y="0"/>
                  </a:cubicBezTo>
                  <a:cubicBezTo>
                    <a:pt x="10" y="0"/>
                    <a:pt x="11" y="1"/>
                    <a:pt x="13" y="3"/>
                  </a:cubicBezTo>
                  <a:cubicBezTo>
                    <a:pt x="14" y="4"/>
                    <a:pt x="15" y="6"/>
                    <a:pt x="15" y="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3671831822"/>
      </p:ext>
    </p:extLst>
  </p:cSld>
  <p:clrMapOvr>
    <a:masterClrMapping/>
  </p:clrMapOvr>
  <p:extLst mod="1">
    <p:ext uri="{DCECCB84-F9BA-43D5-87BE-67443E8EF086}">
      <p15:sldGuideLst xmlns:p15="http://schemas.microsoft.com/office/powerpoint/2012/main"/>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type="blank" preserve="1">
  <p:cSld name="Final Slide 2">
    <p:spTree>
      <p:nvGrpSpPr>
        <p:cNvPr id="1" name=""/>
        <p:cNvGrpSpPr/>
        <p:nvPr/>
      </p:nvGrpSpPr>
      <p:grpSpPr>
        <a:xfrm>
          <a:off x="0" y="0"/>
          <a:ext cx="0" cy="0"/>
          <a:chOff x="0" y="0"/>
          <a:chExt cx="0" cy="0"/>
        </a:xfrm>
      </p:grpSpPr>
      <p:sp>
        <p:nvSpPr>
          <p:cNvPr id="36" name="Rectangle 35"/>
          <p:cNvSpPr/>
          <p:nvPr userDrawn="1"/>
        </p:nvSpPr>
        <p:spPr>
          <a:xfrm>
            <a:off x="426523" y="1447577"/>
            <a:ext cx="4932479" cy="130746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7 global revenues of EUR 12.8 billion.</a:t>
            </a:r>
          </a:p>
        </p:txBody>
      </p:sp>
      <p:sp>
        <p:nvSpPr>
          <p:cNvPr id="48" name="Rectangle 47"/>
          <p:cNvSpPr/>
          <p:nvPr userDrawn="1"/>
        </p:nvSpPr>
        <p:spPr>
          <a:xfrm>
            <a:off x="426523" y="1068313"/>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49" name="Rectangle 48"/>
          <p:cNvSpPr/>
          <p:nvPr userDrawn="1"/>
        </p:nvSpPr>
        <p:spPr>
          <a:xfrm>
            <a:off x="426523" y="2797057"/>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Learn more about us at</a:t>
            </a:r>
          </a:p>
          <a:p>
            <a:pPr algn="just">
              <a:lnSpc>
                <a:spcPts val="1200"/>
              </a:lnSpc>
            </a:pPr>
            <a:r>
              <a:rPr lang="en-US" sz="1400" dirty="0">
                <a:solidFill>
                  <a:schemeClr val="accent2"/>
                </a:solidFill>
              </a:rPr>
              <a:t>www.capgemini.com</a:t>
            </a:r>
          </a:p>
        </p:txBody>
      </p:sp>
      <p:grpSp>
        <p:nvGrpSpPr>
          <p:cNvPr id="3" name="Groupe 2">
            <a:extLst>
              <a:ext uri="{FF2B5EF4-FFF2-40B4-BE49-F238E27FC236}">
                <a16:creationId xmlns:a16="http://schemas.microsoft.com/office/drawing/2014/main" id="{1C3923B5-D83F-43D2-B673-E5F08E418856}"/>
              </a:ext>
            </a:extLst>
          </p:cNvPr>
          <p:cNvGrpSpPr/>
          <p:nvPr userDrawn="1"/>
        </p:nvGrpSpPr>
        <p:grpSpPr>
          <a:xfrm>
            <a:off x="426720" y="4829457"/>
            <a:ext cx="1866702" cy="333195"/>
            <a:chOff x="426720" y="4829457"/>
            <a:chExt cx="1866702" cy="333195"/>
          </a:xfrm>
        </p:grpSpPr>
        <p:pic>
          <p:nvPicPr>
            <p:cNvPr id="50" name="Picture 2" descr="D:\My Work\Template\Icons\Social Media\LinkedIN.png">
              <a:hlinkClick r:id="rId3"/>
            </p:cNvPr>
            <p:cNvPicPr>
              <a:picLocks noChangeAspect="1" noChangeArrowheads="1"/>
            </p:cNvPicPr>
            <p:nvPr userDrawn="1"/>
          </p:nvPicPr>
          <p:blipFill>
            <a:blip r:embed="rId4" cstate="print">
              <a:duotone>
                <a:schemeClr val="accent2">
                  <a:shade val="45000"/>
                  <a:satMod val="135000"/>
                </a:schemeClr>
                <a:prstClr val="white"/>
              </a:duotone>
              <a:extLst>
                <a:ext uri="{BEBA8EAE-BF5A-486C-A8C5-ECC9F3942E4B}">
                  <a14:imgProps xmlns:a14="http://schemas.microsoft.com/office/drawing/2010/main">
                    <a14:imgLayer r:embed="rId5">
                      <a14:imgEffect>
                        <a14:brightnessContrast bright="-100000"/>
                      </a14:imgEffect>
                    </a14:imgLayer>
                  </a14:imgProps>
                </a:ext>
              </a:extLst>
            </a:blip>
            <a:srcRect/>
            <a:stretch>
              <a:fillRect/>
            </a:stretch>
          </p:blipFill>
          <p:spPr bwMode="auto">
            <a:xfrm>
              <a:off x="810097" y="4829457"/>
              <a:ext cx="333195" cy="333195"/>
            </a:xfrm>
            <a:prstGeom prst="rect">
              <a:avLst/>
            </a:prstGeom>
            <a:noFill/>
          </p:spPr>
        </p:pic>
        <p:pic>
          <p:nvPicPr>
            <p:cNvPr id="52" name="Picture 4" descr="D:\My Work\Template\Icons\Social Media\SlideShare.png">
              <a:hlinkClick r:id="rId6"/>
            </p:cNvPr>
            <p:cNvPicPr>
              <a:picLocks noChangeAspect="1" noChangeArrowheads="1"/>
            </p:cNvPicPr>
            <p:nvPr userDrawn="1"/>
          </p:nvPicPr>
          <p:blipFill>
            <a:blip r:embed="rId7" cstate="print">
              <a:duotone>
                <a:schemeClr val="accent2">
                  <a:shade val="45000"/>
                  <a:satMod val="135000"/>
                </a:schemeClr>
                <a:prstClr val="white"/>
              </a:duotone>
              <a:extLst>
                <a:ext uri="{BEBA8EAE-BF5A-486C-A8C5-ECC9F3942E4B}">
                  <a14:imgProps xmlns:a14="http://schemas.microsoft.com/office/drawing/2010/main">
                    <a14:imgLayer r:embed="rId8">
                      <a14:imgEffect>
                        <a14:brightnessContrast bright="-100000"/>
                      </a14:imgEffect>
                    </a14:imgLayer>
                  </a14:imgProps>
                </a:ext>
              </a:extLst>
            </a:blip>
            <a:srcRect/>
            <a:stretch>
              <a:fillRect/>
            </a:stretch>
          </p:blipFill>
          <p:spPr bwMode="auto">
            <a:xfrm>
              <a:off x="1193474" y="4829457"/>
              <a:ext cx="333195" cy="333195"/>
            </a:xfrm>
            <a:prstGeom prst="rect">
              <a:avLst/>
            </a:prstGeom>
            <a:noFill/>
          </p:spPr>
        </p:pic>
        <p:pic>
          <p:nvPicPr>
            <p:cNvPr id="53" name="Picture 5" descr="D:\My Work\Template\Icons\Social Media\Twitter.png">
              <a:hlinkClick r:id="rId9"/>
            </p:cNvPr>
            <p:cNvPicPr>
              <a:picLocks noChangeAspect="1" noChangeArrowheads="1"/>
            </p:cNvPicPr>
            <p:nvPr userDrawn="1"/>
          </p:nvPicPr>
          <p:blipFill>
            <a:blip r:embed="rId10" cstate="print">
              <a:duotone>
                <a:schemeClr val="accent2">
                  <a:shade val="45000"/>
                  <a:satMod val="135000"/>
                </a:schemeClr>
                <a:prstClr val="white"/>
              </a:duotone>
              <a:extLst>
                <a:ext uri="{BEBA8EAE-BF5A-486C-A8C5-ECC9F3942E4B}">
                  <a14:imgProps xmlns:a14="http://schemas.microsoft.com/office/drawing/2010/main">
                    <a14:imgLayer r:embed="rId11">
                      <a14:imgEffect>
                        <a14:brightnessContrast bright="-100000"/>
                      </a14:imgEffect>
                    </a14:imgLayer>
                  </a14:imgProps>
                </a:ext>
              </a:extLst>
            </a:blip>
            <a:srcRect/>
            <a:stretch>
              <a:fillRect/>
            </a:stretch>
          </p:blipFill>
          <p:spPr bwMode="auto">
            <a:xfrm>
              <a:off x="1576851" y="4829457"/>
              <a:ext cx="333195" cy="333195"/>
            </a:xfrm>
            <a:prstGeom prst="rect">
              <a:avLst/>
            </a:prstGeom>
            <a:noFill/>
          </p:spPr>
        </p:pic>
        <p:pic>
          <p:nvPicPr>
            <p:cNvPr id="54" name="Picture 6" descr="D:\My Work\Template\Icons\Social Media\YouTube.png">
              <a:hlinkClick r:id="rId12"/>
            </p:cNvPr>
            <p:cNvPicPr>
              <a:picLocks noChangeAspect="1" noChangeArrowheads="1"/>
            </p:cNvPicPr>
            <p:nvPr userDrawn="1"/>
          </p:nvPicPr>
          <p:blipFill>
            <a:blip r:embed="rId13" cstate="print">
              <a:duotone>
                <a:schemeClr val="accent2">
                  <a:shade val="45000"/>
                  <a:satMod val="135000"/>
                </a:schemeClr>
                <a:prstClr val="white"/>
              </a:duotone>
              <a:extLst>
                <a:ext uri="{BEBA8EAE-BF5A-486C-A8C5-ECC9F3942E4B}">
                  <a14:imgProps xmlns:a14="http://schemas.microsoft.com/office/drawing/2010/main">
                    <a14:imgLayer r:embed="rId14">
                      <a14:imgEffect>
                        <a14:sharpenSoften amount="50000"/>
                      </a14:imgEffect>
                      <a14:imgEffect>
                        <a14:brightnessContrast bright="-100000"/>
                      </a14:imgEffect>
                    </a14:imgLayer>
                  </a14:imgProps>
                </a:ext>
              </a:extLst>
            </a:blip>
            <a:srcRect/>
            <a:stretch>
              <a:fillRect/>
            </a:stretch>
          </p:blipFill>
          <p:spPr bwMode="auto">
            <a:xfrm>
              <a:off x="1960227" y="4829457"/>
              <a:ext cx="333195" cy="333195"/>
            </a:xfrm>
            <a:prstGeom prst="rect">
              <a:avLst/>
            </a:prstGeom>
            <a:noFill/>
          </p:spPr>
        </p:pic>
        <p:pic>
          <p:nvPicPr>
            <p:cNvPr id="55" name="Picture 7" descr="D:\My Work\Template\Icons\Social Media\Facebook.png">
              <a:hlinkClick r:id="rId15"/>
            </p:cNvPr>
            <p:cNvPicPr>
              <a:picLocks noChangeAspect="1" noChangeArrowheads="1"/>
            </p:cNvPicPr>
            <p:nvPr userDrawn="1"/>
          </p:nvPicPr>
          <p:blipFill>
            <a:blip r:embed="rId16" cstate="print">
              <a:duotone>
                <a:schemeClr val="accent2">
                  <a:shade val="45000"/>
                  <a:satMod val="135000"/>
                </a:schemeClr>
                <a:prstClr val="white"/>
              </a:duotone>
              <a:extLst>
                <a:ext uri="{BEBA8EAE-BF5A-486C-A8C5-ECC9F3942E4B}">
                  <a14:imgProps xmlns:a14="http://schemas.microsoft.com/office/drawing/2010/main">
                    <a14:imgLayer r:embed="rId17">
                      <a14:imgEffect>
                        <a14:sharpenSoften amount="-50000"/>
                      </a14:imgEffect>
                      <a14:imgEffect>
                        <a14:brightnessContrast bright="-100000"/>
                      </a14:imgEffect>
                    </a14:imgLayer>
                  </a14:imgProps>
                </a:ext>
              </a:extLst>
            </a:blip>
            <a:srcRect/>
            <a:stretch>
              <a:fillRect/>
            </a:stretch>
          </p:blipFill>
          <p:spPr bwMode="auto">
            <a:xfrm>
              <a:off x="426720" y="4829457"/>
              <a:ext cx="333195" cy="333195"/>
            </a:xfrm>
            <a:prstGeom prst="rect">
              <a:avLst/>
            </a:prstGeom>
            <a:noFill/>
          </p:spPr>
        </p:pic>
      </p:grpSp>
      <p:sp>
        <p:nvSpPr>
          <p:cNvPr id="57" name="Rectangle 56"/>
          <p:cNvSpPr/>
          <p:nvPr userDrawn="1"/>
        </p:nvSpPr>
        <p:spPr>
          <a:xfrm>
            <a:off x="426720" y="5871013"/>
            <a:ext cx="4198620" cy="369332"/>
          </a:xfrm>
          <a:prstGeom prst="rect">
            <a:avLst/>
          </a:prstGeom>
        </p:spPr>
        <p:txBody>
          <a:bodyPr wrap="square" lIns="0" tIns="0" rIns="0" bIns="0" anchor="b" anchorCtr="0">
            <a:spAutoFit/>
          </a:bodyPr>
          <a:lstStyle/>
          <a:p>
            <a:pPr>
              <a:spcAft>
                <a:spcPts val="600"/>
              </a:spcAft>
            </a:pPr>
            <a:r>
              <a:rPr lang="en-US" sz="800" noProof="0" dirty="0">
                <a:latin typeface="+mn-lt"/>
                <a:cs typeface="Arial"/>
              </a:rPr>
              <a:t>This presentation</a:t>
            </a:r>
            <a:r>
              <a:rPr lang="en-US" sz="800" baseline="0" noProof="0" dirty="0">
                <a:latin typeface="+mn-lt"/>
                <a:cs typeface="Arial"/>
              </a:rPr>
              <a:t> </a:t>
            </a:r>
            <a:r>
              <a:rPr lang="en-US" sz="800" noProof="0" dirty="0">
                <a:latin typeface="+mn-lt"/>
                <a:cs typeface="Arial"/>
              </a:rPr>
              <a:t>contains information that may be privileged or confidential and is the property of the Capgemini Group.</a:t>
            </a:r>
            <a:br>
              <a:rPr lang="en-US" sz="800" noProof="0" dirty="0">
                <a:latin typeface="+mn-lt"/>
                <a:cs typeface="Arial"/>
              </a:rPr>
            </a:br>
            <a:r>
              <a:rPr lang="en-US" sz="800" noProof="0" dirty="0">
                <a:latin typeface="Arial"/>
                <a:cs typeface="Arial"/>
              </a:rPr>
              <a:t>Copyright © 2018 Capgemini. All rights reserved.</a:t>
            </a:r>
          </a:p>
        </p:txBody>
      </p:sp>
      <p:sp>
        <p:nvSpPr>
          <p:cNvPr id="60" name="Rectangle 59"/>
          <p:cNvSpPr/>
          <p:nvPr>
            <p:custDataLst>
              <p:tags r:id="rId1"/>
            </p:custDataLst>
          </p:nvPr>
        </p:nvSpPr>
        <p:spPr>
          <a:xfrm>
            <a:off x="6324599" y="1068313"/>
            <a:ext cx="2240280" cy="877163"/>
          </a:xfrm>
          <a:prstGeom prst="rect">
            <a:avLst/>
          </a:prstGeom>
        </p:spPr>
        <p:txBody>
          <a:bodyPr wrap="square" lIns="0" tIns="0" rIns="0" bIns="0">
            <a:spAutoFit/>
          </a:bodyPr>
          <a:lstStyle/>
          <a:p>
            <a:pPr>
              <a:spcAft>
                <a:spcPts val="600"/>
              </a:spcAft>
            </a:pPr>
            <a:r>
              <a:rPr lang="en-US" sz="1200" b="1" dirty="0">
                <a:solidFill>
                  <a:schemeClr val="accent1"/>
                </a:solidFill>
                <a:cs typeface="Arial"/>
              </a:rPr>
              <a:t>Tomasz, </a:t>
            </a:r>
            <a:r>
              <a:rPr lang="en-US" sz="1200" b="1" dirty="0" err="1">
                <a:solidFill>
                  <a:schemeClr val="accent1"/>
                </a:solidFill>
                <a:cs typeface="Arial"/>
              </a:rPr>
              <a:t>Strza</a:t>
            </a:r>
            <a:r>
              <a:rPr lang="pl-PL" sz="1200" b="1" dirty="0">
                <a:solidFill>
                  <a:schemeClr val="accent1"/>
                </a:solidFill>
                <a:cs typeface="Arial"/>
              </a:rPr>
              <a:t>ł</a:t>
            </a:r>
            <a:r>
              <a:rPr lang="en-US" sz="1200" b="1" dirty="0">
                <a:solidFill>
                  <a:schemeClr val="accent1"/>
                </a:solidFill>
                <a:cs typeface="Arial"/>
              </a:rPr>
              <a:t>ka</a:t>
            </a:r>
          </a:p>
          <a:p>
            <a:pPr>
              <a:lnSpc>
                <a:spcPts val="1200"/>
              </a:lnSpc>
            </a:pPr>
            <a:r>
              <a:rPr lang="en-US" sz="1000" dirty="0">
                <a:solidFill>
                  <a:schemeClr val="accent2"/>
                </a:solidFill>
                <a:cs typeface="Arial"/>
              </a:rPr>
              <a:t>Software developer</a:t>
            </a:r>
          </a:p>
          <a:p>
            <a:pPr>
              <a:lnSpc>
                <a:spcPts val="1200"/>
              </a:lnSpc>
            </a:pPr>
            <a:r>
              <a:rPr lang="en-US" sz="1000" dirty="0">
                <a:cs typeface="Arial"/>
              </a:rPr>
              <a:t>Capgemini </a:t>
            </a:r>
            <a:r>
              <a:rPr lang="en-US" sz="1000" dirty="0" err="1">
                <a:cs typeface="Arial"/>
              </a:rPr>
              <a:t>Polska</a:t>
            </a:r>
            <a:r>
              <a:rPr lang="en-US" sz="1000" dirty="0">
                <a:cs typeface="Arial"/>
              </a:rPr>
              <a:t> Sp. </a:t>
            </a:r>
            <a:r>
              <a:rPr lang="en-US" sz="1000" dirty="0" err="1">
                <a:cs typeface="Arial"/>
              </a:rPr>
              <a:t>Z.o.o</a:t>
            </a:r>
            <a:r>
              <a:rPr lang="en-US" sz="1000" dirty="0">
                <a:cs typeface="Arial"/>
              </a:rPr>
              <a:t>.</a:t>
            </a:r>
          </a:p>
          <a:p>
            <a:pPr>
              <a:lnSpc>
                <a:spcPts val="1200"/>
              </a:lnSpc>
            </a:pPr>
            <a:r>
              <a:rPr lang="en-US" sz="1000" dirty="0">
                <a:cs typeface="Arial"/>
              </a:rPr>
              <a:t>Ul. </a:t>
            </a:r>
            <a:r>
              <a:rPr lang="en-US" sz="1000" dirty="0" err="1">
                <a:cs typeface="Arial"/>
              </a:rPr>
              <a:t>Legnicka</a:t>
            </a:r>
            <a:r>
              <a:rPr lang="en-US" sz="1000" dirty="0">
                <a:cs typeface="Arial"/>
              </a:rPr>
              <a:t> 48H</a:t>
            </a:r>
          </a:p>
          <a:p>
            <a:pPr>
              <a:lnSpc>
                <a:spcPts val="1200"/>
              </a:lnSpc>
            </a:pPr>
            <a:r>
              <a:rPr lang="en-US" sz="1000" dirty="0">
                <a:cs typeface="Arial"/>
              </a:rPr>
              <a:t>53-110 </a:t>
            </a:r>
            <a:r>
              <a:rPr lang="en-US" sz="1000" dirty="0" err="1">
                <a:cs typeface="Arial"/>
              </a:rPr>
              <a:t>Wroc</a:t>
            </a:r>
            <a:r>
              <a:rPr lang="pl-PL" sz="1000" dirty="0">
                <a:cs typeface="Arial"/>
              </a:rPr>
              <a:t>ł</a:t>
            </a:r>
            <a:r>
              <a:rPr lang="en-US" sz="1000" dirty="0">
                <a:cs typeface="Arial"/>
              </a:rPr>
              <a:t>aw</a:t>
            </a:r>
          </a:p>
        </p:txBody>
      </p:sp>
      <p:cxnSp>
        <p:nvCxnSpPr>
          <p:cNvPr id="64" name="Straight Connector 63"/>
          <p:cNvCxnSpPr/>
          <p:nvPr userDrawn="1"/>
        </p:nvCxnSpPr>
        <p:spPr>
          <a:xfrm flipV="1">
            <a:off x="6096000" y="1113931"/>
            <a:ext cx="0" cy="2276757"/>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69" name="Rectangle 68">
            <a:hlinkClick r:id="rId18"/>
          </p:cNvPr>
          <p:cNvSpPr/>
          <p:nvPr userDrawn="1"/>
        </p:nvSpPr>
        <p:spPr>
          <a:xfrm>
            <a:off x="426720" y="3008758"/>
            <a:ext cx="1851660" cy="183449"/>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 name="ZoneTexte 1"/>
          <p:cNvSpPr txBox="1"/>
          <p:nvPr userDrawn="1"/>
        </p:nvSpPr>
        <p:spPr>
          <a:xfrm>
            <a:off x="419254" y="5204668"/>
            <a:ext cx="2519921" cy="276999"/>
          </a:xfrm>
          <a:prstGeom prst="rect">
            <a:avLst/>
          </a:prstGeom>
          <a:noFill/>
        </p:spPr>
        <p:txBody>
          <a:bodyPr wrap="none" lIns="0" rIns="0" rtlCol="0">
            <a:spAutoFit/>
          </a:bodyPr>
          <a:lstStyle/>
          <a:p>
            <a:r>
              <a:rPr lang="en-US" sz="1200" b="1" dirty="0">
                <a:solidFill>
                  <a:schemeClr val="accent1"/>
                </a:solidFill>
              </a:rPr>
              <a:t>People matter, results count.</a:t>
            </a:r>
          </a:p>
        </p:txBody>
      </p:sp>
    </p:spTree>
    <p:extLst>
      <p:ext uri="{BB962C8B-B14F-4D97-AF65-F5344CB8AC3E}">
        <p14:creationId xmlns:p14="http://schemas.microsoft.com/office/powerpoint/2010/main" val="219219512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ubtitle and content 2">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lvl1pPr>
              <a:defRPr>
                <a:solidFill>
                  <a:srgbClr val="860864"/>
                </a:solidFill>
              </a:defRPr>
            </a:lvl1pPr>
          </a:lstStyle>
          <a:p>
            <a:r>
              <a:rPr lang="pl-PL" dirty="0"/>
              <a:t>Kliknij, aby edytować styl</a:t>
            </a:r>
            <a:endParaRPr lang="en-GB" dirty="0"/>
          </a:p>
        </p:txBody>
      </p:sp>
      <p:sp>
        <p:nvSpPr>
          <p:cNvPr id="4" name="Text Placeholder 3"/>
          <p:cNvSpPr>
            <a:spLocks noGrp="1"/>
          </p:cNvSpPr>
          <p:nvPr>
            <p:ph type="body" sz="quarter" idx="10"/>
          </p:nvPr>
        </p:nvSpPr>
        <p:spPr>
          <a:xfrm>
            <a:off x="227348" y="1815351"/>
            <a:ext cx="11700000" cy="4466201"/>
          </a:xfrm>
        </p:spPr>
        <p:txBody>
          <a:bodyPr/>
          <a:lstStyle>
            <a:lvl2pPr>
              <a:buClr>
                <a:srgbClr val="860864"/>
              </a:buClr>
              <a:defRPr/>
            </a:lvl2pPr>
            <a:lvl3pPr>
              <a:buClr>
                <a:srgbClr val="CC2980"/>
              </a:buClr>
              <a:defRPr/>
            </a:lvl3pPr>
            <a:lvl5pPr>
              <a:buClr>
                <a:srgbClr val="88D5ED"/>
              </a:buClr>
              <a:defRPr/>
            </a:lvl5pPr>
          </a:lstStyle>
          <a:p>
            <a:pPr lvl="0"/>
            <a:r>
              <a:rPr lang="pl-PL" dirty="0"/>
              <a:t>Edytuj style wzorca tekstu</a:t>
            </a:r>
          </a:p>
          <a:p>
            <a:pPr lvl="1"/>
            <a:r>
              <a:rPr lang="pl-PL" dirty="0"/>
              <a:t>Drugi poziom</a:t>
            </a:r>
          </a:p>
          <a:p>
            <a:pPr lvl="2"/>
            <a:r>
              <a:rPr lang="pl-PL" dirty="0"/>
              <a:t>Trzeci poziom</a:t>
            </a:r>
          </a:p>
          <a:p>
            <a:pPr lvl="3"/>
            <a:r>
              <a:rPr lang="pl-PL" dirty="0"/>
              <a:t>Czwarty poziom</a:t>
            </a:r>
          </a:p>
          <a:p>
            <a:pPr lvl="4"/>
            <a:r>
              <a:rPr lang="pl-PL" dirty="0"/>
              <a:t>Piąty poziom</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rgbClr val="FF7E83"/>
                </a:solidFill>
              </a:defRPr>
            </a:lvl1pPr>
          </a:lstStyle>
          <a:p>
            <a:pPr lvl="0"/>
            <a:r>
              <a:rPr lang="en-US" dirty="0"/>
              <a:t>Click to edit Master subtitle styles</a:t>
            </a:r>
          </a:p>
        </p:txBody>
      </p:sp>
    </p:spTree>
    <p:extLst>
      <p:ext uri="{BB962C8B-B14F-4D97-AF65-F5344CB8AC3E}">
        <p14:creationId xmlns:p14="http://schemas.microsoft.com/office/powerpoint/2010/main" val="134971328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subtitle and content 3">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lvl1pPr>
              <a:defRPr>
                <a:solidFill>
                  <a:srgbClr val="00C37B"/>
                </a:solidFill>
              </a:defRPr>
            </a:lvl1pPr>
          </a:lstStyle>
          <a:p>
            <a:r>
              <a:rPr lang="pl-PL" dirty="0"/>
              <a:t>Kliknij, aby edytować styl</a:t>
            </a:r>
            <a:endParaRPr lang="en-GB" dirty="0"/>
          </a:p>
        </p:txBody>
      </p:sp>
      <p:sp>
        <p:nvSpPr>
          <p:cNvPr id="4" name="Text Placeholder 3"/>
          <p:cNvSpPr>
            <a:spLocks noGrp="1"/>
          </p:cNvSpPr>
          <p:nvPr>
            <p:ph type="body" sz="quarter" idx="10"/>
          </p:nvPr>
        </p:nvSpPr>
        <p:spPr>
          <a:xfrm>
            <a:off x="227348" y="1815351"/>
            <a:ext cx="11700000" cy="4466201"/>
          </a:xfrm>
        </p:spPr>
        <p:txBody>
          <a:bodyPr/>
          <a:lstStyle>
            <a:lvl2pPr>
              <a:buClr>
                <a:srgbClr val="00C37B"/>
              </a:buClr>
              <a:defRPr/>
            </a:lvl2pPr>
            <a:lvl3pPr>
              <a:buClr>
                <a:srgbClr val="93E416"/>
              </a:buClr>
              <a:defRPr/>
            </a:lvl3pPr>
            <a:lvl5pPr>
              <a:buClr>
                <a:srgbClr val="FF7E83"/>
              </a:buClr>
              <a:defRPr/>
            </a:lvl5pPr>
          </a:lstStyle>
          <a:p>
            <a:pPr lvl="0"/>
            <a:r>
              <a:rPr lang="pl-PL" dirty="0"/>
              <a:t>Edytuj style wzorca tekstu</a:t>
            </a:r>
          </a:p>
          <a:p>
            <a:pPr lvl="1"/>
            <a:r>
              <a:rPr lang="pl-PL" dirty="0"/>
              <a:t>Drugi poziom</a:t>
            </a:r>
          </a:p>
          <a:p>
            <a:pPr lvl="2"/>
            <a:r>
              <a:rPr lang="pl-PL" dirty="0"/>
              <a:t>Trzeci poziom</a:t>
            </a:r>
          </a:p>
          <a:p>
            <a:pPr lvl="3"/>
            <a:r>
              <a:rPr lang="pl-PL" dirty="0"/>
              <a:t>Czwarty poziom</a:t>
            </a:r>
          </a:p>
          <a:p>
            <a:pPr lvl="4"/>
            <a:r>
              <a:rPr lang="pl-PL" dirty="0"/>
              <a:t>Piąty poziom</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rgbClr val="C8FF16"/>
                </a:solidFill>
              </a:defRPr>
            </a:lvl1pPr>
          </a:lstStyle>
          <a:p>
            <a:pPr lvl="0"/>
            <a:r>
              <a:rPr lang="en-US" dirty="0"/>
              <a:t>Click to edit Master subtitle styles</a:t>
            </a:r>
          </a:p>
        </p:txBody>
      </p:sp>
    </p:spTree>
    <p:extLst>
      <p:ext uri="{BB962C8B-B14F-4D97-AF65-F5344CB8AC3E}">
        <p14:creationId xmlns:p14="http://schemas.microsoft.com/office/powerpoint/2010/main" val="308451572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pl-PL"/>
              <a:t>Edytuj style wzorca tekstu</a:t>
            </a:r>
          </a:p>
          <a:p>
            <a:pPr lvl="1"/>
            <a:r>
              <a:rPr lang="pl-PL"/>
              <a:t>Drugi poziom</a:t>
            </a:r>
          </a:p>
          <a:p>
            <a:pPr lvl="2"/>
            <a:r>
              <a:rPr lang="pl-PL"/>
              <a:t>Trzeci poziom</a:t>
            </a:r>
          </a:p>
          <a:p>
            <a:pPr lvl="3"/>
            <a:r>
              <a:rPr lang="pl-PL"/>
              <a:t>Czwarty poziom</a:t>
            </a:r>
          </a:p>
          <a:p>
            <a:pPr lvl="4"/>
            <a:r>
              <a:rPr lang="pl-PL"/>
              <a:t>Piąty poziom</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2" name="Titre 1"/>
          <p:cNvSpPr>
            <a:spLocks noGrp="1"/>
          </p:cNvSpPr>
          <p:nvPr>
            <p:ph type="title"/>
          </p:nvPr>
        </p:nvSpPr>
        <p:spPr>
          <a:xfrm>
            <a:off x="227349" y="0"/>
            <a:ext cx="11125236" cy="1104900"/>
          </a:xfrm>
        </p:spPr>
        <p:txBody>
          <a:bodyPr/>
          <a:lstStyle/>
          <a:p>
            <a:r>
              <a:rPr lang="pl-PL"/>
              <a:t>Kliknij, aby edytować styl</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pl-PL"/>
              <a:t>Edytuj style wzorca tekstu</a:t>
            </a:r>
          </a:p>
          <a:p>
            <a:pPr lvl="1"/>
            <a:r>
              <a:rPr lang="pl-PL"/>
              <a:t>Drugi poziom</a:t>
            </a:r>
          </a:p>
          <a:p>
            <a:pPr lvl="2"/>
            <a:r>
              <a:rPr lang="pl-PL"/>
              <a:t>Trzeci poziom</a:t>
            </a:r>
          </a:p>
          <a:p>
            <a:pPr lvl="3"/>
            <a:r>
              <a:rPr lang="pl-PL"/>
              <a:t>Czwarty poziom</a:t>
            </a:r>
          </a:p>
          <a:p>
            <a:pPr lvl="4"/>
            <a:r>
              <a:rPr lang="pl-PL"/>
              <a:t>Piąty poziom</a:t>
            </a:r>
            <a:endParaRPr lang="en-US" dirty="0"/>
          </a:p>
        </p:txBody>
      </p:sp>
    </p:spTree>
    <p:extLst>
      <p:ext uri="{BB962C8B-B14F-4D97-AF65-F5344CB8AC3E}">
        <p14:creationId xmlns:p14="http://schemas.microsoft.com/office/powerpoint/2010/main" val="375635130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l-PL"/>
              <a:t>Kliknij, aby edytować styl</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pl-PL"/>
              <a:t>Edytuj style wzorca tekstu</a:t>
            </a:r>
          </a:p>
          <a:p>
            <a:pPr lvl="1"/>
            <a:r>
              <a:rPr lang="pl-PL"/>
              <a:t>Drugi poziom</a:t>
            </a:r>
          </a:p>
          <a:p>
            <a:pPr lvl="2"/>
            <a:r>
              <a:rPr lang="pl-PL"/>
              <a:t>Trzeci poziom</a:t>
            </a:r>
          </a:p>
          <a:p>
            <a:pPr lvl="3"/>
            <a:r>
              <a:rPr lang="pl-PL"/>
              <a:t>Czwarty poziom</a:t>
            </a:r>
          </a:p>
          <a:p>
            <a:pPr lvl="4"/>
            <a:r>
              <a:rPr lang="pl-PL"/>
              <a:t>Piąty poziom</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pl-PL"/>
              <a:t>Edytuj style wzorca tekstu</a:t>
            </a:r>
          </a:p>
          <a:p>
            <a:pPr lvl="1"/>
            <a:r>
              <a:rPr lang="pl-PL"/>
              <a:t>Drugi poziom</a:t>
            </a:r>
          </a:p>
          <a:p>
            <a:pPr lvl="2"/>
            <a:r>
              <a:rPr lang="pl-PL"/>
              <a:t>Trzeci poziom</a:t>
            </a:r>
          </a:p>
          <a:p>
            <a:pPr lvl="3"/>
            <a:r>
              <a:rPr lang="pl-PL"/>
              <a:t>Czwarty poziom</a:t>
            </a:r>
          </a:p>
          <a:p>
            <a:pPr lvl="4"/>
            <a:r>
              <a:rPr lang="pl-PL"/>
              <a:t>Piąty poziom</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pl-PL"/>
              <a:t>Edytuj style wzorca tekstu</a:t>
            </a:r>
          </a:p>
          <a:p>
            <a:pPr lvl="1"/>
            <a:r>
              <a:rPr lang="pl-PL"/>
              <a:t>Drugi poziom</a:t>
            </a:r>
          </a:p>
          <a:p>
            <a:pPr lvl="2"/>
            <a:r>
              <a:rPr lang="pl-PL"/>
              <a:t>Trzeci poziom</a:t>
            </a:r>
          </a:p>
          <a:p>
            <a:pPr lvl="3"/>
            <a:r>
              <a:rPr lang="pl-PL"/>
              <a:t>Czwarty poziom</a:t>
            </a:r>
          </a:p>
          <a:p>
            <a:pPr lvl="4"/>
            <a:r>
              <a:rPr lang="pl-PL"/>
              <a:t>Piąty poziom</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1">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1676" name="think-cell Slide" r:id="rId4" imgW="270" imgH="270" progId="TCLayout.ActiveDocument.1">
                  <p:embed/>
                </p:oleObj>
              </mc:Choice>
              <mc:Fallback>
                <p:oleObj name="think-cell Slide" r:id="rId4" imgW="270" imgH="270" progId="TCLayout.ActiveDocument.1">
                  <p:embed/>
                  <p:pic>
                    <p:nvPicPr>
                      <p:cNvPr id="0" name="Picture 1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 name="Title 1"/>
          <p:cNvSpPr>
            <a:spLocks noGrp="1"/>
          </p:cNvSpPr>
          <p:nvPr>
            <p:ph type="title"/>
          </p:nvPr>
        </p:nvSpPr>
        <p:spPr>
          <a:xfrm>
            <a:off x="974872" y="0"/>
            <a:ext cx="10377711" cy="1104900"/>
          </a:xfrm>
        </p:spPr>
        <p:txBody>
          <a:bodyPr/>
          <a:lstStyle/>
          <a:p>
            <a:r>
              <a:rPr lang="pl-PL" dirty="0"/>
              <a:t>Kliknij, aby edytować styl</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pl-PL"/>
              <a:t>Edytuj style wzorca tekstu</a:t>
            </a:r>
          </a:p>
          <a:p>
            <a:pPr lvl="1"/>
            <a:r>
              <a:rPr lang="pl-PL"/>
              <a:t>Drugi poziom</a:t>
            </a:r>
          </a:p>
          <a:p>
            <a:pPr lvl="2"/>
            <a:r>
              <a:rPr lang="pl-PL"/>
              <a:t>Trzeci poziom</a:t>
            </a:r>
          </a:p>
          <a:p>
            <a:pPr lvl="3"/>
            <a:r>
              <a:rPr lang="pl-PL"/>
              <a:t>Czwarty poziom</a:t>
            </a:r>
          </a:p>
          <a:p>
            <a:pPr lvl="4"/>
            <a:r>
              <a:rPr lang="pl-PL"/>
              <a:t>Piąty poziom</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2">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67666"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rgbClr val="FE304C"/>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 name="Title 1"/>
          <p:cNvSpPr>
            <a:spLocks noGrp="1"/>
          </p:cNvSpPr>
          <p:nvPr>
            <p:ph type="title"/>
          </p:nvPr>
        </p:nvSpPr>
        <p:spPr>
          <a:xfrm>
            <a:off x="974872" y="0"/>
            <a:ext cx="10377711" cy="1104900"/>
          </a:xfrm>
        </p:spPr>
        <p:txBody>
          <a:bodyPr/>
          <a:lstStyle>
            <a:lvl1pPr>
              <a:defRPr>
                <a:solidFill>
                  <a:srgbClr val="860864"/>
                </a:solidFill>
              </a:defRPr>
            </a:lvl1pPr>
          </a:lstStyle>
          <a:p>
            <a:r>
              <a:rPr lang="pl-PL" dirty="0"/>
              <a:t>Kliknij, aby edytować styl</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pl-PL" dirty="0"/>
              <a:t>Edytuj style wzorca tekstu</a:t>
            </a:r>
          </a:p>
          <a:p>
            <a:pPr lvl="1"/>
            <a:r>
              <a:rPr lang="pl-PL" dirty="0"/>
              <a:t>Drugi poziom</a:t>
            </a:r>
          </a:p>
          <a:p>
            <a:pPr lvl="2"/>
            <a:r>
              <a:rPr lang="pl-PL" dirty="0"/>
              <a:t>Trzeci poziom</a:t>
            </a:r>
          </a:p>
          <a:p>
            <a:pPr lvl="3"/>
            <a:r>
              <a:rPr lang="pl-PL" dirty="0"/>
              <a:t>Czwarty poziom</a:t>
            </a:r>
          </a:p>
          <a:p>
            <a:pPr lvl="4"/>
            <a:r>
              <a:rPr lang="pl-PL" dirty="0"/>
              <a:t>Piąty poziom</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rgbClr val="FF7E83"/>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tx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331113915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3">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68690"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rgbClr val="93E416"/>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 name="Title 1"/>
          <p:cNvSpPr>
            <a:spLocks noGrp="1"/>
          </p:cNvSpPr>
          <p:nvPr>
            <p:ph type="title"/>
          </p:nvPr>
        </p:nvSpPr>
        <p:spPr>
          <a:xfrm>
            <a:off x="974872" y="0"/>
            <a:ext cx="10377711" cy="1104900"/>
          </a:xfrm>
        </p:spPr>
        <p:txBody>
          <a:bodyPr/>
          <a:lstStyle>
            <a:lvl1pPr>
              <a:defRPr>
                <a:solidFill>
                  <a:srgbClr val="00C37B"/>
                </a:solidFill>
              </a:defRPr>
            </a:lvl1pPr>
          </a:lstStyle>
          <a:p>
            <a:r>
              <a:rPr lang="pl-PL" dirty="0"/>
              <a:t>Kliknij, aby edytować styl</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pl-PL" dirty="0"/>
              <a:t>Edytuj style wzorca tekstu</a:t>
            </a:r>
          </a:p>
          <a:p>
            <a:pPr lvl="1"/>
            <a:r>
              <a:rPr lang="pl-PL" dirty="0"/>
              <a:t>Drugi poziom</a:t>
            </a:r>
          </a:p>
          <a:p>
            <a:pPr lvl="2"/>
            <a:r>
              <a:rPr lang="pl-PL" dirty="0"/>
              <a:t>Trzeci poziom</a:t>
            </a:r>
          </a:p>
          <a:p>
            <a:pPr lvl="3"/>
            <a:r>
              <a:rPr lang="pl-PL" dirty="0"/>
              <a:t>Czwarty poziom</a:t>
            </a:r>
          </a:p>
          <a:p>
            <a:pPr lvl="4"/>
            <a:r>
              <a:rPr lang="pl-PL" dirty="0"/>
              <a:t>Piąty poziom</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rgbClr val="C8FF16"/>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tx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109529625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vmlDrawing" Target="../drawings/vmlDrawing1.v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oleObject" Target="../embeddings/oleObject6.bin"/><Relationship Id="rId3" Type="http://schemas.openxmlformats.org/officeDocument/2006/relationships/slideLayout" Target="../slideLayouts/slideLayout16.xml"/><Relationship Id="rId7" Type="http://schemas.openxmlformats.org/officeDocument/2006/relationships/tags" Target="../tags/tag9.xml"/><Relationship Id="rId2" Type="http://schemas.openxmlformats.org/officeDocument/2006/relationships/slideLayout" Target="../slideLayouts/slideLayout15.xml"/><Relationship Id="rId1" Type="http://schemas.openxmlformats.org/officeDocument/2006/relationships/slideLayout" Target="../slideLayouts/slideLayout14.xml"/><Relationship Id="rId6" Type="http://schemas.openxmlformats.org/officeDocument/2006/relationships/vmlDrawing" Target="../drawings/vmlDrawing8.vml"/><Relationship Id="rId5" Type="http://schemas.openxmlformats.org/officeDocument/2006/relationships/theme" Target="../theme/theme2.xml"/><Relationship Id="rId4" Type="http://schemas.openxmlformats.org/officeDocument/2006/relationships/slideLayout" Target="../slideLayouts/slideLayout17.xml"/><Relationship Id="rId9" Type="http://schemas.openxmlformats.org/officeDocument/2006/relationships/image" Target="../media/image1.emf"/></Relationships>
</file>

<file path=ppt/slideMasters/_rels/slideMaster3.xml.rels><?xml version="1.0" encoding="UTF-8" standalone="yes"?>
<Relationships xmlns="http://schemas.openxmlformats.org/package/2006/relationships"><Relationship Id="rId8" Type="http://schemas.openxmlformats.org/officeDocument/2006/relationships/oleObject" Target="../embeddings/oleObject10.bin"/><Relationship Id="rId3" Type="http://schemas.openxmlformats.org/officeDocument/2006/relationships/slideLayout" Target="../slideLayouts/slideLayout20.xml"/><Relationship Id="rId7" Type="http://schemas.openxmlformats.org/officeDocument/2006/relationships/tags" Target="../tags/tag14.xml"/><Relationship Id="rId2" Type="http://schemas.openxmlformats.org/officeDocument/2006/relationships/slideLayout" Target="../slideLayouts/slideLayout19.xml"/><Relationship Id="rId1" Type="http://schemas.openxmlformats.org/officeDocument/2006/relationships/slideLayout" Target="../slideLayouts/slideLayout18.xml"/><Relationship Id="rId6" Type="http://schemas.openxmlformats.org/officeDocument/2006/relationships/vmlDrawing" Target="../drawings/vmlDrawing13.vml"/><Relationship Id="rId5" Type="http://schemas.openxmlformats.org/officeDocument/2006/relationships/theme" Target="../theme/theme3.xml"/><Relationship Id="rId4" Type="http://schemas.openxmlformats.org/officeDocument/2006/relationships/slideLayout" Target="../slideLayouts/slideLayout21.xml"/><Relationship Id="rId9" Type="http://schemas.openxmlformats.org/officeDocument/2006/relationships/image" Target="../media/image1.emf"/></Relationships>
</file>

<file path=ppt/slideMasters/_rels/slideMaster4.xml.rels><?xml version="1.0" encoding="UTF-8" standalone="yes"?>
<Relationships xmlns="http://schemas.openxmlformats.org/package/2006/relationships"><Relationship Id="rId3" Type="http://schemas.openxmlformats.org/officeDocument/2006/relationships/theme" Target="../theme/theme4.xml"/><Relationship Id="rId7" Type="http://schemas.openxmlformats.org/officeDocument/2006/relationships/image" Target="../media/image1.emf"/><Relationship Id="rId2" Type="http://schemas.openxmlformats.org/officeDocument/2006/relationships/slideLayout" Target="../slideLayouts/slideLayout23.xml"/><Relationship Id="rId1" Type="http://schemas.openxmlformats.org/officeDocument/2006/relationships/slideLayout" Target="../slideLayouts/slideLayout22.xml"/><Relationship Id="rId6" Type="http://schemas.openxmlformats.org/officeDocument/2006/relationships/oleObject" Target="../embeddings/oleObject15.bin"/><Relationship Id="rId5" Type="http://schemas.openxmlformats.org/officeDocument/2006/relationships/tags" Target="../tags/tag19.xml"/><Relationship Id="rId4" Type="http://schemas.openxmlformats.org/officeDocument/2006/relationships/vmlDrawing" Target="../drawings/vmlDrawing18.v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6"/>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4272" name="think-cell Slide" r:id="rId17" imgW="270" imgH="270" progId="TCLayout.ActiveDocument.1">
                  <p:embed/>
                </p:oleObj>
              </mc:Choice>
              <mc:Fallback>
                <p:oleObj name="think-cell Slide" r:id="rId17" imgW="270" imgH="270" progId="TCLayout.ActiveDocument.1">
                  <p:embed/>
                  <p:pic>
                    <p:nvPicPr>
                      <p:cNvPr id="0" name="Picture 8"/>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7" name="Retângulo 43">
            <a:extLst>
              <a:ext uri="{FF2B5EF4-FFF2-40B4-BE49-F238E27FC236}">
                <a16:creationId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1</a:t>
            </a:r>
            <a:r>
              <a:rPr lang="pl-PL" dirty="0">
                <a:solidFill>
                  <a:schemeClr val="bg1">
                    <a:lumMod val="65000"/>
                  </a:schemeClr>
                </a:solidFill>
              </a:rPr>
              <a:t>9</a:t>
            </a:r>
            <a:r>
              <a:rPr lang="en-US" dirty="0">
                <a:solidFill>
                  <a:schemeClr val="bg1">
                    <a:lumMod val="65000"/>
                  </a:schemeClr>
                </a:solidFill>
              </a:rPr>
              <a:t>. All rights reserved  </a:t>
            </a:r>
            <a:r>
              <a:rPr lang="en-US" dirty="0">
                <a:solidFill>
                  <a:schemeClr val="accent2"/>
                </a:solidFill>
              </a:rPr>
              <a:t>|</a:t>
            </a:r>
          </a:p>
        </p:txBody>
      </p:sp>
      <p:sp>
        <p:nvSpPr>
          <p:cNvPr id="8" name="Text Placeholder 7">
            <a:extLst>
              <a:ext uri="{FF2B5EF4-FFF2-40B4-BE49-F238E27FC236}">
                <a16:creationId xmlns:a16="http://schemas.microsoft.com/office/drawing/2014/main"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noProof="0" dirty="0">
                <a:solidFill>
                  <a:schemeClr val="bg1">
                    <a:lumMod val="65000"/>
                  </a:schemeClr>
                </a:solidFill>
              </a:rPr>
              <a:t>Upgrade Your .NET code!</a:t>
            </a:r>
            <a:r>
              <a:rPr lang="pl-PL" noProof="0" dirty="0">
                <a:solidFill>
                  <a:schemeClr val="bg1">
                    <a:lumMod val="65000"/>
                  </a:schemeClr>
                </a:solidFill>
              </a:rPr>
              <a:t> From C# 7.0 to C# 8.0 walkthrough</a:t>
            </a:r>
            <a:r>
              <a:rPr lang="en-US" noProof="0" dirty="0">
                <a:solidFill>
                  <a:schemeClr val="bg1">
                    <a:lumMod val="65000"/>
                  </a:schemeClr>
                </a:solidFill>
              </a:rPr>
              <a:t> | Tomasz Strzałka | 10.03.2019</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a:t>
            </a:r>
            <a:r>
              <a:rPr lang="fr-FR" dirty="0" err="1"/>
              <a:t>title</a:t>
            </a:r>
            <a:endParaRPr lang="en-US" dirty="0"/>
          </a:p>
        </p:txBody>
      </p:sp>
      <p:grpSp>
        <p:nvGrpSpPr>
          <p:cNvPr id="3" name="Groupe 2">
            <a:extLst>
              <a:ext uri="{FF2B5EF4-FFF2-40B4-BE49-F238E27FC236}">
                <a16:creationId xmlns:a16="http://schemas.microsoft.com/office/drawing/2014/main" id="{231F4250-75BE-456B-A9D8-680BA4145249}"/>
              </a:ext>
            </a:extLst>
          </p:cNvPr>
          <p:cNvGrpSpPr/>
          <p:nvPr userDrawn="1"/>
        </p:nvGrpSpPr>
        <p:grpSpPr>
          <a:xfrm>
            <a:off x="12355040" y="33161"/>
            <a:ext cx="360000" cy="1800000"/>
            <a:chOff x="12355040" y="33161"/>
            <a:chExt cx="360000" cy="1800000"/>
          </a:xfrm>
        </p:grpSpPr>
        <p:sp>
          <p:nvSpPr>
            <p:cNvPr id="11" name="Rectangle 10">
              <a:extLst>
                <a:ext uri="{FF2B5EF4-FFF2-40B4-BE49-F238E27FC236}">
                  <a16:creationId xmlns:a16="http://schemas.microsoft.com/office/drawing/2014/main" id="{EF1244FD-1856-4971-9A73-AD6DF3F42A90}"/>
                </a:ext>
              </a:extLst>
            </p:cNvPr>
            <p:cNvSpPr/>
            <p:nvPr userDrawn="1"/>
          </p:nvSpPr>
          <p:spPr>
            <a:xfrm>
              <a:off x="12355040" y="33161"/>
              <a:ext cx="360000" cy="36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2" name="Rectangle 11">
              <a:extLst>
                <a:ext uri="{FF2B5EF4-FFF2-40B4-BE49-F238E27FC236}">
                  <a16:creationId xmlns:a16="http://schemas.microsoft.com/office/drawing/2014/main" id="{22B40C78-6F20-4C95-AB26-B29FEC0FF747}"/>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3" name="Rectangle 12">
              <a:extLst>
                <a:ext uri="{FF2B5EF4-FFF2-40B4-BE49-F238E27FC236}">
                  <a16:creationId xmlns:a16="http://schemas.microsoft.com/office/drawing/2014/main" id="{1AED4E7D-39CE-49AE-9D4C-16EA940CBE5F}"/>
                </a:ext>
              </a:extLst>
            </p:cNvPr>
            <p:cNvSpPr/>
            <p:nvPr userDrawn="1"/>
          </p:nvSpPr>
          <p:spPr>
            <a:xfrm>
              <a:off x="12355040" y="753161"/>
              <a:ext cx="360000" cy="360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4" name="Rectangle 13">
              <a:extLst>
                <a:ext uri="{FF2B5EF4-FFF2-40B4-BE49-F238E27FC236}">
                  <a16:creationId xmlns:a16="http://schemas.microsoft.com/office/drawing/2014/main" id="{392DC803-B0F7-4D0E-81CA-9DDCB14FA42C}"/>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5" name="Rectangle 14">
              <a:extLst>
                <a:ext uri="{FF2B5EF4-FFF2-40B4-BE49-F238E27FC236}">
                  <a16:creationId xmlns:a16="http://schemas.microsoft.com/office/drawing/2014/main" id="{03C5671A-353B-4887-BEEF-56CEFAE8D83D}"/>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5" name="Groupe 4">
            <a:extLst>
              <a:ext uri="{FF2B5EF4-FFF2-40B4-BE49-F238E27FC236}">
                <a16:creationId xmlns:a16="http://schemas.microsoft.com/office/drawing/2014/main" id="{CC6ACEFF-8651-4C08-BAF6-3BFAE6473DAF}"/>
              </a:ext>
            </a:extLst>
          </p:cNvPr>
          <p:cNvGrpSpPr/>
          <p:nvPr userDrawn="1"/>
        </p:nvGrpSpPr>
        <p:grpSpPr>
          <a:xfrm>
            <a:off x="12355040" y="1954479"/>
            <a:ext cx="360000" cy="4875772"/>
            <a:chOff x="12355040" y="1954479"/>
            <a:chExt cx="360000" cy="4875772"/>
          </a:xfrm>
        </p:grpSpPr>
        <p:sp>
          <p:nvSpPr>
            <p:cNvPr id="16" name="Rectangle 15">
              <a:extLst>
                <a:ext uri="{FF2B5EF4-FFF2-40B4-BE49-F238E27FC236}">
                  <a16:creationId xmlns:a16="http://schemas.microsoft.com/office/drawing/2014/main" id="{D27E2B2B-AB85-4173-AB1F-61084925AA83}"/>
                </a:ext>
              </a:extLst>
            </p:cNvPr>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17" name="Rectangle 16">
              <a:extLst>
                <a:ext uri="{FF2B5EF4-FFF2-40B4-BE49-F238E27FC236}">
                  <a16:creationId xmlns:a16="http://schemas.microsoft.com/office/drawing/2014/main" id="{0DDEBD8A-CA0B-4D62-9426-DFB2D4742184}"/>
                </a:ext>
              </a:extLst>
            </p:cNvPr>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18" name="Rectangle 17">
              <a:extLst>
                <a:ext uri="{FF2B5EF4-FFF2-40B4-BE49-F238E27FC236}">
                  <a16:creationId xmlns:a16="http://schemas.microsoft.com/office/drawing/2014/main" id="{65515214-3AFD-4A2B-95C5-2FDFF59A1BE2}"/>
                </a:ext>
              </a:extLst>
            </p:cNvPr>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9" name="Rectangle 18">
              <a:extLst>
                <a:ext uri="{FF2B5EF4-FFF2-40B4-BE49-F238E27FC236}">
                  <a16:creationId xmlns:a16="http://schemas.microsoft.com/office/drawing/2014/main" id="{D674829A-E5EF-4140-B9ED-AC7745AB028D}"/>
                </a:ext>
              </a:extLst>
            </p:cNvPr>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0" name="Rectangle 19">
              <a:extLst>
                <a:ext uri="{FF2B5EF4-FFF2-40B4-BE49-F238E27FC236}">
                  <a16:creationId xmlns:a16="http://schemas.microsoft.com/office/drawing/2014/main" id="{E59B3FCE-0262-45FE-BE39-9459C5BC7FEE}"/>
                </a:ext>
              </a:extLst>
            </p:cNvPr>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2" name="Rectangle 21">
              <a:extLst>
                <a:ext uri="{FF2B5EF4-FFF2-40B4-BE49-F238E27FC236}">
                  <a16:creationId xmlns:a16="http://schemas.microsoft.com/office/drawing/2014/main" id="{F5D692DE-D6DE-4022-9F2F-5F8C1403E4D0}"/>
                </a:ext>
              </a:extLst>
            </p:cNvPr>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3" name="Rectangle 22">
              <a:extLst>
                <a:ext uri="{FF2B5EF4-FFF2-40B4-BE49-F238E27FC236}">
                  <a16:creationId xmlns:a16="http://schemas.microsoft.com/office/drawing/2014/main" id="{35EEF2F0-E01D-4851-96E7-30214EC78A3B}"/>
                </a:ext>
              </a:extLst>
            </p:cNvPr>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4" name="Rectangle 23">
              <a:extLst>
                <a:ext uri="{FF2B5EF4-FFF2-40B4-BE49-F238E27FC236}">
                  <a16:creationId xmlns:a16="http://schemas.microsoft.com/office/drawing/2014/main" id="{468B1DDD-74B0-4453-A996-5BA8693FF545}"/>
                </a:ext>
              </a:extLst>
            </p:cNvPr>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5" name="Rectangle 24">
              <a:extLst>
                <a:ext uri="{FF2B5EF4-FFF2-40B4-BE49-F238E27FC236}">
                  <a16:creationId xmlns:a16="http://schemas.microsoft.com/office/drawing/2014/main" id="{8809D5E9-1B2A-4D30-A4DD-47B7C9BBCEDC}"/>
                </a:ext>
              </a:extLst>
            </p:cNvPr>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6" name="Rectangle 25">
              <a:extLst>
                <a:ext uri="{FF2B5EF4-FFF2-40B4-BE49-F238E27FC236}">
                  <a16:creationId xmlns:a16="http://schemas.microsoft.com/office/drawing/2014/main" id="{995FF3A0-94CA-40BA-AF81-B777FF5FD489}"/>
                </a:ext>
              </a:extLst>
            </p:cNvPr>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a:extLst>
                <a:ext uri="{FF2B5EF4-FFF2-40B4-BE49-F238E27FC236}">
                  <a16:creationId xmlns:a16="http://schemas.microsoft.com/office/drawing/2014/main" id="{9F83F12C-5135-43B7-B1D8-A0A72DB85AED}"/>
                </a:ext>
              </a:extLst>
            </p:cNvPr>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a:extLst>
                <a:ext uri="{FF2B5EF4-FFF2-40B4-BE49-F238E27FC236}">
                  <a16:creationId xmlns:a16="http://schemas.microsoft.com/office/drawing/2014/main" id="{256CA1CF-2C4A-42DA-94F5-CB5E5B47F24B}"/>
                </a:ext>
              </a:extLst>
            </p:cNvPr>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a:extLst>
                <a:ext uri="{FF2B5EF4-FFF2-40B4-BE49-F238E27FC236}">
                  <a16:creationId xmlns:a16="http://schemas.microsoft.com/office/drawing/2014/main" id="{47F07AFA-8569-4B3B-854A-60B26629D96D}"/>
                </a:ext>
              </a:extLst>
            </p:cNvPr>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a:extLst>
                <a:ext uri="{FF2B5EF4-FFF2-40B4-BE49-F238E27FC236}">
                  <a16:creationId xmlns:a16="http://schemas.microsoft.com/office/drawing/2014/main" id="{8103554C-8B73-4C9A-AFFF-55D6E47A0E76}"/>
                </a:ext>
              </a:extLst>
            </p:cNvPr>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1762778664"/>
      </p:ext>
    </p:extLst>
  </p:cSld>
  <p:clrMap bg1="lt1" tx1="dk1" bg2="lt2" tx2="dk2" accent1="accent1" accent2="accent2" accent3="accent3" accent4="accent4" accent5="accent5" accent6="accent6" hlink="hlink" folHlink="folHlink"/>
  <p:sldLayoutIdLst>
    <p:sldLayoutId id="2147483828" r:id="rId1"/>
    <p:sldLayoutId id="2147483827" r:id="rId2"/>
    <p:sldLayoutId id="2147483883" r:id="rId3"/>
    <p:sldLayoutId id="2147483884" r:id="rId4"/>
    <p:sldLayoutId id="2147483831" r:id="rId5"/>
    <p:sldLayoutId id="2147483833" r:id="rId6"/>
    <p:sldLayoutId id="2147483837" r:id="rId7"/>
    <p:sldLayoutId id="2147483881" r:id="rId8"/>
    <p:sldLayoutId id="2147483882" r:id="rId9"/>
    <p:sldLayoutId id="2147483821" r:id="rId10"/>
    <p:sldLayoutId id="2147483877" r:id="rId11"/>
    <p:sldLayoutId id="2147483834" r:id="rId12"/>
    <p:sldLayoutId id="2147483880" r:id="rId13"/>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7"/>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30890" name="think-cell Slide" r:id="rId8" imgW="270" imgH="270" progId="TCLayout.ActiveDocument.1">
                  <p:embed/>
                </p:oleObj>
              </mc:Choice>
              <mc:Fallback>
                <p:oleObj name="think-cell Slide" r:id="rId8" imgW="270" imgH="270" progId="TCLayout.ActiveDocument.1">
                  <p:embed/>
                  <p:pic>
                    <p:nvPicPr>
                      <p:cNvPr id="0" name="Picture 6"/>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8" name="Retângulo 43">
            <a:extLst>
              <a:ext uri="{FF2B5EF4-FFF2-40B4-BE49-F238E27FC236}">
                <a16:creationId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11" name="Text Placeholder 7">
            <a:extLst>
              <a:ext uri="{FF2B5EF4-FFF2-40B4-BE49-F238E27FC236}">
                <a16:creationId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1</a:t>
            </a:r>
            <a:r>
              <a:rPr lang="pl-PL" dirty="0">
                <a:solidFill>
                  <a:schemeClr val="bg1">
                    <a:lumMod val="65000"/>
                  </a:schemeClr>
                </a:solidFill>
              </a:rPr>
              <a:t>9</a:t>
            </a:r>
            <a:r>
              <a:rPr lang="en-US" dirty="0">
                <a:solidFill>
                  <a:schemeClr val="bg1">
                    <a:lumMod val="65000"/>
                  </a:schemeClr>
                </a:solidFill>
              </a:rPr>
              <a:t>. All rights reserved  </a:t>
            </a:r>
            <a:r>
              <a:rPr lang="en-US" dirty="0">
                <a:solidFill>
                  <a:schemeClr val="accent2"/>
                </a:solidFill>
              </a:rPr>
              <a:t>|</a:t>
            </a:r>
          </a:p>
        </p:txBody>
      </p:sp>
      <p:grpSp>
        <p:nvGrpSpPr>
          <p:cNvPr id="16" name="Groupe 15">
            <a:extLst>
              <a:ext uri="{FF2B5EF4-FFF2-40B4-BE49-F238E27FC236}">
                <a16:creationId xmlns:a16="http://schemas.microsoft.com/office/drawing/2014/main" id="{9CCBF2C1-AE84-4920-BA55-06A21A3C64E9}"/>
              </a:ext>
            </a:extLst>
          </p:cNvPr>
          <p:cNvGrpSpPr/>
          <p:nvPr userDrawn="1"/>
        </p:nvGrpSpPr>
        <p:grpSpPr>
          <a:xfrm>
            <a:off x="12355040" y="33161"/>
            <a:ext cx="360000" cy="1800000"/>
            <a:chOff x="12355040" y="33161"/>
            <a:chExt cx="360000" cy="1800000"/>
          </a:xfrm>
        </p:grpSpPr>
        <p:sp>
          <p:nvSpPr>
            <p:cNvPr id="17" name="Rectangle 16">
              <a:extLst>
                <a:ext uri="{FF2B5EF4-FFF2-40B4-BE49-F238E27FC236}">
                  <a16:creationId xmlns:a16="http://schemas.microsoft.com/office/drawing/2014/main" id="{B08F5EF3-2356-4B1F-860E-01CACCDDB0BA}"/>
                </a:ext>
              </a:extLst>
            </p:cNvPr>
            <p:cNvSpPr/>
            <p:nvPr userDrawn="1"/>
          </p:nvSpPr>
          <p:spPr>
            <a:xfrm>
              <a:off x="12355040" y="33161"/>
              <a:ext cx="360000" cy="36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8" name="Rectangle 17">
              <a:extLst>
                <a:ext uri="{FF2B5EF4-FFF2-40B4-BE49-F238E27FC236}">
                  <a16:creationId xmlns:a16="http://schemas.microsoft.com/office/drawing/2014/main" id="{AA3EC8E9-315E-47E1-AF32-83834998FDA6}"/>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9" name="Rectangle 18">
              <a:extLst>
                <a:ext uri="{FF2B5EF4-FFF2-40B4-BE49-F238E27FC236}">
                  <a16:creationId xmlns:a16="http://schemas.microsoft.com/office/drawing/2014/main" id="{7DAF62B2-11CC-4B22-9A4B-18FA2DE2B586}"/>
                </a:ext>
              </a:extLst>
            </p:cNvPr>
            <p:cNvSpPr/>
            <p:nvPr userDrawn="1"/>
          </p:nvSpPr>
          <p:spPr>
            <a:xfrm>
              <a:off x="12355040" y="753161"/>
              <a:ext cx="360000" cy="360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0" name="Rectangle 19">
              <a:extLst>
                <a:ext uri="{FF2B5EF4-FFF2-40B4-BE49-F238E27FC236}">
                  <a16:creationId xmlns:a16="http://schemas.microsoft.com/office/drawing/2014/main" id="{C75D6175-E1F7-4C00-B893-FDD3A3F704F4}"/>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2" name="Rectangle 21">
              <a:extLst>
                <a:ext uri="{FF2B5EF4-FFF2-40B4-BE49-F238E27FC236}">
                  <a16:creationId xmlns:a16="http://schemas.microsoft.com/office/drawing/2014/main" id="{B23D6F31-6A70-49F8-85C0-D3D2946BE1DF}"/>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2642789608"/>
      </p:ext>
    </p:extLst>
  </p:cSld>
  <p:clrMap bg1="lt1" tx1="dk1" bg2="lt2" tx2="dk2" accent1="accent1" accent2="accent2" accent3="accent3" accent4="accent4" accent5="accent5" accent6="accent6" hlink="hlink" folHlink="folHlink"/>
  <p:sldLayoutIdLst>
    <p:sldLayoutId id="2147483874" r:id="rId1"/>
    <p:sldLayoutId id="2147483875" r:id="rId2"/>
    <p:sldLayoutId id="2147483876" r:id="rId3"/>
    <p:sldLayoutId id="2147483879" r:id="rId4"/>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4088" userDrawn="1">
          <p15:clr>
            <a:srgbClr val="F26B43"/>
          </p15:clr>
        </p15:guide>
        <p15:guide id="2" pos="7506">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7"/>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4747" name="think-cell Slide" r:id="rId8" imgW="270" imgH="270" progId="TCLayout.ActiveDocument.1">
                  <p:embed/>
                </p:oleObj>
              </mc:Choice>
              <mc:Fallback>
                <p:oleObj name="think-cell Slide" r:id="rId8" imgW="270" imgH="270" progId="TCLayout.ActiveDocument.1">
                  <p:embed/>
                  <p:pic>
                    <p:nvPicPr>
                      <p:cNvPr id="0" name="Picture 7"/>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3" name="Groupe 2">
            <a:extLst>
              <a:ext uri="{FF2B5EF4-FFF2-40B4-BE49-F238E27FC236}">
                <a16:creationId xmlns:a16="http://schemas.microsoft.com/office/drawing/2014/main" id="{2B612A8E-B9C0-4A33-BDF0-7B934FC0FA7B}"/>
              </a:ext>
            </a:extLst>
          </p:cNvPr>
          <p:cNvGrpSpPr/>
          <p:nvPr userDrawn="1"/>
        </p:nvGrpSpPr>
        <p:grpSpPr>
          <a:xfrm>
            <a:off x="12355040" y="33161"/>
            <a:ext cx="360000" cy="1800000"/>
            <a:chOff x="12355040" y="33161"/>
            <a:chExt cx="360000" cy="1800000"/>
          </a:xfrm>
        </p:grpSpPr>
        <p:sp>
          <p:nvSpPr>
            <p:cNvPr id="4" name="Rectangle 3">
              <a:extLst>
                <a:ext uri="{FF2B5EF4-FFF2-40B4-BE49-F238E27FC236}">
                  <a16:creationId xmlns:a16="http://schemas.microsoft.com/office/drawing/2014/main" id="{8759ABE2-EA66-4C96-A730-7AE70F160C4A}"/>
                </a:ext>
              </a:extLst>
            </p:cNvPr>
            <p:cNvSpPr/>
            <p:nvPr userDrawn="1"/>
          </p:nvSpPr>
          <p:spPr>
            <a:xfrm>
              <a:off x="12355040" y="33161"/>
              <a:ext cx="360000" cy="36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5" name="Rectangle 4">
              <a:extLst>
                <a:ext uri="{FF2B5EF4-FFF2-40B4-BE49-F238E27FC236}">
                  <a16:creationId xmlns:a16="http://schemas.microsoft.com/office/drawing/2014/main" id="{A0575D8E-DADC-4A93-90E1-700FFEEB7476}"/>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6" name="Rectangle 5">
              <a:extLst>
                <a:ext uri="{FF2B5EF4-FFF2-40B4-BE49-F238E27FC236}">
                  <a16:creationId xmlns:a16="http://schemas.microsoft.com/office/drawing/2014/main" id="{797A0406-0F4B-4D43-9CEA-FDE61975CF1D}"/>
                </a:ext>
              </a:extLst>
            </p:cNvPr>
            <p:cNvSpPr/>
            <p:nvPr userDrawn="1"/>
          </p:nvSpPr>
          <p:spPr>
            <a:xfrm>
              <a:off x="12355040" y="753161"/>
              <a:ext cx="360000" cy="360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7" name="Rectangle 6">
              <a:extLst>
                <a:ext uri="{FF2B5EF4-FFF2-40B4-BE49-F238E27FC236}">
                  <a16:creationId xmlns:a16="http://schemas.microsoft.com/office/drawing/2014/main" id="{D5ADBA43-C200-4485-A4EC-E3C6D0E787EB}"/>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8" name="Rectangle 7">
              <a:extLst>
                <a:ext uri="{FF2B5EF4-FFF2-40B4-BE49-F238E27FC236}">
                  <a16:creationId xmlns:a16="http://schemas.microsoft.com/office/drawing/2014/main" id="{23914078-BC81-4D4F-882A-303F25DADB61}"/>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2458042863"/>
      </p:ext>
    </p:extLst>
  </p:cSld>
  <p:clrMap bg1="lt1" tx1="dk1" bg2="lt2" tx2="dk2" accent1="accent1" accent2="accent2" accent3="accent3" accent4="accent4" accent5="accent5" accent6="accent6" hlink="hlink" folHlink="folHlink"/>
  <p:sldLayoutIdLst>
    <p:sldLayoutId id="2147483839" r:id="rId1"/>
    <p:sldLayoutId id="2147483855" r:id="rId2"/>
    <p:sldLayoutId id="2147483841" r:id="rId3"/>
    <p:sldLayoutId id="2147483842" r:id="rId4"/>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2" pos="7506">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5"/>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9867" name="think-cell Slide" r:id="rId6" imgW="270" imgH="270" progId="TCLayout.ActiveDocument.1">
                  <p:embed/>
                </p:oleObj>
              </mc:Choice>
              <mc:Fallback>
                <p:oleObj name="think-cell Slide" r:id="rId6" imgW="270" imgH="270" progId="TCLayout.ActiveDocument.1">
                  <p:embed/>
                  <p:pic>
                    <p:nvPicPr>
                      <p:cNvPr id="0" name="Picture 6"/>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1768834783"/>
      </p:ext>
    </p:extLst>
  </p:cSld>
  <p:clrMap bg1="lt1" tx1="dk1" bg2="lt2" tx2="dk2" accent1="accent1" accent2="accent2" accent3="accent3" accent4="accent4" accent5="accent5" accent6="accent6" hlink="hlink" folHlink="folHlink"/>
  <p:sldLayoutIdLst>
    <p:sldLayoutId id="2147483864" r:id="rId1"/>
    <p:sldLayoutId id="2147483865" r:id="rId2"/>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2" pos="257"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9.xml"/></Relationships>
</file>

<file path=ppt/slides/_rels/slide10.xml.rels><?xml version="1.0" encoding="UTF-8" standalone="yes"?>
<Relationships xmlns="http://schemas.openxmlformats.org/package/2006/relationships"><Relationship Id="rId3" Type="http://schemas.openxmlformats.org/officeDocument/2006/relationships/image" Target="../media/image20.jpg"/><Relationship Id="rId2" Type="http://schemas.openxmlformats.org/officeDocument/2006/relationships/image" Target="../media/image19.jpg"/><Relationship Id="rId1" Type="http://schemas.openxmlformats.org/officeDocument/2006/relationships/slideLayout" Target="../slideLayouts/slideLayout7.xml"/><Relationship Id="rId4" Type="http://schemas.openxmlformats.org/officeDocument/2006/relationships/image" Target="../media/image21.jpg"/></Relationships>
</file>

<file path=ppt/slides/_rels/slide100.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0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0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0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4.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05.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Layout" Target="../slideLayouts/slideLayout7.xml"/></Relationships>
</file>

<file path=ppt/slides/_rels/slide106.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Layout" Target="../slideLayouts/slideLayout7.xml"/></Relationships>
</file>

<file path=ppt/slides/_rels/slide107.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Layout" Target="../slideLayouts/slideLayout7.xml"/></Relationships>
</file>

<file path=ppt/slides/_rels/slide108.xml.rels><?xml version="1.0" encoding="UTF-8" standalone="yes"?>
<Relationships xmlns="http://schemas.openxmlformats.org/package/2006/relationships"><Relationship Id="rId2" Type="http://schemas.openxmlformats.org/officeDocument/2006/relationships/image" Target="../media/image65.png"/><Relationship Id="rId1" Type="http://schemas.openxmlformats.org/officeDocument/2006/relationships/slideLayout" Target="../slideLayouts/slideLayout7.xml"/></Relationships>
</file>

<file path=ppt/slides/_rels/slide109.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3" Type="http://schemas.openxmlformats.org/officeDocument/2006/relationships/image" Target="../media/image23.jpg"/><Relationship Id="rId2" Type="http://schemas.openxmlformats.org/officeDocument/2006/relationships/image" Target="../media/image22.jpg"/><Relationship Id="rId1" Type="http://schemas.openxmlformats.org/officeDocument/2006/relationships/slideLayout" Target="../slideLayouts/slideLayout7.xml"/><Relationship Id="rId4" Type="http://schemas.openxmlformats.org/officeDocument/2006/relationships/image" Target="../media/image21.jpg"/></Relationships>
</file>

<file path=ppt/slides/_rels/slide110.xml.rels><?xml version="1.0" encoding="UTF-8" standalone="yes"?>
<Relationships xmlns="http://schemas.openxmlformats.org/package/2006/relationships"><Relationship Id="rId2" Type="http://schemas.openxmlformats.org/officeDocument/2006/relationships/image" Target="../media/image67.png"/><Relationship Id="rId1" Type="http://schemas.openxmlformats.org/officeDocument/2006/relationships/slideLayout" Target="../slideLayouts/slideLayout7.xml"/></Relationships>
</file>

<file path=ppt/slides/_rels/slide111.xml.rels><?xml version="1.0" encoding="UTF-8" standalone="yes"?>
<Relationships xmlns="http://schemas.openxmlformats.org/package/2006/relationships"><Relationship Id="rId2" Type="http://schemas.openxmlformats.org/officeDocument/2006/relationships/image" Target="../media/image68.png"/><Relationship Id="rId1" Type="http://schemas.openxmlformats.org/officeDocument/2006/relationships/slideLayout" Target="../slideLayouts/slideLayout7.xml"/></Relationships>
</file>

<file path=ppt/slides/_rels/slide112.xml.rels><?xml version="1.0" encoding="UTF-8" standalone="yes"?>
<Relationships xmlns="http://schemas.openxmlformats.org/package/2006/relationships"><Relationship Id="rId2" Type="http://schemas.openxmlformats.org/officeDocument/2006/relationships/image" Target="../media/image69.png"/><Relationship Id="rId1" Type="http://schemas.openxmlformats.org/officeDocument/2006/relationships/slideLayout" Target="../slideLayouts/slideLayout7.xml"/></Relationships>
</file>

<file path=ppt/slides/_rels/slide113.xml.rels><?xml version="1.0" encoding="UTF-8" standalone="yes"?>
<Relationships xmlns="http://schemas.openxmlformats.org/package/2006/relationships"><Relationship Id="rId2" Type="http://schemas.openxmlformats.org/officeDocument/2006/relationships/image" Target="../media/image70.png"/><Relationship Id="rId1" Type="http://schemas.openxmlformats.org/officeDocument/2006/relationships/slideLayout" Target="../slideLayouts/slideLayout7.xml"/></Relationships>
</file>

<file path=ppt/slides/_rels/slide114.xml.rels><?xml version="1.0" encoding="UTF-8" standalone="yes"?>
<Relationships xmlns="http://schemas.openxmlformats.org/package/2006/relationships"><Relationship Id="rId2" Type="http://schemas.openxmlformats.org/officeDocument/2006/relationships/image" Target="../media/image71.png"/><Relationship Id="rId1" Type="http://schemas.openxmlformats.org/officeDocument/2006/relationships/slideLayout" Target="../slideLayouts/slideLayout7.xml"/></Relationships>
</file>

<file path=ppt/slides/_rels/slide115.xml.rels><?xml version="1.0" encoding="UTF-8" standalone="yes"?>
<Relationships xmlns="http://schemas.openxmlformats.org/package/2006/relationships"><Relationship Id="rId2" Type="http://schemas.openxmlformats.org/officeDocument/2006/relationships/image" Target="../media/image72.png"/><Relationship Id="rId1" Type="http://schemas.openxmlformats.org/officeDocument/2006/relationships/slideLayout" Target="../slideLayouts/slideLayout7.xml"/></Relationships>
</file>

<file path=ppt/slides/_rels/slide116.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Layout" Target="../slideLayouts/slideLayout7.xml"/></Relationships>
</file>

<file path=ppt/slides/_rels/slide117.xml.rels><?xml version="1.0" encoding="UTF-8" standalone="yes"?>
<Relationships xmlns="http://schemas.openxmlformats.org/package/2006/relationships"><Relationship Id="rId2" Type="http://schemas.openxmlformats.org/officeDocument/2006/relationships/image" Target="../media/image74.png"/><Relationship Id="rId1" Type="http://schemas.openxmlformats.org/officeDocument/2006/relationships/slideLayout" Target="../slideLayouts/slideLayout7.xml"/></Relationships>
</file>

<file path=ppt/slides/_rels/slide1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9.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6.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20.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notesSlide" Target="../notesSlides/notesSlide5.xml"/><Relationship Id="rId1" Type="http://schemas.openxmlformats.org/officeDocument/2006/relationships/slideLayout" Target="../slideLayouts/slideLayout7.xml"/><Relationship Id="rId4" Type="http://schemas.openxmlformats.org/officeDocument/2006/relationships/image" Target="../media/image76.png"/></Relationships>
</file>

<file path=ppt/slides/_rels/slide121.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notesSlide" Target="../notesSlides/notesSlide6.xml"/><Relationship Id="rId1" Type="http://schemas.openxmlformats.org/officeDocument/2006/relationships/slideLayout" Target="../slideLayouts/slideLayout7.xml"/><Relationship Id="rId4" Type="http://schemas.openxmlformats.org/officeDocument/2006/relationships/image" Target="../media/image78.png"/></Relationships>
</file>

<file path=ppt/slides/_rels/slide122.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notesSlide" Target="../notesSlides/notesSlide7.xml"/><Relationship Id="rId1" Type="http://schemas.openxmlformats.org/officeDocument/2006/relationships/slideLayout" Target="../slideLayouts/slideLayout7.xml"/><Relationship Id="rId4" Type="http://schemas.openxmlformats.org/officeDocument/2006/relationships/image" Target="../media/image80.png"/></Relationships>
</file>

<file path=ppt/slides/_rels/slide123.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notesSlide" Target="../notesSlides/notesSlide8.xml"/><Relationship Id="rId1" Type="http://schemas.openxmlformats.org/officeDocument/2006/relationships/slideLayout" Target="../slideLayouts/slideLayout7.xml"/><Relationship Id="rId4" Type="http://schemas.openxmlformats.org/officeDocument/2006/relationships/image" Target="../media/image82.png"/></Relationships>
</file>

<file path=ppt/slides/_rels/slide12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5.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26.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image" Target="../media/image83.png"/><Relationship Id="rId1" Type="http://schemas.openxmlformats.org/officeDocument/2006/relationships/slideLayout" Target="../slideLayouts/slideLayout7.xml"/><Relationship Id="rId4" Type="http://schemas.openxmlformats.org/officeDocument/2006/relationships/image" Target="../media/image85.png"/></Relationships>
</file>

<file path=ppt/slides/_rels/slide127.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image" Target="../media/image86.png"/><Relationship Id="rId1" Type="http://schemas.openxmlformats.org/officeDocument/2006/relationships/slideLayout" Target="../slideLayouts/slideLayout7.xml"/><Relationship Id="rId4" Type="http://schemas.openxmlformats.org/officeDocument/2006/relationships/image" Target="../media/image88.png"/></Relationships>
</file>

<file path=ppt/slides/_rels/slide128.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image" Target="../media/image89.png"/><Relationship Id="rId1" Type="http://schemas.openxmlformats.org/officeDocument/2006/relationships/slideLayout" Target="../slideLayouts/slideLayout7.xml"/></Relationships>
</file>

<file path=ppt/slides/_rels/slide129.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image" Target="../media/image89.png"/><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0.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image" Target="../media/image92.png"/><Relationship Id="rId1" Type="http://schemas.openxmlformats.org/officeDocument/2006/relationships/slideLayout" Target="../slideLayouts/slideLayout7.xml"/><Relationship Id="rId4" Type="http://schemas.openxmlformats.org/officeDocument/2006/relationships/image" Target="../media/image94.png"/></Relationships>
</file>

<file path=ppt/slides/_rels/slide131.xml.rels><?xml version="1.0" encoding="UTF-8" standalone="yes"?>
<Relationships xmlns="http://schemas.openxmlformats.org/package/2006/relationships"><Relationship Id="rId3" Type="http://schemas.openxmlformats.org/officeDocument/2006/relationships/image" Target="../media/image96.png"/><Relationship Id="rId2" Type="http://schemas.openxmlformats.org/officeDocument/2006/relationships/image" Target="../media/image95.png"/><Relationship Id="rId1" Type="http://schemas.openxmlformats.org/officeDocument/2006/relationships/slideLayout" Target="../slideLayouts/slideLayout7.xml"/><Relationship Id="rId4" Type="http://schemas.openxmlformats.org/officeDocument/2006/relationships/image" Target="../media/image97.png"/></Relationships>
</file>

<file path=ppt/slides/_rels/slide132.xml.rels><?xml version="1.0" encoding="UTF-8" standalone="yes"?>
<Relationships xmlns="http://schemas.openxmlformats.org/package/2006/relationships"><Relationship Id="rId3" Type="http://schemas.openxmlformats.org/officeDocument/2006/relationships/image" Target="../media/image99.png"/><Relationship Id="rId2" Type="http://schemas.openxmlformats.org/officeDocument/2006/relationships/image" Target="../media/image98.png"/><Relationship Id="rId1" Type="http://schemas.openxmlformats.org/officeDocument/2006/relationships/slideLayout" Target="../slideLayouts/slideLayout7.xml"/></Relationships>
</file>

<file path=ppt/slides/_rels/slide133.xml.rels><?xml version="1.0" encoding="UTF-8" standalone="yes"?>
<Relationships xmlns="http://schemas.openxmlformats.org/package/2006/relationships"><Relationship Id="rId3" Type="http://schemas.openxmlformats.org/officeDocument/2006/relationships/image" Target="../media/image101.png"/><Relationship Id="rId2" Type="http://schemas.openxmlformats.org/officeDocument/2006/relationships/image" Target="../media/image100.png"/><Relationship Id="rId1" Type="http://schemas.openxmlformats.org/officeDocument/2006/relationships/slideLayout" Target="../slideLayouts/slideLayout7.xml"/></Relationships>
</file>

<file path=ppt/slides/_rels/slide134.xml.rels><?xml version="1.0" encoding="UTF-8" standalone="yes"?>
<Relationships xmlns="http://schemas.openxmlformats.org/package/2006/relationships"><Relationship Id="rId3" Type="http://schemas.openxmlformats.org/officeDocument/2006/relationships/image" Target="../media/image103.png"/><Relationship Id="rId2" Type="http://schemas.openxmlformats.org/officeDocument/2006/relationships/image" Target="../media/image102.png"/><Relationship Id="rId1" Type="http://schemas.openxmlformats.org/officeDocument/2006/relationships/slideLayout" Target="../slideLayouts/slideLayout7.xml"/></Relationships>
</file>

<file path=ppt/slides/_rels/slide135.xml.rels><?xml version="1.0" encoding="UTF-8" standalone="yes"?>
<Relationships xmlns="http://schemas.openxmlformats.org/package/2006/relationships"><Relationship Id="rId3" Type="http://schemas.openxmlformats.org/officeDocument/2006/relationships/image" Target="../media/image105.png"/><Relationship Id="rId2" Type="http://schemas.openxmlformats.org/officeDocument/2006/relationships/image" Target="../media/image104.png"/><Relationship Id="rId1" Type="http://schemas.openxmlformats.org/officeDocument/2006/relationships/slideLayout" Target="../slideLayouts/slideLayout7.xml"/></Relationships>
</file>

<file path=ppt/slides/_rels/slide13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7.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3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3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4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1.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4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4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4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5.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4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4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48.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149.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15.xml.rels><?xml version="1.0" encoding="UTF-8" standalone="yes"?>
<Relationships xmlns="http://schemas.openxmlformats.org/package/2006/relationships"><Relationship Id="rId2" Type="http://schemas.openxmlformats.org/officeDocument/2006/relationships/image" Target="../media/image24.jpg"/><Relationship Id="rId1" Type="http://schemas.openxmlformats.org/officeDocument/2006/relationships/slideLayout" Target="../slideLayouts/slideLayout7.xml"/></Relationships>
</file>

<file path=ppt/slides/_rels/slide150.xml.rels><?xml version="1.0" encoding="UTF-8" standalone="yes"?>
<Relationships xmlns="http://schemas.openxmlformats.org/package/2006/relationships"><Relationship Id="rId3" Type="http://schemas.openxmlformats.org/officeDocument/2006/relationships/slideLayout" Target="../slideLayouts/slideLayout10.xml"/><Relationship Id="rId2" Type="http://schemas.openxmlformats.org/officeDocument/2006/relationships/tags" Target="../tags/tag21.xml"/><Relationship Id="rId1" Type="http://schemas.openxmlformats.org/officeDocument/2006/relationships/vmlDrawing" Target="../drawings/vmlDrawing19.vml"/><Relationship Id="rId5" Type="http://schemas.openxmlformats.org/officeDocument/2006/relationships/image" Target="../media/image1.emf"/><Relationship Id="rId4" Type="http://schemas.openxmlformats.org/officeDocument/2006/relationships/oleObject" Target="../embeddings/oleObject16.bin"/></Relationships>
</file>

<file path=ppt/slides/_rels/slide151.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52.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10.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153.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6.xml.rels><?xml version="1.0" encoding="UTF-8" standalone="yes"?>
<Relationships xmlns="http://schemas.openxmlformats.org/package/2006/relationships"><Relationship Id="rId2" Type="http://schemas.openxmlformats.org/officeDocument/2006/relationships/image" Target="../media/image25.jpg"/><Relationship Id="rId1" Type="http://schemas.openxmlformats.org/officeDocument/2006/relationships/slideLayout" Target="../slideLayouts/slideLayout7.xml"/></Relationships>
</file>

<file path=ppt/slides/_rels/slide17.xml.rels><?xml version="1.0" encoding="UTF-8" standalone="yes"?>
<Relationships xmlns="http://schemas.openxmlformats.org/package/2006/relationships"><Relationship Id="rId2" Type="http://schemas.openxmlformats.org/officeDocument/2006/relationships/image" Target="../media/image26.jpg"/><Relationship Id="rId1" Type="http://schemas.openxmlformats.org/officeDocument/2006/relationships/slideLayout" Target="../slideLayouts/slideLayout7.xml"/></Relationships>
</file>

<file path=ppt/slides/_rels/slide18.xml.rels><?xml version="1.0" encoding="UTF-8" standalone="yes"?>
<Relationships xmlns="http://schemas.openxmlformats.org/package/2006/relationships"><Relationship Id="rId2" Type="http://schemas.openxmlformats.org/officeDocument/2006/relationships/image" Target="../media/image27.jpg"/><Relationship Id="rId1" Type="http://schemas.openxmlformats.org/officeDocument/2006/relationships/slideLayout" Target="../slideLayouts/slideLayout7.xml"/></Relationships>
</file>

<file path=ppt/slides/_rels/slide19.xml.rels><?xml version="1.0" encoding="UTF-8" standalone="yes"?>
<Relationships xmlns="http://schemas.openxmlformats.org/package/2006/relationships"><Relationship Id="rId2" Type="http://schemas.openxmlformats.org/officeDocument/2006/relationships/image" Target="../media/image28.jpg"/><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image" Target="../media/image29.jpg"/><Relationship Id="rId1" Type="http://schemas.openxmlformats.org/officeDocument/2006/relationships/slideLayout" Target="../slideLayouts/slideLayout7.xml"/></Relationships>
</file>

<file path=ppt/slides/_rels/slide21.xml.rels><?xml version="1.0" encoding="UTF-8" standalone="yes"?>
<Relationships xmlns="http://schemas.openxmlformats.org/package/2006/relationships"><Relationship Id="rId2" Type="http://schemas.openxmlformats.org/officeDocument/2006/relationships/image" Target="../media/image30.jpg"/><Relationship Id="rId1" Type="http://schemas.openxmlformats.org/officeDocument/2006/relationships/slideLayout" Target="../slideLayouts/slideLayout7.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67.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7.xml.rels><?xml version="1.0" encoding="UTF-8" standalone="yes"?>
<Relationships xmlns="http://schemas.openxmlformats.org/package/2006/relationships"><Relationship Id="rId8" Type="http://schemas.openxmlformats.org/officeDocument/2006/relationships/image" Target="../media/image17.svg"/><Relationship Id="rId3" Type="http://schemas.openxmlformats.org/officeDocument/2006/relationships/image" Target="../media/image12.png"/><Relationship Id="rId7" Type="http://schemas.openxmlformats.org/officeDocument/2006/relationships/image" Target="../media/image16.png"/><Relationship Id="rId2" Type="http://schemas.openxmlformats.org/officeDocument/2006/relationships/notesSlide" Target="../notesSlides/notesSlide2.xml"/><Relationship Id="rId1" Type="http://schemas.openxmlformats.org/officeDocument/2006/relationships/slideLayout" Target="../slideLayouts/slideLayout7.xml"/><Relationship Id="rId6" Type="http://schemas.openxmlformats.org/officeDocument/2006/relationships/image" Target="../media/image15.svg"/><Relationship Id="rId5" Type="http://schemas.openxmlformats.org/officeDocument/2006/relationships/image" Target="../media/image14.png"/><Relationship Id="rId4" Type="http://schemas.openxmlformats.org/officeDocument/2006/relationships/image" Target="../media/image13.svg"/><Relationship Id="rId9" Type="http://schemas.openxmlformats.org/officeDocument/2006/relationships/image" Target="../media/image18.png"/></Relationships>
</file>

<file path=ppt/slides/_rels/slide70.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71.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7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73.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74.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75.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7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77.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78.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79.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81.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82.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83.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8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85.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86.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87.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88.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8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90.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6.xml"/></Relationships>
</file>

<file path=ppt/slides/_rels/slide91.xml.rels><?xml version="1.0" encoding="UTF-8" standalone="yes"?>
<Relationships xmlns="http://schemas.openxmlformats.org/package/2006/relationships"><Relationship Id="rId8" Type="http://schemas.openxmlformats.org/officeDocument/2006/relationships/image" Target="../media/image37.png"/><Relationship Id="rId13" Type="http://schemas.openxmlformats.org/officeDocument/2006/relationships/image" Target="../media/image42.png"/><Relationship Id="rId18" Type="http://schemas.openxmlformats.org/officeDocument/2006/relationships/image" Target="../media/image47.png"/><Relationship Id="rId3" Type="http://schemas.openxmlformats.org/officeDocument/2006/relationships/image" Target="../media/image32.png"/><Relationship Id="rId7" Type="http://schemas.openxmlformats.org/officeDocument/2006/relationships/image" Target="../media/image36.png"/><Relationship Id="rId12" Type="http://schemas.openxmlformats.org/officeDocument/2006/relationships/image" Target="../media/image41.png"/><Relationship Id="rId17" Type="http://schemas.openxmlformats.org/officeDocument/2006/relationships/image" Target="../media/image46.png"/><Relationship Id="rId2" Type="http://schemas.openxmlformats.org/officeDocument/2006/relationships/image" Target="../media/image31.png"/><Relationship Id="rId16" Type="http://schemas.openxmlformats.org/officeDocument/2006/relationships/image" Target="../media/image45.png"/><Relationship Id="rId1" Type="http://schemas.openxmlformats.org/officeDocument/2006/relationships/slideLayout" Target="../slideLayouts/slideLayout7.xml"/><Relationship Id="rId6" Type="http://schemas.openxmlformats.org/officeDocument/2006/relationships/image" Target="../media/image35.png"/><Relationship Id="rId11" Type="http://schemas.openxmlformats.org/officeDocument/2006/relationships/image" Target="../media/image40.png"/><Relationship Id="rId5" Type="http://schemas.openxmlformats.org/officeDocument/2006/relationships/image" Target="../media/image34.png"/><Relationship Id="rId15" Type="http://schemas.openxmlformats.org/officeDocument/2006/relationships/image" Target="../media/image44.png"/><Relationship Id="rId10" Type="http://schemas.openxmlformats.org/officeDocument/2006/relationships/image" Target="../media/image39.png"/><Relationship Id="rId4" Type="http://schemas.openxmlformats.org/officeDocument/2006/relationships/image" Target="../media/image33.png"/><Relationship Id="rId9" Type="http://schemas.openxmlformats.org/officeDocument/2006/relationships/image" Target="../media/image38.png"/><Relationship Id="rId14" Type="http://schemas.openxmlformats.org/officeDocument/2006/relationships/image" Target="../media/image43.png"/></Relationships>
</file>

<file path=ppt/slides/_rels/slide92.xml.rels><?xml version="1.0" encoding="UTF-8" standalone="yes"?>
<Relationships xmlns="http://schemas.openxmlformats.org/package/2006/relationships"><Relationship Id="rId3" Type="http://schemas.openxmlformats.org/officeDocument/2006/relationships/image" Target="../media/image48.png"/><Relationship Id="rId7" Type="http://schemas.openxmlformats.org/officeDocument/2006/relationships/image" Target="../media/image52.png"/><Relationship Id="rId2" Type="http://schemas.openxmlformats.org/officeDocument/2006/relationships/image" Target="../media/image43.png"/><Relationship Id="rId1" Type="http://schemas.openxmlformats.org/officeDocument/2006/relationships/slideLayout" Target="../slideLayouts/slideLayout7.xml"/><Relationship Id="rId6" Type="http://schemas.openxmlformats.org/officeDocument/2006/relationships/image" Target="../media/image51.png"/><Relationship Id="rId5" Type="http://schemas.openxmlformats.org/officeDocument/2006/relationships/image" Target="../media/image50.png"/><Relationship Id="rId4" Type="http://schemas.openxmlformats.org/officeDocument/2006/relationships/image" Target="../media/image49.png"/></Relationships>
</file>

<file path=ppt/slides/_rels/slide93.xml.rels><?xml version="1.0" encoding="UTF-8" standalone="yes"?>
<Relationships xmlns="http://schemas.openxmlformats.org/package/2006/relationships"><Relationship Id="rId3" Type="http://schemas.openxmlformats.org/officeDocument/2006/relationships/image" Target="../media/image54.png"/><Relationship Id="rId7" Type="http://schemas.openxmlformats.org/officeDocument/2006/relationships/image" Target="../media/image58.png"/><Relationship Id="rId2" Type="http://schemas.openxmlformats.org/officeDocument/2006/relationships/image" Target="../media/image53.png"/><Relationship Id="rId1" Type="http://schemas.openxmlformats.org/officeDocument/2006/relationships/slideLayout" Target="../slideLayouts/slideLayout7.xml"/><Relationship Id="rId6" Type="http://schemas.openxmlformats.org/officeDocument/2006/relationships/image" Target="../media/image57.png"/><Relationship Id="rId5" Type="http://schemas.openxmlformats.org/officeDocument/2006/relationships/image" Target="../media/image56.png"/><Relationship Id="rId4" Type="http://schemas.openxmlformats.org/officeDocument/2006/relationships/image" Target="../media/image55.png"/></Relationships>
</file>

<file path=ppt/slides/_rels/slide94.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image" Target="../media/image53.png"/><Relationship Id="rId1" Type="http://schemas.openxmlformats.org/officeDocument/2006/relationships/slideLayout" Target="../slideLayouts/slideLayout7.xml"/><Relationship Id="rId5" Type="http://schemas.openxmlformats.org/officeDocument/2006/relationships/image" Target="../media/image61.png"/><Relationship Id="rId4" Type="http://schemas.openxmlformats.org/officeDocument/2006/relationships/image" Target="../media/image60.png"/></Relationships>
</file>

<file path=ppt/slides/_rels/slide9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6.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9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9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9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p:cNvSpPr>
            <a:spLocks noGrp="1"/>
          </p:cNvSpPr>
          <p:nvPr>
            <p:ph type="subTitle" idx="1"/>
          </p:nvPr>
        </p:nvSpPr>
        <p:spPr/>
        <p:txBody>
          <a:bodyPr/>
          <a:lstStyle/>
          <a:p>
            <a:r>
              <a:rPr lang="pl-PL" dirty="0"/>
              <a:t>Wrocław</a:t>
            </a:r>
            <a:r>
              <a:rPr lang="en-US" dirty="0"/>
              <a:t>, 10.03.2019, </a:t>
            </a:r>
            <a:r>
              <a:rPr lang="pl-PL" dirty="0"/>
              <a:t>Tomasz Strzałka</a:t>
            </a:r>
            <a:endParaRPr lang="en-US" dirty="0"/>
          </a:p>
        </p:txBody>
      </p:sp>
      <p:sp>
        <p:nvSpPr>
          <p:cNvPr id="2" name="Title 1"/>
          <p:cNvSpPr>
            <a:spLocks noGrp="1"/>
          </p:cNvSpPr>
          <p:nvPr>
            <p:ph type="title"/>
          </p:nvPr>
        </p:nvSpPr>
        <p:spPr/>
        <p:txBody>
          <a:bodyPr/>
          <a:lstStyle/>
          <a:p>
            <a:r>
              <a:rPr lang="en-US" dirty="0"/>
              <a:t>Upgrade your .NET code</a:t>
            </a:r>
            <a:r>
              <a:rPr lang="pl-PL" dirty="0"/>
              <a:t>!</a:t>
            </a:r>
            <a:br>
              <a:rPr lang="pl-PL" dirty="0"/>
            </a:br>
            <a:r>
              <a:rPr lang="pl-PL" sz="2000" dirty="0"/>
              <a:t>From C# 7.0 to C# 8.0 walkthrough</a:t>
            </a:r>
            <a:endParaRPr lang="en-US" dirty="0"/>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 name="Rectangle 61">
            <a:extLst>
              <a:ext uri="{FF2B5EF4-FFF2-40B4-BE49-F238E27FC236}">
                <a16:creationId xmlns:a16="http://schemas.microsoft.com/office/drawing/2014/main" id="{7E1DB1B3-6FDA-4208-8CC6-7B1F957EA7A7}"/>
              </a:ext>
            </a:extLst>
          </p:cNvPr>
          <p:cNvSpPr/>
          <p:nvPr/>
        </p:nvSpPr>
        <p:spPr>
          <a:xfrm>
            <a:off x="6816080" y="3212976"/>
            <a:ext cx="4952937" cy="230425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4" name="Tytuł 3">
            <a:extLst>
              <a:ext uri="{FF2B5EF4-FFF2-40B4-BE49-F238E27FC236}">
                <a16:creationId xmlns:a16="http://schemas.microsoft.com/office/drawing/2014/main" id="{686B1A0C-9322-4D76-BB83-7A8A8ECFCCB1}"/>
              </a:ext>
            </a:extLst>
          </p:cNvPr>
          <p:cNvSpPr>
            <a:spLocks noGrp="1"/>
          </p:cNvSpPr>
          <p:nvPr>
            <p:ph type="title"/>
          </p:nvPr>
        </p:nvSpPr>
        <p:spPr/>
        <p:txBody>
          <a:bodyPr/>
          <a:lstStyle/>
          <a:p>
            <a:r>
              <a:rPr lang="en-US" dirty="0"/>
              <a:t>Example</a:t>
            </a:r>
          </a:p>
        </p:txBody>
      </p:sp>
      <p:sp>
        <p:nvSpPr>
          <p:cNvPr id="6" name="Symbol zastępczy tekstu 5">
            <a:extLst>
              <a:ext uri="{FF2B5EF4-FFF2-40B4-BE49-F238E27FC236}">
                <a16:creationId xmlns:a16="http://schemas.microsoft.com/office/drawing/2014/main" id="{D0017915-E3ED-44DF-BD6C-6E81E9AEF129}"/>
              </a:ext>
            </a:extLst>
          </p:cNvPr>
          <p:cNvSpPr>
            <a:spLocks noGrp="1"/>
          </p:cNvSpPr>
          <p:nvPr>
            <p:ph type="body" sz="quarter" idx="11"/>
          </p:nvPr>
        </p:nvSpPr>
        <p:spPr/>
        <p:txBody>
          <a:bodyPr/>
          <a:lstStyle/>
          <a:p>
            <a:r>
              <a:rPr lang="en-US" dirty="0"/>
              <a:t>C# 7.0 Hello Word</a:t>
            </a:r>
          </a:p>
        </p:txBody>
      </p:sp>
      <p:sp>
        <p:nvSpPr>
          <p:cNvPr id="7" name="Symbol zastępczy tekstu 6">
            <a:extLst>
              <a:ext uri="{FF2B5EF4-FFF2-40B4-BE49-F238E27FC236}">
                <a16:creationId xmlns:a16="http://schemas.microsoft.com/office/drawing/2014/main" id="{89BB6366-E520-4FED-B09F-14DE42F6FFBC}"/>
              </a:ext>
            </a:extLst>
          </p:cNvPr>
          <p:cNvSpPr>
            <a:spLocks noGrp="1"/>
          </p:cNvSpPr>
          <p:nvPr>
            <p:ph type="body" sz="quarter" idx="12"/>
          </p:nvPr>
        </p:nvSpPr>
        <p:spPr/>
        <p:txBody>
          <a:bodyPr/>
          <a:lstStyle/>
          <a:p>
            <a:r>
              <a:rPr lang="en-US" dirty="0"/>
              <a:t>3</a:t>
            </a:r>
          </a:p>
        </p:txBody>
      </p:sp>
      <p:sp>
        <p:nvSpPr>
          <p:cNvPr id="8" name="Rectangle 61">
            <a:extLst>
              <a:ext uri="{FF2B5EF4-FFF2-40B4-BE49-F238E27FC236}">
                <a16:creationId xmlns:a16="http://schemas.microsoft.com/office/drawing/2014/main" id="{1B2D0436-71E5-4FF4-9444-5B9605D3B802}"/>
              </a:ext>
            </a:extLst>
          </p:cNvPr>
          <p:cNvSpPr/>
          <p:nvPr/>
        </p:nvSpPr>
        <p:spPr>
          <a:xfrm>
            <a:off x="422983" y="1988840"/>
            <a:ext cx="11504363" cy="86409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0" name="Freeform 20">
            <a:extLst>
              <a:ext uri="{FF2B5EF4-FFF2-40B4-BE49-F238E27FC236}">
                <a16:creationId xmlns:a16="http://schemas.microsoft.com/office/drawing/2014/main" id="{AF0E1DA8-453E-4A22-A83E-C28DD7753D35}"/>
              </a:ext>
            </a:extLst>
          </p:cNvPr>
          <p:cNvSpPr>
            <a:spLocks/>
          </p:cNvSpPr>
          <p:nvPr/>
        </p:nvSpPr>
        <p:spPr bwMode="auto">
          <a:xfrm>
            <a:off x="47328" y="1774148"/>
            <a:ext cx="1330762" cy="1244311"/>
          </a:xfrm>
          <a:custGeom>
            <a:avLst/>
            <a:gdLst>
              <a:gd name="T0" fmla="*/ 101 w 701"/>
              <a:gd name="T1" fmla="*/ 513 h 655"/>
              <a:gd name="T2" fmla="*/ 168 w 701"/>
              <a:gd name="T3" fmla="*/ 98 h 655"/>
              <a:gd name="T4" fmla="*/ 600 w 701"/>
              <a:gd name="T5" fmla="*/ 159 h 655"/>
              <a:gd name="T6" fmla="*/ 522 w 701"/>
              <a:gd name="T7" fmla="*/ 558 h 655"/>
              <a:gd name="T8" fmla="*/ 101 w 701"/>
              <a:gd name="T9" fmla="*/ 513 h 655"/>
            </a:gdLst>
            <a:ahLst/>
            <a:cxnLst>
              <a:cxn ang="0">
                <a:pos x="T0" y="T1"/>
              </a:cxn>
              <a:cxn ang="0">
                <a:pos x="T2" y="T3"/>
              </a:cxn>
              <a:cxn ang="0">
                <a:pos x="T4" y="T5"/>
              </a:cxn>
              <a:cxn ang="0">
                <a:pos x="T6" y="T7"/>
              </a:cxn>
              <a:cxn ang="0">
                <a:pos x="T8" y="T9"/>
              </a:cxn>
            </a:cxnLst>
            <a:rect l="0" t="0" r="r" b="b"/>
            <a:pathLst>
              <a:path w="701" h="655">
                <a:moveTo>
                  <a:pt x="101" y="513"/>
                </a:moveTo>
                <a:cubicBezTo>
                  <a:pt x="0" y="381"/>
                  <a:pt x="30" y="196"/>
                  <a:pt x="168" y="98"/>
                </a:cubicBezTo>
                <a:cubicBezTo>
                  <a:pt x="306" y="0"/>
                  <a:pt x="500" y="28"/>
                  <a:pt x="600" y="159"/>
                </a:cubicBezTo>
                <a:cubicBezTo>
                  <a:pt x="701" y="290"/>
                  <a:pt x="660" y="460"/>
                  <a:pt x="522" y="558"/>
                </a:cubicBezTo>
                <a:cubicBezTo>
                  <a:pt x="384" y="655"/>
                  <a:pt x="202" y="644"/>
                  <a:pt x="101" y="513"/>
                </a:cubicBezTo>
              </a:path>
            </a:pathLst>
          </a:custGeom>
          <a:solidFill>
            <a:srgbClr val="2B0A3D"/>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dirty="0"/>
          </a:p>
        </p:txBody>
      </p:sp>
      <p:pic>
        <p:nvPicPr>
          <p:cNvPr id="14" name="Obraz 13">
            <a:extLst>
              <a:ext uri="{FF2B5EF4-FFF2-40B4-BE49-F238E27FC236}">
                <a16:creationId xmlns:a16="http://schemas.microsoft.com/office/drawing/2014/main" id="{1C787B6D-BFD0-4B69-9FCA-1B67C2373D3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872900" y="2107599"/>
            <a:ext cx="9896117" cy="641414"/>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p:spPr>
      </p:pic>
      <p:grpSp>
        <p:nvGrpSpPr>
          <p:cNvPr id="13" name="Group 592">
            <a:extLst>
              <a:ext uri="{FF2B5EF4-FFF2-40B4-BE49-F238E27FC236}">
                <a16:creationId xmlns:a16="http://schemas.microsoft.com/office/drawing/2014/main" id="{516645C2-AB3B-4410-BE42-B5FCEC2BECA2}"/>
              </a:ext>
            </a:extLst>
          </p:cNvPr>
          <p:cNvGrpSpPr>
            <a:grpSpLocks noChangeAspect="1"/>
          </p:cNvGrpSpPr>
          <p:nvPr/>
        </p:nvGrpSpPr>
        <p:grpSpPr>
          <a:xfrm>
            <a:off x="323949" y="2144858"/>
            <a:ext cx="777520" cy="604156"/>
            <a:chOff x="7737475" y="4821240"/>
            <a:chExt cx="469900" cy="365126"/>
          </a:xfrm>
        </p:grpSpPr>
        <p:sp>
          <p:nvSpPr>
            <p:cNvPr id="16" name="Freeform 165">
              <a:extLst>
                <a:ext uri="{FF2B5EF4-FFF2-40B4-BE49-F238E27FC236}">
                  <a16:creationId xmlns:a16="http://schemas.microsoft.com/office/drawing/2014/main" id="{01CD4B74-C0FA-42A0-A17C-A7ACF7B6013F}"/>
                </a:ext>
              </a:extLst>
            </p:cNvPr>
            <p:cNvSpPr>
              <a:spLocks noEditPoints="1"/>
            </p:cNvSpPr>
            <p:nvPr/>
          </p:nvSpPr>
          <p:spPr bwMode="auto">
            <a:xfrm>
              <a:off x="8016875" y="5030791"/>
              <a:ext cx="150812" cy="155575"/>
            </a:xfrm>
            <a:custGeom>
              <a:avLst/>
              <a:gdLst>
                <a:gd name="T0" fmla="*/ 74 w 79"/>
                <a:gd name="T1" fmla="*/ 45 h 80"/>
                <a:gd name="T2" fmla="*/ 72 w 79"/>
                <a:gd name="T3" fmla="*/ 37 h 80"/>
                <a:gd name="T4" fmla="*/ 77 w 79"/>
                <a:gd name="T5" fmla="*/ 33 h 80"/>
                <a:gd name="T6" fmla="*/ 75 w 79"/>
                <a:gd name="T7" fmla="*/ 20 h 80"/>
                <a:gd name="T8" fmla="*/ 68 w 79"/>
                <a:gd name="T9" fmla="*/ 19 h 80"/>
                <a:gd name="T10" fmla="*/ 60 w 79"/>
                <a:gd name="T11" fmla="*/ 15 h 80"/>
                <a:gd name="T12" fmla="*/ 61 w 79"/>
                <a:gd name="T13" fmla="*/ 9 h 80"/>
                <a:gd name="T14" fmla="*/ 50 w 79"/>
                <a:gd name="T15" fmla="*/ 1 h 80"/>
                <a:gd name="T16" fmla="*/ 45 w 79"/>
                <a:gd name="T17" fmla="*/ 5 h 80"/>
                <a:gd name="T18" fmla="*/ 37 w 79"/>
                <a:gd name="T19" fmla="*/ 8 h 80"/>
                <a:gd name="T20" fmla="*/ 32 w 79"/>
                <a:gd name="T21" fmla="*/ 3 h 80"/>
                <a:gd name="T22" fmla="*/ 19 w 79"/>
                <a:gd name="T23" fmla="*/ 5 h 80"/>
                <a:gd name="T24" fmla="*/ 19 w 79"/>
                <a:gd name="T25" fmla="*/ 12 h 80"/>
                <a:gd name="T26" fmla="*/ 14 w 79"/>
                <a:gd name="T27" fmla="*/ 19 h 80"/>
                <a:gd name="T28" fmla="*/ 8 w 79"/>
                <a:gd name="T29" fmla="*/ 19 h 80"/>
                <a:gd name="T30" fmla="*/ 0 w 79"/>
                <a:gd name="T31" fmla="*/ 30 h 80"/>
                <a:gd name="T32" fmla="*/ 5 w 79"/>
                <a:gd name="T33" fmla="*/ 35 h 80"/>
                <a:gd name="T34" fmla="*/ 7 w 79"/>
                <a:gd name="T35" fmla="*/ 43 h 80"/>
                <a:gd name="T36" fmla="*/ 2 w 79"/>
                <a:gd name="T37" fmla="*/ 48 h 80"/>
                <a:gd name="T38" fmla="*/ 4 w 79"/>
                <a:gd name="T39" fmla="*/ 61 h 80"/>
                <a:gd name="T40" fmla="*/ 12 w 79"/>
                <a:gd name="T41" fmla="*/ 61 h 80"/>
                <a:gd name="T42" fmla="*/ 19 w 79"/>
                <a:gd name="T43" fmla="*/ 65 h 80"/>
                <a:gd name="T44" fmla="*/ 18 w 79"/>
                <a:gd name="T45" fmla="*/ 72 h 80"/>
                <a:gd name="T46" fmla="*/ 29 w 79"/>
                <a:gd name="T47" fmla="*/ 79 h 80"/>
                <a:gd name="T48" fmla="*/ 35 w 79"/>
                <a:gd name="T49" fmla="*/ 75 h 80"/>
                <a:gd name="T50" fmla="*/ 42 w 79"/>
                <a:gd name="T51" fmla="*/ 73 h 80"/>
                <a:gd name="T52" fmla="*/ 47 w 79"/>
                <a:gd name="T53" fmla="*/ 77 h 80"/>
                <a:gd name="T54" fmla="*/ 60 w 79"/>
                <a:gd name="T55" fmla="*/ 75 h 80"/>
                <a:gd name="T56" fmla="*/ 60 w 79"/>
                <a:gd name="T57" fmla="*/ 68 h 80"/>
                <a:gd name="T58" fmla="*/ 65 w 79"/>
                <a:gd name="T59" fmla="*/ 61 h 80"/>
                <a:gd name="T60" fmla="*/ 71 w 79"/>
                <a:gd name="T61" fmla="*/ 61 h 80"/>
                <a:gd name="T62" fmla="*/ 79 w 79"/>
                <a:gd name="T63" fmla="*/ 51 h 80"/>
                <a:gd name="T64" fmla="*/ 61 w 79"/>
                <a:gd name="T65" fmla="*/ 49 h 80"/>
                <a:gd name="T66" fmla="*/ 18 w 79"/>
                <a:gd name="T67" fmla="*/ 32 h 80"/>
                <a:gd name="T68" fmla="*/ 61 w 79"/>
                <a:gd name="T69" fmla="*/ 49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9" h="80">
                  <a:moveTo>
                    <a:pt x="77" y="46"/>
                  </a:moveTo>
                  <a:cubicBezTo>
                    <a:pt x="74" y="45"/>
                    <a:pt x="74" y="45"/>
                    <a:pt x="74" y="45"/>
                  </a:cubicBezTo>
                  <a:cubicBezTo>
                    <a:pt x="73" y="45"/>
                    <a:pt x="72" y="43"/>
                    <a:pt x="72" y="42"/>
                  </a:cubicBezTo>
                  <a:cubicBezTo>
                    <a:pt x="72" y="40"/>
                    <a:pt x="72" y="39"/>
                    <a:pt x="72" y="37"/>
                  </a:cubicBezTo>
                  <a:cubicBezTo>
                    <a:pt x="72" y="36"/>
                    <a:pt x="73" y="34"/>
                    <a:pt x="74" y="34"/>
                  </a:cubicBezTo>
                  <a:cubicBezTo>
                    <a:pt x="77" y="33"/>
                    <a:pt x="77" y="33"/>
                    <a:pt x="77" y="33"/>
                  </a:cubicBezTo>
                  <a:cubicBezTo>
                    <a:pt x="78" y="32"/>
                    <a:pt x="79" y="30"/>
                    <a:pt x="78" y="29"/>
                  </a:cubicBezTo>
                  <a:cubicBezTo>
                    <a:pt x="75" y="20"/>
                    <a:pt x="75" y="20"/>
                    <a:pt x="75" y="20"/>
                  </a:cubicBezTo>
                  <a:cubicBezTo>
                    <a:pt x="74" y="18"/>
                    <a:pt x="72" y="17"/>
                    <a:pt x="70" y="18"/>
                  </a:cubicBezTo>
                  <a:cubicBezTo>
                    <a:pt x="68" y="19"/>
                    <a:pt x="68" y="19"/>
                    <a:pt x="68" y="19"/>
                  </a:cubicBezTo>
                  <a:cubicBezTo>
                    <a:pt x="66" y="20"/>
                    <a:pt x="65" y="19"/>
                    <a:pt x="64" y="18"/>
                  </a:cubicBezTo>
                  <a:cubicBezTo>
                    <a:pt x="63" y="17"/>
                    <a:pt x="62" y="16"/>
                    <a:pt x="60" y="15"/>
                  </a:cubicBezTo>
                  <a:cubicBezTo>
                    <a:pt x="59" y="14"/>
                    <a:pt x="59" y="13"/>
                    <a:pt x="60" y="11"/>
                  </a:cubicBezTo>
                  <a:cubicBezTo>
                    <a:pt x="61" y="9"/>
                    <a:pt x="61" y="9"/>
                    <a:pt x="61" y="9"/>
                  </a:cubicBezTo>
                  <a:cubicBezTo>
                    <a:pt x="61" y="7"/>
                    <a:pt x="60" y="5"/>
                    <a:pt x="59" y="4"/>
                  </a:cubicBezTo>
                  <a:cubicBezTo>
                    <a:pt x="50" y="1"/>
                    <a:pt x="50" y="1"/>
                    <a:pt x="50" y="1"/>
                  </a:cubicBezTo>
                  <a:cubicBezTo>
                    <a:pt x="48" y="0"/>
                    <a:pt x="46" y="1"/>
                    <a:pt x="46" y="3"/>
                  </a:cubicBezTo>
                  <a:cubicBezTo>
                    <a:pt x="45" y="5"/>
                    <a:pt x="45" y="5"/>
                    <a:pt x="45" y="5"/>
                  </a:cubicBezTo>
                  <a:cubicBezTo>
                    <a:pt x="44" y="7"/>
                    <a:pt x="43" y="8"/>
                    <a:pt x="41" y="8"/>
                  </a:cubicBezTo>
                  <a:cubicBezTo>
                    <a:pt x="40" y="7"/>
                    <a:pt x="38" y="7"/>
                    <a:pt x="37" y="8"/>
                  </a:cubicBezTo>
                  <a:cubicBezTo>
                    <a:pt x="35" y="8"/>
                    <a:pt x="34" y="7"/>
                    <a:pt x="33" y="6"/>
                  </a:cubicBezTo>
                  <a:cubicBezTo>
                    <a:pt x="32" y="3"/>
                    <a:pt x="32" y="3"/>
                    <a:pt x="32" y="3"/>
                  </a:cubicBezTo>
                  <a:cubicBezTo>
                    <a:pt x="31" y="1"/>
                    <a:pt x="30" y="1"/>
                    <a:pt x="28" y="1"/>
                  </a:cubicBezTo>
                  <a:cubicBezTo>
                    <a:pt x="19" y="5"/>
                    <a:pt x="19" y="5"/>
                    <a:pt x="19" y="5"/>
                  </a:cubicBezTo>
                  <a:cubicBezTo>
                    <a:pt x="17" y="6"/>
                    <a:pt x="17" y="8"/>
                    <a:pt x="17" y="9"/>
                  </a:cubicBezTo>
                  <a:cubicBezTo>
                    <a:pt x="19" y="12"/>
                    <a:pt x="19" y="12"/>
                    <a:pt x="19" y="12"/>
                  </a:cubicBezTo>
                  <a:cubicBezTo>
                    <a:pt x="19" y="13"/>
                    <a:pt x="19" y="15"/>
                    <a:pt x="18" y="16"/>
                  </a:cubicBezTo>
                  <a:cubicBezTo>
                    <a:pt x="17" y="17"/>
                    <a:pt x="16" y="18"/>
                    <a:pt x="14" y="19"/>
                  </a:cubicBezTo>
                  <a:cubicBezTo>
                    <a:pt x="14" y="20"/>
                    <a:pt x="12" y="21"/>
                    <a:pt x="11" y="20"/>
                  </a:cubicBezTo>
                  <a:cubicBezTo>
                    <a:pt x="8" y="19"/>
                    <a:pt x="8" y="19"/>
                    <a:pt x="8" y="19"/>
                  </a:cubicBezTo>
                  <a:cubicBezTo>
                    <a:pt x="6" y="18"/>
                    <a:pt x="4" y="19"/>
                    <a:pt x="4" y="21"/>
                  </a:cubicBezTo>
                  <a:cubicBezTo>
                    <a:pt x="0" y="30"/>
                    <a:pt x="0" y="30"/>
                    <a:pt x="0" y="30"/>
                  </a:cubicBezTo>
                  <a:cubicBezTo>
                    <a:pt x="0" y="31"/>
                    <a:pt x="0" y="33"/>
                    <a:pt x="2" y="34"/>
                  </a:cubicBezTo>
                  <a:cubicBezTo>
                    <a:pt x="5" y="35"/>
                    <a:pt x="5" y="35"/>
                    <a:pt x="5" y="35"/>
                  </a:cubicBezTo>
                  <a:cubicBezTo>
                    <a:pt x="6" y="36"/>
                    <a:pt x="7" y="37"/>
                    <a:pt x="7" y="38"/>
                  </a:cubicBezTo>
                  <a:cubicBezTo>
                    <a:pt x="7" y="40"/>
                    <a:pt x="7" y="42"/>
                    <a:pt x="7" y="43"/>
                  </a:cubicBezTo>
                  <a:cubicBezTo>
                    <a:pt x="7" y="44"/>
                    <a:pt x="6" y="46"/>
                    <a:pt x="5" y="46"/>
                  </a:cubicBezTo>
                  <a:cubicBezTo>
                    <a:pt x="2" y="48"/>
                    <a:pt x="2" y="48"/>
                    <a:pt x="2" y="48"/>
                  </a:cubicBezTo>
                  <a:cubicBezTo>
                    <a:pt x="1" y="48"/>
                    <a:pt x="0" y="50"/>
                    <a:pt x="1" y="52"/>
                  </a:cubicBezTo>
                  <a:cubicBezTo>
                    <a:pt x="4" y="61"/>
                    <a:pt x="4" y="61"/>
                    <a:pt x="4" y="61"/>
                  </a:cubicBezTo>
                  <a:cubicBezTo>
                    <a:pt x="5" y="62"/>
                    <a:pt x="7" y="63"/>
                    <a:pt x="9" y="62"/>
                  </a:cubicBezTo>
                  <a:cubicBezTo>
                    <a:pt x="12" y="61"/>
                    <a:pt x="12" y="61"/>
                    <a:pt x="12" y="61"/>
                  </a:cubicBezTo>
                  <a:cubicBezTo>
                    <a:pt x="13" y="60"/>
                    <a:pt x="14" y="61"/>
                    <a:pt x="15" y="62"/>
                  </a:cubicBezTo>
                  <a:cubicBezTo>
                    <a:pt x="16" y="63"/>
                    <a:pt x="17" y="64"/>
                    <a:pt x="19" y="65"/>
                  </a:cubicBezTo>
                  <a:cubicBezTo>
                    <a:pt x="20" y="66"/>
                    <a:pt x="20" y="68"/>
                    <a:pt x="20" y="69"/>
                  </a:cubicBezTo>
                  <a:cubicBezTo>
                    <a:pt x="18" y="72"/>
                    <a:pt x="18" y="72"/>
                    <a:pt x="18" y="72"/>
                  </a:cubicBezTo>
                  <a:cubicBezTo>
                    <a:pt x="18" y="73"/>
                    <a:pt x="19" y="75"/>
                    <a:pt x="20" y="76"/>
                  </a:cubicBezTo>
                  <a:cubicBezTo>
                    <a:pt x="29" y="79"/>
                    <a:pt x="29" y="79"/>
                    <a:pt x="29" y="79"/>
                  </a:cubicBezTo>
                  <a:cubicBezTo>
                    <a:pt x="31" y="80"/>
                    <a:pt x="33" y="79"/>
                    <a:pt x="33" y="78"/>
                  </a:cubicBezTo>
                  <a:cubicBezTo>
                    <a:pt x="35" y="75"/>
                    <a:pt x="35" y="75"/>
                    <a:pt x="35" y="75"/>
                  </a:cubicBezTo>
                  <a:cubicBezTo>
                    <a:pt x="35" y="73"/>
                    <a:pt x="36" y="73"/>
                    <a:pt x="38" y="73"/>
                  </a:cubicBezTo>
                  <a:cubicBezTo>
                    <a:pt x="39" y="73"/>
                    <a:pt x="41" y="73"/>
                    <a:pt x="42" y="73"/>
                  </a:cubicBezTo>
                  <a:cubicBezTo>
                    <a:pt x="44" y="73"/>
                    <a:pt x="45" y="73"/>
                    <a:pt x="46" y="75"/>
                  </a:cubicBezTo>
                  <a:cubicBezTo>
                    <a:pt x="47" y="77"/>
                    <a:pt x="47" y="77"/>
                    <a:pt x="47" y="77"/>
                  </a:cubicBezTo>
                  <a:cubicBezTo>
                    <a:pt x="48" y="79"/>
                    <a:pt x="50" y="80"/>
                    <a:pt x="51" y="79"/>
                  </a:cubicBezTo>
                  <a:cubicBezTo>
                    <a:pt x="60" y="75"/>
                    <a:pt x="60" y="75"/>
                    <a:pt x="60" y="75"/>
                  </a:cubicBezTo>
                  <a:cubicBezTo>
                    <a:pt x="62" y="74"/>
                    <a:pt x="62" y="73"/>
                    <a:pt x="62" y="71"/>
                  </a:cubicBezTo>
                  <a:cubicBezTo>
                    <a:pt x="60" y="68"/>
                    <a:pt x="60" y="68"/>
                    <a:pt x="60" y="68"/>
                  </a:cubicBezTo>
                  <a:cubicBezTo>
                    <a:pt x="60" y="67"/>
                    <a:pt x="60" y="65"/>
                    <a:pt x="61" y="64"/>
                  </a:cubicBezTo>
                  <a:cubicBezTo>
                    <a:pt x="62" y="63"/>
                    <a:pt x="64" y="62"/>
                    <a:pt x="65" y="61"/>
                  </a:cubicBezTo>
                  <a:cubicBezTo>
                    <a:pt x="65" y="60"/>
                    <a:pt x="67" y="60"/>
                    <a:pt x="68" y="60"/>
                  </a:cubicBezTo>
                  <a:cubicBezTo>
                    <a:pt x="71" y="61"/>
                    <a:pt x="71" y="61"/>
                    <a:pt x="71" y="61"/>
                  </a:cubicBezTo>
                  <a:cubicBezTo>
                    <a:pt x="73" y="62"/>
                    <a:pt x="75" y="61"/>
                    <a:pt x="75" y="59"/>
                  </a:cubicBezTo>
                  <a:cubicBezTo>
                    <a:pt x="79" y="51"/>
                    <a:pt x="79" y="51"/>
                    <a:pt x="79" y="51"/>
                  </a:cubicBezTo>
                  <a:cubicBezTo>
                    <a:pt x="79" y="49"/>
                    <a:pt x="79" y="47"/>
                    <a:pt x="77" y="46"/>
                  </a:cubicBezTo>
                  <a:close/>
                  <a:moveTo>
                    <a:pt x="61" y="49"/>
                  </a:moveTo>
                  <a:cubicBezTo>
                    <a:pt x="56" y="60"/>
                    <a:pt x="43" y="66"/>
                    <a:pt x="31" y="61"/>
                  </a:cubicBezTo>
                  <a:cubicBezTo>
                    <a:pt x="19" y="57"/>
                    <a:pt x="14" y="43"/>
                    <a:pt x="18" y="32"/>
                  </a:cubicBezTo>
                  <a:cubicBezTo>
                    <a:pt x="23" y="20"/>
                    <a:pt x="36" y="14"/>
                    <a:pt x="48" y="19"/>
                  </a:cubicBezTo>
                  <a:cubicBezTo>
                    <a:pt x="60" y="23"/>
                    <a:pt x="65" y="37"/>
                    <a:pt x="61" y="49"/>
                  </a:cubicBezTo>
                  <a:close/>
                </a:path>
              </a:pathLst>
            </a:custGeom>
            <a:solidFill>
              <a:srgbClr val="CC2980"/>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7" name="Freeform 166">
              <a:extLst>
                <a:ext uri="{FF2B5EF4-FFF2-40B4-BE49-F238E27FC236}">
                  <a16:creationId xmlns:a16="http://schemas.microsoft.com/office/drawing/2014/main" id="{88646C8B-CE66-447C-B009-86857790500A}"/>
                </a:ext>
              </a:extLst>
            </p:cNvPr>
            <p:cNvSpPr>
              <a:spLocks/>
            </p:cNvSpPr>
            <p:nvPr/>
          </p:nvSpPr>
          <p:spPr bwMode="auto">
            <a:xfrm>
              <a:off x="8070850" y="5086353"/>
              <a:ext cx="44450" cy="44450"/>
            </a:xfrm>
            <a:custGeom>
              <a:avLst/>
              <a:gdLst>
                <a:gd name="T0" fmla="*/ 21 w 23"/>
                <a:gd name="T1" fmla="*/ 15 h 23"/>
                <a:gd name="T2" fmla="*/ 8 w 23"/>
                <a:gd name="T3" fmla="*/ 21 h 23"/>
                <a:gd name="T4" fmla="*/ 2 w 23"/>
                <a:gd name="T5" fmla="*/ 7 h 23"/>
                <a:gd name="T6" fmla="*/ 15 w 23"/>
                <a:gd name="T7" fmla="*/ 2 h 23"/>
                <a:gd name="T8" fmla="*/ 21 w 23"/>
                <a:gd name="T9" fmla="*/ 15 h 23"/>
              </a:gdLst>
              <a:ahLst/>
              <a:cxnLst>
                <a:cxn ang="0">
                  <a:pos x="T0" y="T1"/>
                </a:cxn>
                <a:cxn ang="0">
                  <a:pos x="T2" y="T3"/>
                </a:cxn>
                <a:cxn ang="0">
                  <a:pos x="T4" y="T5"/>
                </a:cxn>
                <a:cxn ang="0">
                  <a:pos x="T6" y="T7"/>
                </a:cxn>
                <a:cxn ang="0">
                  <a:pos x="T8" y="T9"/>
                </a:cxn>
              </a:cxnLst>
              <a:rect l="0" t="0" r="r" b="b"/>
              <a:pathLst>
                <a:path w="23" h="23">
                  <a:moveTo>
                    <a:pt x="21" y="15"/>
                  </a:moveTo>
                  <a:cubicBezTo>
                    <a:pt x="19" y="20"/>
                    <a:pt x="13" y="23"/>
                    <a:pt x="8" y="21"/>
                  </a:cubicBezTo>
                  <a:cubicBezTo>
                    <a:pt x="3" y="18"/>
                    <a:pt x="0" y="13"/>
                    <a:pt x="2" y="7"/>
                  </a:cubicBezTo>
                  <a:cubicBezTo>
                    <a:pt x="4" y="2"/>
                    <a:pt x="10" y="0"/>
                    <a:pt x="15" y="2"/>
                  </a:cubicBezTo>
                  <a:cubicBezTo>
                    <a:pt x="20" y="4"/>
                    <a:pt x="23" y="10"/>
                    <a:pt x="21" y="15"/>
                  </a:cubicBezTo>
                  <a:close/>
                </a:path>
              </a:pathLst>
            </a:custGeom>
            <a:solidFill>
              <a:srgbClr val="CC2980"/>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8" name="Freeform 167">
              <a:extLst>
                <a:ext uri="{FF2B5EF4-FFF2-40B4-BE49-F238E27FC236}">
                  <a16:creationId xmlns:a16="http://schemas.microsoft.com/office/drawing/2014/main" id="{DA97F114-D01F-47B6-A978-E15625107EEA}"/>
                </a:ext>
              </a:extLst>
            </p:cNvPr>
            <p:cNvSpPr>
              <a:spLocks noEditPoints="1"/>
            </p:cNvSpPr>
            <p:nvPr/>
          </p:nvSpPr>
          <p:spPr bwMode="auto">
            <a:xfrm>
              <a:off x="8010525" y="4821240"/>
              <a:ext cx="196850" cy="198438"/>
            </a:xfrm>
            <a:custGeom>
              <a:avLst/>
              <a:gdLst>
                <a:gd name="T0" fmla="*/ 95 w 102"/>
                <a:gd name="T1" fmla="*/ 58 h 102"/>
                <a:gd name="T2" fmla="*/ 93 w 102"/>
                <a:gd name="T3" fmla="*/ 47 h 102"/>
                <a:gd name="T4" fmla="*/ 99 w 102"/>
                <a:gd name="T5" fmla="*/ 42 h 102"/>
                <a:gd name="T6" fmla="*/ 96 w 102"/>
                <a:gd name="T7" fmla="*/ 25 h 102"/>
                <a:gd name="T8" fmla="*/ 87 w 102"/>
                <a:gd name="T9" fmla="*/ 24 h 102"/>
                <a:gd name="T10" fmla="*/ 78 w 102"/>
                <a:gd name="T11" fmla="*/ 19 h 102"/>
                <a:gd name="T12" fmla="*/ 78 w 102"/>
                <a:gd name="T13" fmla="*/ 11 h 102"/>
                <a:gd name="T14" fmla="*/ 64 w 102"/>
                <a:gd name="T15" fmla="*/ 1 h 102"/>
                <a:gd name="T16" fmla="*/ 58 w 102"/>
                <a:gd name="T17" fmla="*/ 7 h 102"/>
                <a:gd name="T18" fmla="*/ 47 w 102"/>
                <a:gd name="T19" fmla="*/ 10 h 102"/>
                <a:gd name="T20" fmla="*/ 42 w 102"/>
                <a:gd name="T21" fmla="*/ 4 h 102"/>
                <a:gd name="T22" fmla="*/ 25 w 102"/>
                <a:gd name="T23" fmla="*/ 6 h 102"/>
                <a:gd name="T24" fmla="*/ 24 w 102"/>
                <a:gd name="T25" fmla="*/ 15 h 102"/>
                <a:gd name="T26" fmla="*/ 19 w 102"/>
                <a:gd name="T27" fmla="*/ 24 h 102"/>
                <a:gd name="T28" fmla="*/ 11 w 102"/>
                <a:gd name="T29" fmla="*/ 24 h 102"/>
                <a:gd name="T30" fmla="*/ 1 w 102"/>
                <a:gd name="T31" fmla="*/ 38 h 102"/>
                <a:gd name="T32" fmla="*/ 7 w 102"/>
                <a:gd name="T33" fmla="*/ 45 h 102"/>
                <a:gd name="T34" fmla="*/ 10 w 102"/>
                <a:gd name="T35" fmla="*/ 55 h 102"/>
                <a:gd name="T36" fmla="*/ 3 w 102"/>
                <a:gd name="T37" fmla="*/ 61 h 102"/>
                <a:gd name="T38" fmla="*/ 6 w 102"/>
                <a:gd name="T39" fmla="*/ 77 h 102"/>
                <a:gd name="T40" fmla="*/ 15 w 102"/>
                <a:gd name="T41" fmla="*/ 78 h 102"/>
                <a:gd name="T42" fmla="*/ 24 w 102"/>
                <a:gd name="T43" fmla="*/ 83 h 102"/>
                <a:gd name="T44" fmla="*/ 24 w 102"/>
                <a:gd name="T45" fmla="*/ 91 h 102"/>
                <a:gd name="T46" fmla="*/ 38 w 102"/>
                <a:gd name="T47" fmla="*/ 101 h 102"/>
                <a:gd name="T48" fmla="*/ 45 w 102"/>
                <a:gd name="T49" fmla="*/ 95 h 102"/>
                <a:gd name="T50" fmla="*/ 55 w 102"/>
                <a:gd name="T51" fmla="*/ 93 h 102"/>
                <a:gd name="T52" fmla="*/ 61 w 102"/>
                <a:gd name="T53" fmla="*/ 99 h 102"/>
                <a:gd name="T54" fmla="*/ 77 w 102"/>
                <a:gd name="T55" fmla="*/ 96 h 102"/>
                <a:gd name="T56" fmla="*/ 78 w 102"/>
                <a:gd name="T57" fmla="*/ 87 h 102"/>
                <a:gd name="T58" fmla="*/ 83 w 102"/>
                <a:gd name="T59" fmla="*/ 78 h 102"/>
                <a:gd name="T60" fmla="*/ 91 w 102"/>
                <a:gd name="T61" fmla="*/ 78 h 102"/>
                <a:gd name="T62" fmla="*/ 101 w 102"/>
                <a:gd name="T63" fmla="*/ 64 h 102"/>
                <a:gd name="T64" fmla="*/ 78 w 102"/>
                <a:gd name="T65" fmla="*/ 62 h 102"/>
                <a:gd name="T66" fmla="*/ 24 w 102"/>
                <a:gd name="T67" fmla="*/ 40 h 102"/>
                <a:gd name="T68" fmla="*/ 78 w 102"/>
                <a:gd name="T69" fmla="*/ 62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2" h="102">
                  <a:moveTo>
                    <a:pt x="99" y="59"/>
                  </a:moveTo>
                  <a:cubicBezTo>
                    <a:pt x="95" y="58"/>
                    <a:pt x="95" y="58"/>
                    <a:pt x="95" y="58"/>
                  </a:cubicBezTo>
                  <a:cubicBezTo>
                    <a:pt x="94" y="57"/>
                    <a:pt x="93" y="55"/>
                    <a:pt x="93" y="54"/>
                  </a:cubicBezTo>
                  <a:cubicBezTo>
                    <a:pt x="93" y="51"/>
                    <a:pt x="93" y="49"/>
                    <a:pt x="93" y="47"/>
                  </a:cubicBezTo>
                  <a:cubicBezTo>
                    <a:pt x="92" y="46"/>
                    <a:pt x="93" y="44"/>
                    <a:pt x="95" y="43"/>
                  </a:cubicBezTo>
                  <a:cubicBezTo>
                    <a:pt x="99" y="42"/>
                    <a:pt x="99" y="42"/>
                    <a:pt x="99" y="42"/>
                  </a:cubicBezTo>
                  <a:cubicBezTo>
                    <a:pt x="101" y="41"/>
                    <a:pt x="102" y="38"/>
                    <a:pt x="101" y="36"/>
                  </a:cubicBezTo>
                  <a:cubicBezTo>
                    <a:pt x="96" y="25"/>
                    <a:pt x="96" y="25"/>
                    <a:pt x="96" y="25"/>
                  </a:cubicBezTo>
                  <a:cubicBezTo>
                    <a:pt x="95" y="23"/>
                    <a:pt x="92" y="22"/>
                    <a:pt x="90" y="23"/>
                  </a:cubicBezTo>
                  <a:cubicBezTo>
                    <a:pt x="87" y="24"/>
                    <a:pt x="87" y="24"/>
                    <a:pt x="87" y="24"/>
                  </a:cubicBezTo>
                  <a:cubicBezTo>
                    <a:pt x="85" y="25"/>
                    <a:pt x="83" y="25"/>
                    <a:pt x="82" y="23"/>
                  </a:cubicBezTo>
                  <a:cubicBezTo>
                    <a:pt x="81" y="22"/>
                    <a:pt x="79" y="20"/>
                    <a:pt x="78" y="19"/>
                  </a:cubicBezTo>
                  <a:cubicBezTo>
                    <a:pt x="76" y="18"/>
                    <a:pt x="76" y="16"/>
                    <a:pt x="77" y="14"/>
                  </a:cubicBezTo>
                  <a:cubicBezTo>
                    <a:pt x="78" y="11"/>
                    <a:pt x="78" y="11"/>
                    <a:pt x="78" y="11"/>
                  </a:cubicBezTo>
                  <a:cubicBezTo>
                    <a:pt x="79" y="9"/>
                    <a:pt x="78" y="6"/>
                    <a:pt x="76" y="5"/>
                  </a:cubicBezTo>
                  <a:cubicBezTo>
                    <a:pt x="64" y="1"/>
                    <a:pt x="64" y="1"/>
                    <a:pt x="64" y="1"/>
                  </a:cubicBezTo>
                  <a:cubicBezTo>
                    <a:pt x="62" y="0"/>
                    <a:pt x="60" y="1"/>
                    <a:pt x="59" y="3"/>
                  </a:cubicBezTo>
                  <a:cubicBezTo>
                    <a:pt x="58" y="7"/>
                    <a:pt x="58" y="7"/>
                    <a:pt x="58" y="7"/>
                  </a:cubicBezTo>
                  <a:cubicBezTo>
                    <a:pt x="57" y="9"/>
                    <a:pt x="55" y="10"/>
                    <a:pt x="53" y="9"/>
                  </a:cubicBezTo>
                  <a:cubicBezTo>
                    <a:pt x="51" y="9"/>
                    <a:pt x="49" y="9"/>
                    <a:pt x="47" y="10"/>
                  </a:cubicBezTo>
                  <a:cubicBezTo>
                    <a:pt x="46" y="10"/>
                    <a:pt x="44" y="9"/>
                    <a:pt x="43" y="7"/>
                  </a:cubicBezTo>
                  <a:cubicBezTo>
                    <a:pt x="42" y="4"/>
                    <a:pt x="42" y="4"/>
                    <a:pt x="42" y="4"/>
                  </a:cubicBezTo>
                  <a:cubicBezTo>
                    <a:pt x="41" y="1"/>
                    <a:pt x="38" y="1"/>
                    <a:pt x="36" y="1"/>
                  </a:cubicBezTo>
                  <a:cubicBezTo>
                    <a:pt x="25" y="6"/>
                    <a:pt x="25" y="6"/>
                    <a:pt x="25" y="6"/>
                  </a:cubicBezTo>
                  <a:cubicBezTo>
                    <a:pt x="23" y="7"/>
                    <a:pt x="22" y="10"/>
                    <a:pt x="23" y="12"/>
                  </a:cubicBezTo>
                  <a:cubicBezTo>
                    <a:pt x="24" y="15"/>
                    <a:pt x="24" y="15"/>
                    <a:pt x="24" y="15"/>
                  </a:cubicBezTo>
                  <a:cubicBezTo>
                    <a:pt x="25" y="17"/>
                    <a:pt x="25" y="19"/>
                    <a:pt x="23" y="20"/>
                  </a:cubicBezTo>
                  <a:cubicBezTo>
                    <a:pt x="22" y="21"/>
                    <a:pt x="20" y="23"/>
                    <a:pt x="19" y="24"/>
                  </a:cubicBezTo>
                  <a:cubicBezTo>
                    <a:pt x="18" y="26"/>
                    <a:pt x="16" y="26"/>
                    <a:pt x="14" y="26"/>
                  </a:cubicBezTo>
                  <a:cubicBezTo>
                    <a:pt x="11" y="24"/>
                    <a:pt x="11" y="24"/>
                    <a:pt x="11" y="24"/>
                  </a:cubicBezTo>
                  <a:cubicBezTo>
                    <a:pt x="9" y="23"/>
                    <a:pt x="6" y="24"/>
                    <a:pt x="5" y="27"/>
                  </a:cubicBezTo>
                  <a:cubicBezTo>
                    <a:pt x="1" y="38"/>
                    <a:pt x="1" y="38"/>
                    <a:pt x="1" y="38"/>
                  </a:cubicBezTo>
                  <a:cubicBezTo>
                    <a:pt x="0" y="40"/>
                    <a:pt x="1" y="43"/>
                    <a:pt x="3" y="43"/>
                  </a:cubicBezTo>
                  <a:cubicBezTo>
                    <a:pt x="7" y="45"/>
                    <a:pt x="7" y="45"/>
                    <a:pt x="7" y="45"/>
                  </a:cubicBezTo>
                  <a:cubicBezTo>
                    <a:pt x="8" y="45"/>
                    <a:pt x="9" y="47"/>
                    <a:pt x="9" y="49"/>
                  </a:cubicBezTo>
                  <a:cubicBezTo>
                    <a:pt x="9" y="51"/>
                    <a:pt x="9" y="53"/>
                    <a:pt x="10" y="55"/>
                  </a:cubicBezTo>
                  <a:cubicBezTo>
                    <a:pt x="10" y="57"/>
                    <a:pt x="9" y="58"/>
                    <a:pt x="7" y="59"/>
                  </a:cubicBezTo>
                  <a:cubicBezTo>
                    <a:pt x="3" y="61"/>
                    <a:pt x="3" y="61"/>
                    <a:pt x="3" y="61"/>
                  </a:cubicBezTo>
                  <a:cubicBezTo>
                    <a:pt x="1" y="62"/>
                    <a:pt x="0" y="64"/>
                    <a:pt x="1" y="66"/>
                  </a:cubicBezTo>
                  <a:cubicBezTo>
                    <a:pt x="6" y="77"/>
                    <a:pt x="6" y="77"/>
                    <a:pt x="6" y="77"/>
                  </a:cubicBezTo>
                  <a:cubicBezTo>
                    <a:pt x="7" y="79"/>
                    <a:pt x="9" y="80"/>
                    <a:pt x="12" y="79"/>
                  </a:cubicBezTo>
                  <a:cubicBezTo>
                    <a:pt x="15" y="78"/>
                    <a:pt x="15" y="78"/>
                    <a:pt x="15" y="78"/>
                  </a:cubicBezTo>
                  <a:cubicBezTo>
                    <a:pt x="17" y="77"/>
                    <a:pt x="19" y="78"/>
                    <a:pt x="20" y="79"/>
                  </a:cubicBezTo>
                  <a:cubicBezTo>
                    <a:pt x="21" y="80"/>
                    <a:pt x="23" y="82"/>
                    <a:pt x="24" y="83"/>
                  </a:cubicBezTo>
                  <a:cubicBezTo>
                    <a:pt x="26" y="84"/>
                    <a:pt x="26" y="86"/>
                    <a:pt x="26" y="88"/>
                  </a:cubicBezTo>
                  <a:cubicBezTo>
                    <a:pt x="24" y="91"/>
                    <a:pt x="24" y="91"/>
                    <a:pt x="24" y="91"/>
                  </a:cubicBezTo>
                  <a:cubicBezTo>
                    <a:pt x="23" y="94"/>
                    <a:pt x="24" y="96"/>
                    <a:pt x="26" y="97"/>
                  </a:cubicBezTo>
                  <a:cubicBezTo>
                    <a:pt x="38" y="101"/>
                    <a:pt x="38" y="101"/>
                    <a:pt x="38" y="101"/>
                  </a:cubicBezTo>
                  <a:cubicBezTo>
                    <a:pt x="40" y="102"/>
                    <a:pt x="42" y="101"/>
                    <a:pt x="43" y="99"/>
                  </a:cubicBezTo>
                  <a:cubicBezTo>
                    <a:pt x="45" y="95"/>
                    <a:pt x="45" y="95"/>
                    <a:pt x="45" y="95"/>
                  </a:cubicBezTo>
                  <a:cubicBezTo>
                    <a:pt x="45" y="94"/>
                    <a:pt x="47" y="93"/>
                    <a:pt x="49" y="93"/>
                  </a:cubicBezTo>
                  <a:cubicBezTo>
                    <a:pt x="51" y="93"/>
                    <a:pt x="53" y="93"/>
                    <a:pt x="55" y="93"/>
                  </a:cubicBezTo>
                  <a:cubicBezTo>
                    <a:pt x="57" y="93"/>
                    <a:pt x="58" y="94"/>
                    <a:pt x="59" y="95"/>
                  </a:cubicBezTo>
                  <a:cubicBezTo>
                    <a:pt x="61" y="99"/>
                    <a:pt x="61" y="99"/>
                    <a:pt x="61" y="99"/>
                  </a:cubicBezTo>
                  <a:cubicBezTo>
                    <a:pt x="61" y="101"/>
                    <a:pt x="64" y="102"/>
                    <a:pt x="66" y="101"/>
                  </a:cubicBezTo>
                  <a:cubicBezTo>
                    <a:pt x="77" y="96"/>
                    <a:pt x="77" y="96"/>
                    <a:pt x="77" y="96"/>
                  </a:cubicBezTo>
                  <a:cubicBezTo>
                    <a:pt x="79" y="95"/>
                    <a:pt x="80" y="93"/>
                    <a:pt x="79" y="91"/>
                  </a:cubicBezTo>
                  <a:cubicBezTo>
                    <a:pt x="78" y="87"/>
                    <a:pt x="78" y="87"/>
                    <a:pt x="78" y="87"/>
                  </a:cubicBezTo>
                  <a:cubicBezTo>
                    <a:pt x="77" y="85"/>
                    <a:pt x="78" y="83"/>
                    <a:pt x="79" y="82"/>
                  </a:cubicBezTo>
                  <a:cubicBezTo>
                    <a:pt x="80" y="81"/>
                    <a:pt x="82" y="80"/>
                    <a:pt x="83" y="78"/>
                  </a:cubicBezTo>
                  <a:cubicBezTo>
                    <a:pt x="84" y="77"/>
                    <a:pt x="86" y="76"/>
                    <a:pt x="88" y="77"/>
                  </a:cubicBezTo>
                  <a:cubicBezTo>
                    <a:pt x="91" y="78"/>
                    <a:pt x="91" y="78"/>
                    <a:pt x="91" y="78"/>
                  </a:cubicBezTo>
                  <a:cubicBezTo>
                    <a:pt x="93" y="79"/>
                    <a:pt x="96" y="78"/>
                    <a:pt x="97" y="76"/>
                  </a:cubicBezTo>
                  <a:cubicBezTo>
                    <a:pt x="101" y="64"/>
                    <a:pt x="101" y="64"/>
                    <a:pt x="101" y="64"/>
                  </a:cubicBezTo>
                  <a:cubicBezTo>
                    <a:pt x="102" y="62"/>
                    <a:pt x="101" y="60"/>
                    <a:pt x="99" y="59"/>
                  </a:cubicBezTo>
                  <a:close/>
                  <a:moveTo>
                    <a:pt x="78" y="62"/>
                  </a:moveTo>
                  <a:cubicBezTo>
                    <a:pt x="72" y="77"/>
                    <a:pt x="55" y="84"/>
                    <a:pt x="40" y="78"/>
                  </a:cubicBezTo>
                  <a:cubicBezTo>
                    <a:pt x="25" y="72"/>
                    <a:pt x="18" y="55"/>
                    <a:pt x="24" y="40"/>
                  </a:cubicBezTo>
                  <a:cubicBezTo>
                    <a:pt x="30" y="25"/>
                    <a:pt x="47" y="18"/>
                    <a:pt x="62" y="24"/>
                  </a:cubicBezTo>
                  <a:cubicBezTo>
                    <a:pt x="77" y="30"/>
                    <a:pt x="84" y="47"/>
                    <a:pt x="78" y="62"/>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9" name="Freeform 168">
              <a:extLst>
                <a:ext uri="{FF2B5EF4-FFF2-40B4-BE49-F238E27FC236}">
                  <a16:creationId xmlns:a16="http://schemas.microsoft.com/office/drawing/2014/main" id="{B3E64CE4-C807-42A7-A738-4F000FB8D696}"/>
                </a:ext>
              </a:extLst>
            </p:cNvPr>
            <p:cNvSpPr>
              <a:spLocks/>
            </p:cNvSpPr>
            <p:nvPr/>
          </p:nvSpPr>
          <p:spPr bwMode="auto">
            <a:xfrm>
              <a:off x="8080375" y="4891090"/>
              <a:ext cx="57150" cy="58738"/>
            </a:xfrm>
            <a:custGeom>
              <a:avLst/>
              <a:gdLst>
                <a:gd name="T0" fmla="*/ 27 w 30"/>
                <a:gd name="T1" fmla="*/ 20 h 30"/>
                <a:gd name="T2" fmla="*/ 10 w 30"/>
                <a:gd name="T3" fmla="*/ 27 h 30"/>
                <a:gd name="T4" fmla="*/ 3 w 30"/>
                <a:gd name="T5" fmla="*/ 10 h 30"/>
                <a:gd name="T6" fmla="*/ 20 w 30"/>
                <a:gd name="T7" fmla="*/ 3 h 30"/>
                <a:gd name="T8" fmla="*/ 27 w 30"/>
                <a:gd name="T9" fmla="*/ 20 h 30"/>
              </a:gdLst>
              <a:ahLst/>
              <a:cxnLst>
                <a:cxn ang="0">
                  <a:pos x="T0" y="T1"/>
                </a:cxn>
                <a:cxn ang="0">
                  <a:pos x="T2" y="T3"/>
                </a:cxn>
                <a:cxn ang="0">
                  <a:pos x="T4" y="T5"/>
                </a:cxn>
                <a:cxn ang="0">
                  <a:pos x="T6" y="T7"/>
                </a:cxn>
                <a:cxn ang="0">
                  <a:pos x="T8" y="T9"/>
                </a:cxn>
              </a:cxnLst>
              <a:rect l="0" t="0" r="r" b="b"/>
              <a:pathLst>
                <a:path w="30" h="30">
                  <a:moveTo>
                    <a:pt x="27" y="20"/>
                  </a:moveTo>
                  <a:cubicBezTo>
                    <a:pt x="24" y="27"/>
                    <a:pt x="17" y="30"/>
                    <a:pt x="10" y="27"/>
                  </a:cubicBezTo>
                  <a:cubicBezTo>
                    <a:pt x="4" y="25"/>
                    <a:pt x="0" y="17"/>
                    <a:pt x="3" y="10"/>
                  </a:cubicBezTo>
                  <a:cubicBezTo>
                    <a:pt x="6" y="4"/>
                    <a:pt x="13" y="0"/>
                    <a:pt x="20" y="3"/>
                  </a:cubicBezTo>
                  <a:cubicBezTo>
                    <a:pt x="26" y="6"/>
                    <a:pt x="30" y="13"/>
                    <a:pt x="27" y="20"/>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0" name="Freeform 169">
              <a:extLst>
                <a:ext uri="{FF2B5EF4-FFF2-40B4-BE49-F238E27FC236}">
                  <a16:creationId xmlns:a16="http://schemas.microsoft.com/office/drawing/2014/main" id="{A17067DE-140C-4E3D-AA52-08D863C3621B}"/>
                </a:ext>
              </a:extLst>
            </p:cNvPr>
            <p:cNvSpPr>
              <a:spLocks noEditPoints="1"/>
            </p:cNvSpPr>
            <p:nvPr/>
          </p:nvSpPr>
          <p:spPr bwMode="auto">
            <a:xfrm>
              <a:off x="7737475" y="4859340"/>
              <a:ext cx="295275" cy="301625"/>
            </a:xfrm>
            <a:custGeom>
              <a:avLst/>
              <a:gdLst>
                <a:gd name="T0" fmla="*/ 141 w 153"/>
                <a:gd name="T1" fmla="*/ 62 h 156"/>
                <a:gd name="T2" fmla="*/ 132 w 153"/>
                <a:gd name="T3" fmla="*/ 49 h 156"/>
                <a:gd name="T4" fmla="*/ 137 w 153"/>
                <a:gd name="T5" fmla="*/ 38 h 156"/>
                <a:gd name="T6" fmla="*/ 124 w 153"/>
                <a:gd name="T7" fmla="*/ 16 h 156"/>
                <a:gd name="T8" fmla="*/ 111 w 153"/>
                <a:gd name="T9" fmla="*/ 20 h 156"/>
                <a:gd name="T10" fmla="*/ 96 w 153"/>
                <a:gd name="T11" fmla="*/ 18 h 156"/>
                <a:gd name="T12" fmla="*/ 92 w 153"/>
                <a:gd name="T13" fmla="*/ 6 h 156"/>
                <a:gd name="T14" fmla="*/ 67 w 153"/>
                <a:gd name="T15" fmla="*/ 0 h 156"/>
                <a:gd name="T16" fmla="*/ 61 w 153"/>
                <a:gd name="T17" fmla="*/ 12 h 156"/>
                <a:gd name="T18" fmla="*/ 49 w 153"/>
                <a:gd name="T19" fmla="*/ 21 h 156"/>
                <a:gd name="T20" fmla="*/ 37 w 153"/>
                <a:gd name="T21" fmla="*/ 16 h 156"/>
                <a:gd name="T22" fmla="*/ 16 w 153"/>
                <a:gd name="T23" fmla="*/ 29 h 156"/>
                <a:gd name="T24" fmla="*/ 20 w 153"/>
                <a:gd name="T25" fmla="*/ 42 h 156"/>
                <a:gd name="T26" fmla="*/ 18 w 153"/>
                <a:gd name="T27" fmla="*/ 58 h 156"/>
                <a:gd name="T28" fmla="*/ 6 w 153"/>
                <a:gd name="T29" fmla="*/ 62 h 156"/>
                <a:gd name="T30" fmla="*/ 0 w 153"/>
                <a:gd name="T31" fmla="*/ 87 h 156"/>
                <a:gd name="T32" fmla="*/ 12 w 153"/>
                <a:gd name="T33" fmla="*/ 93 h 156"/>
                <a:gd name="T34" fmla="*/ 21 w 153"/>
                <a:gd name="T35" fmla="*/ 106 h 156"/>
                <a:gd name="T36" fmla="*/ 16 w 153"/>
                <a:gd name="T37" fmla="*/ 118 h 156"/>
                <a:gd name="T38" fmla="*/ 29 w 153"/>
                <a:gd name="T39" fmla="*/ 140 h 156"/>
                <a:gd name="T40" fmla="*/ 42 w 153"/>
                <a:gd name="T41" fmla="*/ 135 h 156"/>
                <a:gd name="T42" fmla="*/ 57 w 153"/>
                <a:gd name="T43" fmla="*/ 138 h 156"/>
                <a:gd name="T44" fmla="*/ 61 w 153"/>
                <a:gd name="T45" fmla="*/ 150 h 156"/>
                <a:gd name="T46" fmla="*/ 86 w 153"/>
                <a:gd name="T47" fmla="*/ 156 h 156"/>
                <a:gd name="T48" fmla="*/ 92 w 153"/>
                <a:gd name="T49" fmla="*/ 144 h 156"/>
                <a:gd name="T50" fmla="*/ 104 w 153"/>
                <a:gd name="T51" fmla="*/ 134 h 156"/>
                <a:gd name="T52" fmla="*/ 115 w 153"/>
                <a:gd name="T53" fmla="*/ 139 h 156"/>
                <a:gd name="T54" fmla="*/ 137 w 153"/>
                <a:gd name="T55" fmla="*/ 126 h 156"/>
                <a:gd name="T56" fmla="*/ 133 w 153"/>
                <a:gd name="T57" fmla="*/ 113 h 156"/>
                <a:gd name="T58" fmla="*/ 135 w 153"/>
                <a:gd name="T59" fmla="*/ 98 h 156"/>
                <a:gd name="T60" fmla="*/ 147 w 153"/>
                <a:gd name="T61" fmla="*/ 93 h 156"/>
                <a:gd name="T62" fmla="*/ 153 w 153"/>
                <a:gd name="T63" fmla="*/ 69 h 156"/>
                <a:gd name="T64" fmla="*/ 76 w 153"/>
                <a:gd name="T65" fmla="*/ 126 h 156"/>
                <a:gd name="T66" fmla="*/ 76 w 153"/>
                <a:gd name="T67" fmla="*/ 29 h 156"/>
                <a:gd name="T68" fmla="*/ 76 w 153"/>
                <a:gd name="T69" fmla="*/ 126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53" h="156">
                  <a:moveTo>
                    <a:pt x="147" y="62"/>
                  </a:moveTo>
                  <a:cubicBezTo>
                    <a:pt x="141" y="62"/>
                    <a:pt x="141" y="62"/>
                    <a:pt x="141" y="62"/>
                  </a:cubicBezTo>
                  <a:cubicBezTo>
                    <a:pt x="138" y="62"/>
                    <a:pt x="136" y="61"/>
                    <a:pt x="135" y="58"/>
                  </a:cubicBezTo>
                  <a:cubicBezTo>
                    <a:pt x="134" y="55"/>
                    <a:pt x="133" y="52"/>
                    <a:pt x="132" y="49"/>
                  </a:cubicBezTo>
                  <a:cubicBezTo>
                    <a:pt x="131" y="47"/>
                    <a:pt x="131" y="44"/>
                    <a:pt x="133" y="42"/>
                  </a:cubicBezTo>
                  <a:cubicBezTo>
                    <a:pt x="137" y="38"/>
                    <a:pt x="137" y="38"/>
                    <a:pt x="137" y="38"/>
                  </a:cubicBezTo>
                  <a:cubicBezTo>
                    <a:pt x="139" y="36"/>
                    <a:pt x="139" y="32"/>
                    <a:pt x="137" y="29"/>
                  </a:cubicBezTo>
                  <a:cubicBezTo>
                    <a:pt x="124" y="16"/>
                    <a:pt x="124" y="16"/>
                    <a:pt x="124" y="16"/>
                  </a:cubicBezTo>
                  <a:cubicBezTo>
                    <a:pt x="122" y="14"/>
                    <a:pt x="118" y="14"/>
                    <a:pt x="115" y="16"/>
                  </a:cubicBezTo>
                  <a:cubicBezTo>
                    <a:pt x="111" y="20"/>
                    <a:pt x="111" y="20"/>
                    <a:pt x="111" y="20"/>
                  </a:cubicBezTo>
                  <a:cubicBezTo>
                    <a:pt x="110" y="22"/>
                    <a:pt x="107" y="23"/>
                    <a:pt x="104" y="21"/>
                  </a:cubicBezTo>
                  <a:cubicBezTo>
                    <a:pt x="102" y="20"/>
                    <a:pt x="99" y="19"/>
                    <a:pt x="96" y="18"/>
                  </a:cubicBezTo>
                  <a:cubicBezTo>
                    <a:pt x="93" y="17"/>
                    <a:pt x="92" y="15"/>
                    <a:pt x="92" y="12"/>
                  </a:cubicBezTo>
                  <a:cubicBezTo>
                    <a:pt x="92" y="6"/>
                    <a:pt x="92" y="6"/>
                    <a:pt x="92" y="6"/>
                  </a:cubicBezTo>
                  <a:cubicBezTo>
                    <a:pt x="92" y="3"/>
                    <a:pt x="89" y="0"/>
                    <a:pt x="86" y="0"/>
                  </a:cubicBezTo>
                  <a:cubicBezTo>
                    <a:pt x="67" y="0"/>
                    <a:pt x="67" y="0"/>
                    <a:pt x="67" y="0"/>
                  </a:cubicBezTo>
                  <a:cubicBezTo>
                    <a:pt x="64" y="0"/>
                    <a:pt x="61" y="3"/>
                    <a:pt x="61" y="6"/>
                  </a:cubicBezTo>
                  <a:cubicBezTo>
                    <a:pt x="61" y="12"/>
                    <a:pt x="61" y="12"/>
                    <a:pt x="61" y="12"/>
                  </a:cubicBezTo>
                  <a:cubicBezTo>
                    <a:pt x="61" y="15"/>
                    <a:pt x="59" y="17"/>
                    <a:pt x="57" y="18"/>
                  </a:cubicBezTo>
                  <a:cubicBezTo>
                    <a:pt x="54" y="19"/>
                    <a:pt x="51" y="20"/>
                    <a:pt x="49" y="21"/>
                  </a:cubicBezTo>
                  <a:cubicBezTo>
                    <a:pt x="46" y="23"/>
                    <a:pt x="43" y="22"/>
                    <a:pt x="42" y="20"/>
                  </a:cubicBezTo>
                  <a:cubicBezTo>
                    <a:pt x="37" y="16"/>
                    <a:pt x="37" y="16"/>
                    <a:pt x="37" y="16"/>
                  </a:cubicBezTo>
                  <a:cubicBezTo>
                    <a:pt x="35" y="14"/>
                    <a:pt x="31" y="14"/>
                    <a:pt x="29" y="16"/>
                  </a:cubicBezTo>
                  <a:cubicBezTo>
                    <a:pt x="16" y="29"/>
                    <a:pt x="16" y="29"/>
                    <a:pt x="16" y="29"/>
                  </a:cubicBezTo>
                  <a:cubicBezTo>
                    <a:pt x="14" y="32"/>
                    <a:pt x="14" y="36"/>
                    <a:pt x="16" y="38"/>
                  </a:cubicBezTo>
                  <a:cubicBezTo>
                    <a:pt x="20" y="42"/>
                    <a:pt x="20" y="42"/>
                    <a:pt x="20" y="42"/>
                  </a:cubicBezTo>
                  <a:cubicBezTo>
                    <a:pt x="22" y="44"/>
                    <a:pt x="22" y="47"/>
                    <a:pt x="21" y="49"/>
                  </a:cubicBezTo>
                  <a:cubicBezTo>
                    <a:pt x="20" y="52"/>
                    <a:pt x="19" y="55"/>
                    <a:pt x="18" y="58"/>
                  </a:cubicBezTo>
                  <a:cubicBezTo>
                    <a:pt x="17" y="61"/>
                    <a:pt x="14" y="62"/>
                    <a:pt x="12" y="62"/>
                  </a:cubicBezTo>
                  <a:cubicBezTo>
                    <a:pt x="6" y="62"/>
                    <a:pt x="6" y="62"/>
                    <a:pt x="6" y="62"/>
                  </a:cubicBezTo>
                  <a:cubicBezTo>
                    <a:pt x="3" y="62"/>
                    <a:pt x="0" y="65"/>
                    <a:pt x="0" y="69"/>
                  </a:cubicBezTo>
                  <a:cubicBezTo>
                    <a:pt x="0" y="87"/>
                    <a:pt x="0" y="87"/>
                    <a:pt x="0" y="87"/>
                  </a:cubicBezTo>
                  <a:cubicBezTo>
                    <a:pt x="0" y="91"/>
                    <a:pt x="3" y="93"/>
                    <a:pt x="6" y="93"/>
                  </a:cubicBezTo>
                  <a:cubicBezTo>
                    <a:pt x="12" y="93"/>
                    <a:pt x="12" y="93"/>
                    <a:pt x="12" y="93"/>
                  </a:cubicBezTo>
                  <a:cubicBezTo>
                    <a:pt x="14" y="93"/>
                    <a:pt x="17" y="95"/>
                    <a:pt x="18" y="98"/>
                  </a:cubicBezTo>
                  <a:cubicBezTo>
                    <a:pt x="19" y="101"/>
                    <a:pt x="20" y="104"/>
                    <a:pt x="21" y="106"/>
                  </a:cubicBezTo>
                  <a:cubicBezTo>
                    <a:pt x="22" y="109"/>
                    <a:pt x="22" y="111"/>
                    <a:pt x="20" y="113"/>
                  </a:cubicBezTo>
                  <a:cubicBezTo>
                    <a:pt x="16" y="118"/>
                    <a:pt x="16" y="118"/>
                    <a:pt x="16" y="118"/>
                  </a:cubicBezTo>
                  <a:cubicBezTo>
                    <a:pt x="13" y="120"/>
                    <a:pt x="13" y="124"/>
                    <a:pt x="16" y="127"/>
                  </a:cubicBezTo>
                  <a:cubicBezTo>
                    <a:pt x="29" y="140"/>
                    <a:pt x="29" y="140"/>
                    <a:pt x="29" y="140"/>
                  </a:cubicBezTo>
                  <a:cubicBezTo>
                    <a:pt x="31" y="142"/>
                    <a:pt x="35" y="142"/>
                    <a:pt x="37" y="140"/>
                  </a:cubicBezTo>
                  <a:cubicBezTo>
                    <a:pt x="42" y="135"/>
                    <a:pt x="42" y="135"/>
                    <a:pt x="42" y="135"/>
                  </a:cubicBezTo>
                  <a:cubicBezTo>
                    <a:pt x="43" y="133"/>
                    <a:pt x="46" y="133"/>
                    <a:pt x="49" y="134"/>
                  </a:cubicBezTo>
                  <a:cubicBezTo>
                    <a:pt x="51" y="136"/>
                    <a:pt x="54" y="137"/>
                    <a:pt x="57" y="138"/>
                  </a:cubicBezTo>
                  <a:cubicBezTo>
                    <a:pt x="59" y="139"/>
                    <a:pt x="61" y="141"/>
                    <a:pt x="61" y="144"/>
                  </a:cubicBezTo>
                  <a:cubicBezTo>
                    <a:pt x="61" y="150"/>
                    <a:pt x="61" y="150"/>
                    <a:pt x="61" y="150"/>
                  </a:cubicBezTo>
                  <a:cubicBezTo>
                    <a:pt x="61" y="153"/>
                    <a:pt x="64" y="156"/>
                    <a:pt x="67" y="156"/>
                  </a:cubicBezTo>
                  <a:cubicBezTo>
                    <a:pt x="86" y="156"/>
                    <a:pt x="86" y="156"/>
                    <a:pt x="86" y="156"/>
                  </a:cubicBezTo>
                  <a:cubicBezTo>
                    <a:pt x="89" y="156"/>
                    <a:pt x="92" y="153"/>
                    <a:pt x="92" y="150"/>
                  </a:cubicBezTo>
                  <a:cubicBezTo>
                    <a:pt x="92" y="144"/>
                    <a:pt x="92" y="144"/>
                    <a:pt x="92" y="144"/>
                  </a:cubicBezTo>
                  <a:cubicBezTo>
                    <a:pt x="92" y="141"/>
                    <a:pt x="93" y="139"/>
                    <a:pt x="96" y="138"/>
                  </a:cubicBezTo>
                  <a:cubicBezTo>
                    <a:pt x="99" y="137"/>
                    <a:pt x="102" y="136"/>
                    <a:pt x="104" y="134"/>
                  </a:cubicBezTo>
                  <a:cubicBezTo>
                    <a:pt x="107" y="133"/>
                    <a:pt x="109" y="133"/>
                    <a:pt x="111" y="135"/>
                  </a:cubicBezTo>
                  <a:cubicBezTo>
                    <a:pt x="115" y="139"/>
                    <a:pt x="115" y="139"/>
                    <a:pt x="115" y="139"/>
                  </a:cubicBezTo>
                  <a:cubicBezTo>
                    <a:pt x="118" y="142"/>
                    <a:pt x="122" y="142"/>
                    <a:pt x="124" y="139"/>
                  </a:cubicBezTo>
                  <a:cubicBezTo>
                    <a:pt x="137" y="126"/>
                    <a:pt x="137" y="126"/>
                    <a:pt x="137" y="126"/>
                  </a:cubicBezTo>
                  <a:cubicBezTo>
                    <a:pt x="139" y="124"/>
                    <a:pt x="139" y="120"/>
                    <a:pt x="137" y="118"/>
                  </a:cubicBezTo>
                  <a:cubicBezTo>
                    <a:pt x="133" y="113"/>
                    <a:pt x="133" y="113"/>
                    <a:pt x="133" y="113"/>
                  </a:cubicBezTo>
                  <a:cubicBezTo>
                    <a:pt x="131" y="111"/>
                    <a:pt x="131" y="109"/>
                    <a:pt x="132" y="106"/>
                  </a:cubicBezTo>
                  <a:cubicBezTo>
                    <a:pt x="133" y="103"/>
                    <a:pt x="134" y="101"/>
                    <a:pt x="135" y="98"/>
                  </a:cubicBezTo>
                  <a:cubicBezTo>
                    <a:pt x="136" y="95"/>
                    <a:pt x="138" y="93"/>
                    <a:pt x="141" y="93"/>
                  </a:cubicBezTo>
                  <a:cubicBezTo>
                    <a:pt x="147" y="93"/>
                    <a:pt x="147" y="93"/>
                    <a:pt x="147" y="93"/>
                  </a:cubicBezTo>
                  <a:cubicBezTo>
                    <a:pt x="150" y="93"/>
                    <a:pt x="153" y="91"/>
                    <a:pt x="153" y="87"/>
                  </a:cubicBezTo>
                  <a:cubicBezTo>
                    <a:pt x="153" y="69"/>
                    <a:pt x="153" y="69"/>
                    <a:pt x="153" y="69"/>
                  </a:cubicBezTo>
                  <a:cubicBezTo>
                    <a:pt x="153" y="65"/>
                    <a:pt x="150" y="62"/>
                    <a:pt x="147" y="62"/>
                  </a:cubicBezTo>
                  <a:close/>
                  <a:moveTo>
                    <a:pt x="76" y="126"/>
                  </a:moveTo>
                  <a:cubicBezTo>
                    <a:pt x="50" y="126"/>
                    <a:pt x="28" y="105"/>
                    <a:pt x="28" y="78"/>
                  </a:cubicBezTo>
                  <a:cubicBezTo>
                    <a:pt x="28" y="51"/>
                    <a:pt x="50" y="29"/>
                    <a:pt x="76" y="29"/>
                  </a:cubicBezTo>
                  <a:cubicBezTo>
                    <a:pt x="103" y="29"/>
                    <a:pt x="125" y="51"/>
                    <a:pt x="125" y="78"/>
                  </a:cubicBezTo>
                  <a:cubicBezTo>
                    <a:pt x="125" y="105"/>
                    <a:pt x="103" y="126"/>
                    <a:pt x="76" y="126"/>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1" name="Oval 170">
              <a:extLst>
                <a:ext uri="{FF2B5EF4-FFF2-40B4-BE49-F238E27FC236}">
                  <a16:creationId xmlns:a16="http://schemas.microsoft.com/office/drawing/2014/main" id="{14EED000-F84F-477D-BC38-0D2EAFFC07D4}"/>
                </a:ext>
              </a:extLst>
            </p:cNvPr>
            <p:cNvSpPr>
              <a:spLocks noChangeArrowheads="1"/>
            </p:cNvSpPr>
            <p:nvPr/>
          </p:nvSpPr>
          <p:spPr bwMode="auto">
            <a:xfrm>
              <a:off x="7824788" y="4949828"/>
              <a:ext cx="119062" cy="119063"/>
            </a:xfrm>
            <a:prstGeom prst="ellipse">
              <a:avLst/>
            </a:pr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33" name="Freeform 20">
            <a:extLst>
              <a:ext uri="{FF2B5EF4-FFF2-40B4-BE49-F238E27FC236}">
                <a16:creationId xmlns:a16="http://schemas.microsoft.com/office/drawing/2014/main" id="{4C43630B-3ECD-43C4-8D20-0B6860D26688}"/>
              </a:ext>
            </a:extLst>
          </p:cNvPr>
          <p:cNvSpPr>
            <a:spLocks/>
          </p:cNvSpPr>
          <p:nvPr/>
        </p:nvSpPr>
        <p:spPr bwMode="auto">
          <a:xfrm>
            <a:off x="10776520" y="3006744"/>
            <a:ext cx="1330762" cy="1244311"/>
          </a:xfrm>
          <a:custGeom>
            <a:avLst/>
            <a:gdLst>
              <a:gd name="T0" fmla="*/ 101 w 701"/>
              <a:gd name="T1" fmla="*/ 513 h 655"/>
              <a:gd name="T2" fmla="*/ 168 w 701"/>
              <a:gd name="T3" fmla="*/ 98 h 655"/>
              <a:gd name="T4" fmla="*/ 600 w 701"/>
              <a:gd name="T5" fmla="*/ 159 h 655"/>
              <a:gd name="T6" fmla="*/ 522 w 701"/>
              <a:gd name="T7" fmla="*/ 558 h 655"/>
              <a:gd name="T8" fmla="*/ 101 w 701"/>
              <a:gd name="T9" fmla="*/ 513 h 655"/>
            </a:gdLst>
            <a:ahLst/>
            <a:cxnLst>
              <a:cxn ang="0">
                <a:pos x="T0" y="T1"/>
              </a:cxn>
              <a:cxn ang="0">
                <a:pos x="T2" y="T3"/>
              </a:cxn>
              <a:cxn ang="0">
                <a:pos x="T4" y="T5"/>
              </a:cxn>
              <a:cxn ang="0">
                <a:pos x="T6" y="T7"/>
              </a:cxn>
              <a:cxn ang="0">
                <a:pos x="T8" y="T9"/>
              </a:cxn>
            </a:cxnLst>
            <a:rect l="0" t="0" r="r" b="b"/>
            <a:pathLst>
              <a:path w="701" h="655">
                <a:moveTo>
                  <a:pt x="101" y="513"/>
                </a:moveTo>
                <a:cubicBezTo>
                  <a:pt x="0" y="381"/>
                  <a:pt x="30" y="196"/>
                  <a:pt x="168" y="98"/>
                </a:cubicBezTo>
                <a:cubicBezTo>
                  <a:pt x="306" y="0"/>
                  <a:pt x="500" y="28"/>
                  <a:pt x="600" y="159"/>
                </a:cubicBezTo>
                <a:cubicBezTo>
                  <a:pt x="701" y="290"/>
                  <a:pt x="660" y="460"/>
                  <a:pt x="522" y="558"/>
                </a:cubicBezTo>
                <a:cubicBezTo>
                  <a:pt x="384" y="655"/>
                  <a:pt x="202" y="644"/>
                  <a:pt x="101" y="513"/>
                </a:cubicBezTo>
              </a:path>
            </a:pathLst>
          </a:custGeom>
          <a:solidFill>
            <a:srgbClr val="2B0A3D"/>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dirty="0"/>
          </a:p>
        </p:txBody>
      </p:sp>
      <p:grpSp>
        <p:nvGrpSpPr>
          <p:cNvPr id="22" name="Group 602">
            <a:extLst>
              <a:ext uri="{FF2B5EF4-FFF2-40B4-BE49-F238E27FC236}">
                <a16:creationId xmlns:a16="http://schemas.microsoft.com/office/drawing/2014/main" id="{4D757E5F-0AA5-47F6-B7ED-F0B77ED54379}"/>
              </a:ext>
            </a:extLst>
          </p:cNvPr>
          <p:cNvGrpSpPr>
            <a:grpSpLocks noChangeAspect="1"/>
          </p:cNvGrpSpPr>
          <p:nvPr/>
        </p:nvGrpSpPr>
        <p:grpSpPr>
          <a:xfrm>
            <a:off x="11039519" y="3212976"/>
            <a:ext cx="817121" cy="824572"/>
            <a:chOff x="8988424" y="5827713"/>
            <a:chExt cx="522287" cy="527050"/>
          </a:xfrm>
        </p:grpSpPr>
        <p:sp>
          <p:nvSpPr>
            <p:cNvPr id="24" name="Freeform 252">
              <a:extLst>
                <a:ext uri="{FF2B5EF4-FFF2-40B4-BE49-F238E27FC236}">
                  <a16:creationId xmlns:a16="http://schemas.microsoft.com/office/drawing/2014/main" id="{481025A6-409D-4164-9DE5-489296BEE563}"/>
                </a:ext>
              </a:extLst>
            </p:cNvPr>
            <p:cNvSpPr>
              <a:spLocks/>
            </p:cNvSpPr>
            <p:nvPr/>
          </p:nvSpPr>
          <p:spPr bwMode="auto">
            <a:xfrm>
              <a:off x="8988424" y="5827713"/>
              <a:ext cx="250825" cy="254000"/>
            </a:xfrm>
            <a:custGeom>
              <a:avLst/>
              <a:gdLst>
                <a:gd name="T0" fmla="*/ 36 w 131"/>
                <a:gd name="T1" fmla="*/ 126 h 131"/>
                <a:gd name="T2" fmla="*/ 126 w 131"/>
                <a:gd name="T3" fmla="*/ 36 h 131"/>
                <a:gd name="T4" fmla="*/ 131 w 131"/>
                <a:gd name="T5" fmla="*/ 31 h 131"/>
                <a:gd name="T6" fmla="*/ 131 w 131"/>
                <a:gd name="T7" fmla="*/ 6 h 131"/>
                <a:gd name="T8" fmla="*/ 125 w 131"/>
                <a:gd name="T9" fmla="*/ 1 h 131"/>
                <a:gd name="T10" fmla="*/ 1 w 131"/>
                <a:gd name="T11" fmla="*/ 125 h 131"/>
                <a:gd name="T12" fmla="*/ 6 w 131"/>
                <a:gd name="T13" fmla="*/ 131 h 131"/>
                <a:gd name="T14" fmla="*/ 31 w 131"/>
                <a:gd name="T15" fmla="*/ 131 h 131"/>
                <a:gd name="T16" fmla="*/ 36 w 131"/>
                <a:gd name="T17" fmla="*/ 126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1" h="131">
                  <a:moveTo>
                    <a:pt x="36" y="126"/>
                  </a:moveTo>
                  <a:cubicBezTo>
                    <a:pt x="41" y="79"/>
                    <a:pt x="79" y="41"/>
                    <a:pt x="126" y="36"/>
                  </a:cubicBezTo>
                  <a:cubicBezTo>
                    <a:pt x="129" y="36"/>
                    <a:pt x="131" y="34"/>
                    <a:pt x="131" y="31"/>
                  </a:cubicBezTo>
                  <a:cubicBezTo>
                    <a:pt x="131" y="6"/>
                    <a:pt x="131" y="6"/>
                    <a:pt x="131" y="6"/>
                  </a:cubicBezTo>
                  <a:cubicBezTo>
                    <a:pt x="131" y="3"/>
                    <a:pt x="128" y="0"/>
                    <a:pt x="125" y="1"/>
                  </a:cubicBezTo>
                  <a:cubicBezTo>
                    <a:pt x="59" y="6"/>
                    <a:pt x="6" y="59"/>
                    <a:pt x="1" y="125"/>
                  </a:cubicBezTo>
                  <a:cubicBezTo>
                    <a:pt x="0" y="128"/>
                    <a:pt x="3" y="131"/>
                    <a:pt x="6" y="131"/>
                  </a:cubicBezTo>
                  <a:cubicBezTo>
                    <a:pt x="31" y="131"/>
                    <a:pt x="31" y="131"/>
                    <a:pt x="31" y="131"/>
                  </a:cubicBezTo>
                  <a:cubicBezTo>
                    <a:pt x="34" y="131"/>
                    <a:pt x="36" y="129"/>
                    <a:pt x="36" y="126"/>
                  </a:cubicBezTo>
                  <a:close/>
                </a:path>
              </a:pathLst>
            </a:custGeom>
            <a:solidFill>
              <a:srgbClr val="88D5ED"/>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5" name="Freeform 253">
              <a:extLst>
                <a:ext uri="{FF2B5EF4-FFF2-40B4-BE49-F238E27FC236}">
                  <a16:creationId xmlns:a16="http://schemas.microsoft.com/office/drawing/2014/main" id="{A04BDC32-F66A-4256-93C2-CEDB3CC71236}"/>
                </a:ext>
              </a:extLst>
            </p:cNvPr>
            <p:cNvSpPr>
              <a:spLocks/>
            </p:cNvSpPr>
            <p:nvPr/>
          </p:nvSpPr>
          <p:spPr bwMode="auto">
            <a:xfrm>
              <a:off x="9261474" y="5827713"/>
              <a:ext cx="249237" cy="254000"/>
            </a:xfrm>
            <a:custGeom>
              <a:avLst/>
              <a:gdLst>
                <a:gd name="T0" fmla="*/ 6 w 130"/>
                <a:gd name="T1" fmla="*/ 36 h 131"/>
                <a:gd name="T2" fmla="*/ 95 w 130"/>
                <a:gd name="T3" fmla="*/ 125 h 131"/>
                <a:gd name="T4" fmla="*/ 101 w 130"/>
                <a:gd name="T5" fmla="*/ 131 h 131"/>
                <a:gd name="T6" fmla="*/ 124 w 130"/>
                <a:gd name="T7" fmla="*/ 131 h 131"/>
                <a:gd name="T8" fmla="*/ 130 w 130"/>
                <a:gd name="T9" fmla="*/ 124 h 131"/>
                <a:gd name="T10" fmla="*/ 7 w 130"/>
                <a:gd name="T11" fmla="*/ 1 h 131"/>
                <a:gd name="T12" fmla="*/ 0 w 130"/>
                <a:gd name="T13" fmla="*/ 7 h 131"/>
                <a:gd name="T14" fmla="*/ 0 w 130"/>
                <a:gd name="T15" fmla="*/ 30 h 131"/>
                <a:gd name="T16" fmla="*/ 6 w 130"/>
                <a:gd name="T17" fmla="*/ 36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 h="131">
                  <a:moveTo>
                    <a:pt x="6" y="36"/>
                  </a:moveTo>
                  <a:cubicBezTo>
                    <a:pt x="52" y="41"/>
                    <a:pt x="89" y="79"/>
                    <a:pt x="95" y="125"/>
                  </a:cubicBezTo>
                  <a:cubicBezTo>
                    <a:pt x="95" y="129"/>
                    <a:pt x="98" y="131"/>
                    <a:pt x="101" y="131"/>
                  </a:cubicBezTo>
                  <a:cubicBezTo>
                    <a:pt x="124" y="131"/>
                    <a:pt x="124" y="131"/>
                    <a:pt x="124" y="131"/>
                  </a:cubicBezTo>
                  <a:cubicBezTo>
                    <a:pt x="127" y="131"/>
                    <a:pt x="130" y="128"/>
                    <a:pt x="130" y="124"/>
                  </a:cubicBezTo>
                  <a:cubicBezTo>
                    <a:pt x="124" y="59"/>
                    <a:pt x="72" y="7"/>
                    <a:pt x="7" y="1"/>
                  </a:cubicBezTo>
                  <a:cubicBezTo>
                    <a:pt x="3" y="0"/>
                    <a:pt x="0" y="3"/>
                    <a:pt x="0" y="7"/>
                  </a:cubicBezTo>
                  <a:cubicBezTo>
                    <a:pt x="0" y="30"/>
                    <a:pt x="0" y="30"/>
                    <a:pt x="0" y="30"/>
                  </a:cubicBezTo>
                  <a:cubicBezTo>
                    <a:pt x="0" y="33"/>
                    <a:pt x="2" y="36"/>
                    <a:pt x="6" y="36"/>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6" name="Freeform 254">
              <a:extLst>
                <a:ext uri="{FF2B5EF4-FFF2-40B4-BE49-F238E27FC236}">
                  <a16:creationId xmlns:a16="http://schemas.microsoft.com/office/drawing/2014/main" id="{477570EA-2BE8-416D-8332-02951704C9EA}"/>
                </a:ext>
              </a:extLst>
            </p:cNvPr>
            <p:cNvSpPr>
              <a:spLocks/>
            </p:cNvSpPr>
            <p:nvPr/>
          </p:nvSpPr>
          <p:spPr bwMode="auto">
            <a:xfrm>
              <a:off x="9261474" y="6103938"/>
              <a:ext cx="249237" cy="250825"/>
            </a:xfrm>
            <a:custGeom>
              <a:avLst/>
              <a:gdLst>
                <a:gd name="T0" fmla="*/ 95 w 130"/>
                <a:gd name="T1" fmla="*/ 5 h 130"/>
                <a:gd name="T2" fmla="*/ 5 w 130"/>
                <a:gd name="T3" fmla="*/ 95 h 130"/>
                <a:gd name="T4" fmla="*/ 0 w 130"/>
                <a:gd name="T5" fmla="*/ 100 h 130"/>
                <a:gd name="T6" fmla="*/ 0 w 130"/>
                <a:gd name="T7" fmla="*/ 125 h 130"/>
                <a:gd name="T8" fmla="*/ 5 w 130"/>
                <a:gd name="T9" fmla="*/ 130 h 130"/>
                <a:gd name="T10" fmla="*/ 130 w 130"/>
                <a:gd name="T11" fmla="*/ 6 h 130"/>
                <a:gd name="T12" fmla="*/ 125 w 130"/>
                <a:gd name="T13" fmla="*/ 0 h 130"/>
                <a:gd name="T14" fmla="*/ 100 w 130"/>
                <a:gd name="T15" fmla="*/ 0 h 130"/>
                <a:gd name="T16" fmla="*/ 95 w 130"/>
                <a:gd name="T17" fmla="*/ 5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 h="130">
                  <a:moveTo>
                    <a:pt x="95" y="5"/>
                  </a:moveTo>
                  <a:cubicBezTo>
                    <a:pt x="90" y="52"/>
                    <a:pt x="52" y="90"/>
                    <a:pt x="5" y="95"/>
                  </a:cubicBezTo>
                  <a:cubicBezTo>
                    <a:pt x="2" y="95"/>
                    <a:pt x="0" y="97"/>
                    <a:pt x="0" y="100"/>
                  </a:cubicBezTo>
                  <a:cubicBezTo>
                    <a:pt x="0" y="125"/>
                    <a:pt x="0" y="125"/>
                    <a:pt x="0" y="125"/>
                  </a:cubicBezTo>
                  <a:cubicBezTo>
                    <a:pt x="0" y="128"/>
                    <a:pt x="2" y="130"/>
                    <a:pt x="5" y="130"/>
                  </a:cubicBezTo>
                  <a:cubicBezTo>
                    <a:pt x="72" y="125"/>
                    <a:pt x="125" y="72"/>
                    <a:pt x="130" y="6"/>
                  </a:cubicBezTo>
                  <a:cubicBezTo>
                    <a:pt x="130" y="3"/>
                    <a:pt x="128" y="0"/>
                    <a:pt x="125" y="0"/>
                  </a:cubicBezTo>
                  <a:cubicBezTo>
                    <a:pt x="100" y="0"/>
                    <a:pt x="100" y="0"/>
                    <a:pt x="100" y="0"/>
                  </a:cubicBezTo>
                  <a:cubicBezTo>
                    <a:pt x="97" y="0"/>
                    <a:pt x="95" y="2"/>
                    <a:pt x="95" y="5"/>
                  </a:cubicBezTo>
                  <a:close/>
                </a:path>
              </a:pathLst>
            </a:custGeom>
            <a:solidFill>
              <a:srgbClr val="88D5ED"/>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7" name="Freeform 255">
              <a:extLst>
                <a:ext uri="{FF2B5EF4-FFF2-40B4-BE49-F238E27FC236}">
                  <a16:creationId xmlns:a16="http://schemas.microsoft.com/office/drawing/2014/main" id="{8BEF8B3F-BF64-4A2D-AE1C-5EB80648494F}"/>
                </a:ext>
              </a:extLst>
            </p:cNvPr>
            <p:cNvSpPr>
              <a:spLocks/>
            </p:cNvSpPr>
            <p:nvPr/>
          </p:nvSpPr>
          <p:spPr bwMode="auto">
            <a:xfrm>
              <a:off x="8988424" y="6103938"/>
              <a:ext cx="250825" cy="250825"/>
            </a:xfrm>
            <a:custGeom>
              <a:avLst/>
              <a:gdLst>
                <a:gd name="T0" fmla="*/ 126 w 131"/>
                <a:gd name="T1" fmla="*/ 95 h 130"/>
                <a:gd name="T2" fmla="*/ 36 w 131"/>
                <a:gd name="T3" fmla="*/ 5 h 130"/>
                <a:gd name="T4" fmla="*/ 31 w 131"/>
                <a:gd name="T5" fmla="*/ 0 h 130"/>
                <a:gd name="T6" fmla="*/ 6 w 131"/>
                <a:gd name="T7" fmla="*/ 0 h 130"/>
                <a:gd name="T8" fmla="*/ 1 w 131"/>
                <a:gd name="T9" fmla="*/ 6 h 130"/>
                <a:gd name="T10" fmla="*/ 125 w 131"/>
                <a:gd name="T11" fmla="*/ 130 h 130"/>
                <a:gd name="T12" fmla="*/ 131 w 131"/>
                <a:gd name="T13" fmla="*/ 125 h 130"/>
                <a:gd name="T14" fmla="*/ 131 w 131"/>
                <a:gd name="T15" fmla="*/ 100 h 130"/>
                <a:gd name="T16" fmla="*/ 126 w 131"/>
                <a:gd name="T17" fmla="*/ 95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1" h="130">
                  <a:moveTo>
                    <a:pt x="126" y="95"/>
                  </a:moveTo>
                  <a:cubicBezTo>
                    <a:pt x="79" y="90"/>
                    <a:pt x="41" y="52"/>
                    <a:pt x="36" y="5"/>
                  </a:cubicBezTo>
                  <a:cubicBezTo>
                    <a:pt x="36" y="2"/>
                    <a:pt x="34" y="0"/>
                    <a:pt x="31" y="0"/>
                  </a:cubicBezTo>
                  <a:cubicBezTo>
                    <a:pt x="6" y="0"/>
                    <a:pt x="6" y="0"/>
                    <a:pt x="6" y="0"/>
                  </a:cubicBezTo>
                  <a:cubicBezTo>
                    <a:pt x="3" y="0"/>
                    <a:pt x="0" y="3"/>
                    <a:pt x="1" y="6"/>
                  </a:cubicBezTo>
                  <a:cubicBezTo>
                    <a:pt x="6" y="72"/>
                    <a:pt x="59" y="125"/>
                    <a:pt x="125" y="130"/>
                  </a:cubicBezTo>
                  <a:cubicBezTo>
                    <a:pt x="128" y="130"/>
                    <a:pt x="131" y="128"/>
                    <a:pt x="131" y="125"/>
                  </a:cubicBezTo>
                  <a:cubicBezTo>
                    <a:pt x="131" y="100"/>
                    <a:pt x="131" y="100"/>
                    <a:pt x="131" y="100"/>
                  </a:cubicBezTo>
                  <a:cubicBezTo>
                    <a:pt x="131" y="97"/>
                    <a:pt x="129" y="95"/>
                    <a:pt x="126" y="95"/>
                  </a:cubicBezTo>
                  <a:close/>
                </a:path>
              </a:pathLst>
            </a:custGeom>
            <a:solidFill>
              <a:srgbClr val="CD2A80"/>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8" name="Freeform 256">
              <a:extLst>
                <a:ext uri="{FF2B5EF4-FFF2-40B4-BE49-F238E27FC236}">
                  <a16:creationId xmlns:a16="http://schemas.microsoft.com/office/drawing/2014/main" id="{5091ADF6-085B-4229-B958-723A0D6E79EE}"/>
                </a:ext>
              </a:extLst>
            </p:cNvPr>
            <p:cNvSpPr>
              <a:spLocks/>
            </p:cNvSpPr>
            <p:nvPr/>
          </p:nvSpPr>
          <p:spPr bwMode="auto">
            <a:xfrm>
              <a:off x="9101137" y="5942013"/>
              <a:ext cx="142875" cy="139700"/>
            </a:xfrm>
            <a:custGeom>
              <a:avLst/>
              <a:gdLst>
                <a:gd name="T0" fmla="*/ 6 w 74"/>
                <a:gd name="T1" fmla="*/ 72 h 72"/>
                <a:gd name="T2" fmla="*/ 16 w 74"/>
                <a:gd name="T3" fmla="*/ 72 h 72"/>
                <a:gd name="T4" fmla="*/ 21 w 74"/>
                <a:gd name="T5" fmla="*/ 68 h 72"/>
                <a:gd name="T6" fmla="*/ 70 w 74"/>
                <a:gd name="T7" fmla="*/ 21 h 72"/>
                <a:gd name="T8" fmla="*/ 74 w 74"/>
                <a:gd name="T9" fmla="*/ 15 h 72"/>
                <a:gd name="T10" fmla="*/ 74 w 74"/>
                <a:gd name="T11" fmla="*/ 6 h 72"/>
                <a:gd name="T12" fmla="*/ 68 w 74"/>
                <a:gd name="T13" fmla="*/ 0 h 72"/>
                <a:gd name="T14" fmla="*/ 1 w 74"/>
                <a:gd name="T15" fmla="*/ 66 h 72"/>
                <a:gd name="T16" fmla="*/ 6 w 74"/>
                <a:gd name="T17" fmla="*/ 7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4" h="72">
                  <a:moveTo>
                    <a:pt x="6" y="72"/>
                  </a:moveTo>
                  <a:cubicBezTo>
                    <a:pt x="16" y="72"/>
                    <a:pt x="16" y="72"/>
                    <a:pt x="16" y="72"/>
                  </a:cubicBezTo>
                  <a:cubicBezTo>
                    <a:pt x="18" y="72"/>
                    <a:pt x="20" y="70"/>
                    <a:pt x="21" y="68"/>
                  </a:cubicBezTo>
                  <a:cubicBezTo>
                    <a:pt x="25" y="43"/>
                    <a:pt x="45" y="24"/>
                    <a:pt x="70" y="21"/>
                  </a:cubicBezTo>
                  <a:cubicBezTo>
                    <a:pt x="72" y="20"/>
                    <a:pt x="74" y="18"/>
                    <a:pt x="74" y="15"/>
                  </a:cubicBezTo>
                  <a:cubicBezTo>
                    <a:pt x="74" y="6"/>
                    <a:pt x="74" y="6"/>
                    <a:pt x="74" y="6"/>
                  </a:cubicBezTo>
                  <a:cubicBezTo>
                    <a:pt x="74" y="2"/>
                    <a:pt x="71" y="0"/>
                    <a:pt x="68" y="0"/>
                  </a:cubicBezTo>
                  <a:cubicBezTo>
                    <a:pt x="34" y="4"/>
                    <a:pt x="6" y="31"/>
                    <a:pt x="1" y="66"/>
                  </a:cubicBezTo>
                  <a:cubicBezTo>
                    <a:pt x="0" y="69"/>
                    <a:pt x="3" y="72"/>
                    <a:pt x="6" y="72"/>
                  </a:cubicBezTo>
                  <a:close/>
                </a:path>
              </a:pathLst>
            </a:custGeom>
            <a:solidFill>
              <a:srgbClr val="88D5ED"/>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9" name="Freeform 257">
              <a:extLst>
                <a:ext uri="{FF2B5EF4-FFF2-40B4-BE49-F238E27FC236}">
                  <a16:creationId xmlns:a16="http://schemas.microsoft.com/office/drawing/2014/main" id="{DE55DD0A-5882-4764-B7A3-08485A6C8575}"/>
                </a:ext>
              </a:extLst>
            </p:cNvPr>
            <p:cNvSpPr>
              <a:spLocks/>
            </p:cNvSpPr>
            <p:nvPr/>
          </p:nvSpPr>
          <p:spPr bwMode="auto">
            <a:xfrm>
              <a:off x="9101137" y="6103938"/>
              <a:ext cx="138112" cy="138113"/>
            </a:xfrm>
            <a:custGeom>
              <a:avLst/>
              <a:gdLst>
                <a:gd name="T0" fmla="*/ 68 w 72"/>
                <a:gd name="T1" fmla="*/ 51 h 72"/>
                <a:gd name="T2" fmla="*/ 21 w 72"/>
                <a:gd name="T3" fmla="*/ 4 h 72"/>
                <a:gd name="T4" fmla="*/ 16 w 72"/>
                <a:gd name="T5" fmla="*/ 0 h 72"/>
                <a:gd name="T6" fmla="*/ 6 w 72"/>
                <a:gd name="T7" fmla="*/ 0 h 72"/>
                <a:gd name="T8" fmla="*/ 1 w 72"/>
                <a:gd name="T9" fmla="*/ 6 h 72"/>
                <a:gd name="T10" fmla="*/ 66 w 72"/>
                <a:gd name="T11" fmla="*/ 71 h 72"/>
                <a:gd name="T12" fmla="*/ 72 w 72"/>
                <a:gd name="T13" fmla="*/ 66 h 72"/>
                <a:gd name="T14" fmla="*/ 72 w 72"/>
                <a:gd name="T15" fmla="*/ 56 h 72"/>
                <a:gd name="T16" fmla="*/ 68 w 72"/>
                <a:gd name="T17" fmla="*/ 51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2" h="72">
                  <a:moveTo>
                    <a:pt x="68" y="51"/>
                  </a:moveTo>
                  <a:cubicBezTo>
                    <a:pt x="44" y="47"/>
                    <a:pt x="25" y="28"/>
                    <a:pt x="21" y="4"/>
                  </a:cubicBezTo>
                  <a:cubicBezTo>
                    <a:pt x="20" y="2"/>
                    <a:pt x="18" y="0"/>
                    <a:pt x="16" y="0"/>
                  </a:cubicBezTo>
                  <a:cubicBezTo>
                    <a:pt x="6" y="0"/>
                    <a:pt x="6" y="0"/>
                    <a:pt x="6" y="0"/>
                  </a:cubicBezTo>
                  <a:cubicBezTo>
                    <a:pt x="3" y="0"/>
                    <a:pt x="0" y="3"/>
                    <a:pt x="1" y="6"/>
                  </a:cubicBezTo>
                  <a:cubicBezTo>
                    <a:pt x="6" y="40"/>
                    <a:pt x="32" y="66"/>
                    <a:pt x="66" y="71"/>
                  </a:cubicBezTo>
                  <a:cubicBezTo>
                    <a:pt x="69" y="72"/>
                    <a:pt x="72" y="69"/>
                    <a:pt x="72" y="66"/>
                  </a:cubicBezTo>
                  <a:cubicBezTo>
                    <a:pt x="72" y="56"/>
                    <a:pt x="72" y="56"/>
                    <a:pt x="72" y="56"/>
                  </a:cubicBezTo>
                  <a:cubicBezTo>
                    <a:pt x="72" y="54"/>
                    <a:pt x="70" y="51"/>
                    <a:pt x="68" y="51"/>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0" name="Freeform 258">
              <a:extLst>
                <a:ext uri="{FF2B5EF4-FFF2-40B4-BE49-F238E27FC236}">
                  <a16:creationId xmlns:a16="http://schemas.microsoft.com/office/drawing/2014/main" id="{BA2294BF-7D0C-4371-892B-ABDDADD86157}"/>
                </a:ext>
              </a:extLst>
            </p:cNvPr>
            <p:cNvSpPr>
              <a:spLocks/>
            </p:cNvSpPr>
            <p:nvPr/>
          </p:nvSpPr>
          <p:spPr bwMode="auto">
            <a:xfrm>
              <a:off x="9261474" y="6099175"/>
              <a:ext cx="138112" cy="142875"/>
            </a:xfrm>
            <a:custGeom>
              <a:avLst/>
              <a:gdLst>
                <a:gd name="T0" fmla="*/ 51 w 72"/>
                <a:gd name="T1" fmla="*/ 4 h 74"/>
                <a:gd name="T2" fmla="*/ 4 w 72"/>
                <a:gd name="T3" fmla="*/ 53 h 74"/>
                <a:gd name="T4" fmla="*/ 0 w 72"/>
                <a:gd name="T5" fmla="*/ 58 h 74"/>
                <a:gd name="T6" fmla="*/ 0 w 72"/>
                <a:gd name="T7" fmla="*/ 68 h 74"/>
                <a:gd name="T8" fmla="*/ 6 w 72"/>
                <a:gd name="T9" fmla="*/ 73 h 74"/>
                <a:gd name="T10" fmla="*/ 71 w 72"/>
                <a:gd name="T11" fmla="*/ 6 h 74"/>
                <a:gd name="T12" fmla="*/ 66 w 72"/>
                <a:gd name="T13" fmla="*/ 0 h 74"/>
                <a:gd name="T14" fmla="*/ 57 w 72"/>
                <a:gd name="T15" fmla="*/ 0 h 74"/>
                <a:gd name="T16" fmla="*/ 51 w 72"/>
                <a:gd name="T17" fmla="*/ 4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2" h="74">
                  <a:moveTo>
                    <a:pt x="51" y="4"/>
                  </a:moveTo>
                  <a:cubicBezTo>
                    <a:pt x="48" y="29"/>
                    <a:pt x="29" y="49"/>
                    <a:pt x="4" y="53"/>
                  </a:cubicBezTo>
                  <a:cubicBezTo>
                    <a:pt x="2" y="54"/>
                    <a:pt x="0" y="56"/>
                    <a:pt x="0" y="58"/>
                  </a:cubicBezTo>
                  <a:cubicBezTo>
                    <a:pt x="0" y="68"/>
                    <a:pt x="0" y="68"/>
                    <a:pt x="0" y="68"/>
                  </a:cubicBezTo>
                  <a:cubicBezTo>
                    <a:pt x="0" y="71"/>
                    <a:pt x="3" y="74"/>
                    <a:pt x="6" y="73"/>
                  </a:cubicBezTo>
                  <a:cubicBezTo>
                    <a:pt x="40" y="68"/>
                    <a:pt x="67" y="40"/>
                    <a:pt x="71" y="6"/>
                  </a:cubicBezTo>
                  <a:cubicBezTo>
                    <a:pt x="72" y="2"/>
                    <a:pt x="69" y="0"/>
                    <a:pt x="66" y="0"/>
                  </a:cubicBezTo>
                  <a:cubicBezTo>
                    <a:pt x="57" y="0"/>
                    <a:pt x="57" y="0"/>
                    <a:pt x="57" y="0"/>
                  </a:cubicBezTo>
                  <a:cubicBezTo>
                    <a:pt x="54" y="0"/>
                    <a:pt x="52" y="2"/>
                    <a:pt x="51" y="4"/>
                  </a:cubicBezTo>
                  <a:close/>
                </a:path>
              </a:pathLst>
            </a:custGeom>
            <a:solidFill>
              <a:srgbClr val="88D5ED"/>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1" name="Freeform 259">
              <a:extLst>
                <a:ext uri="{FF2B5EF4-FFF2-40B4-BE49-F238E27FC236}">
                  <a16:creationId xmlns:a16="http://schemas.microsoft.com/office/drawing/2014/main" id="{1FF85A87-7803-4550-BCB2-2C0C2FAC5CAA}"/>
                </a:ext>
              </a:extLst>
            </p:cNvPr>
            <p:cNvSpPr>
              <a:spLocks/>
            </p:cNvSpPr>
            <p:nvPr/>
          </p:nvSpPr>
          <p:spPr bwMode="auto">
            <a:xfrm>
              <a:off x="9156699" y="5892800"/>
              <a:ext cx="269875" cy="263525"/>
            </a:xfrm>
            <a:custGeom>
              <a:avLst/>
              <a:gdLst>
                <a:gd name="T0" fmla="*/ 1 w 140"/>
                <a:gd name="T1" fmla="*/ 70 h 136"/>
                <a:gd name="T2" fmla="*/ 48 w 140"/>
                <a:gd name="T3" fmla="*/ 136 h 136"/>
                <a:gd name="T4" fmla="*/ 140 w 140"/>
                <a:gd name="T5" fmla="*/ 0 h 136"/>
                <a:gd name="T6" fmla="*/ 51 w 140"/>
                <a:gd name="T7" fmla="*/ 98 h 136"/>
                <a:gd name="T8" fmla="*/ 4 w 140"/>
                <a:gd name="T9" fmla="*/ 67 h 136"/>
                <a:gd name="T10" fmla="*/ 1 w 140"/>
                <a:gd name="T11" fmla="*/ 70 h 136"/>
              </a:gdLst>
              <a:ahLst/>
              <a:cxnLst>
                <a:cxn ang="0">
                  <a:pos x="T0" y="T1"/>
                </a:cxn>
                <a:cxn ang="0">
                  <a:pos x="T2" y="T3"/>
                </a:cxn>
                <a:cxn ang="0">
                  <a:pos x="T4" y="T5"/>
                </a:cxn>
                <a:cxn ang="0">
                  <a:pos x="T6" y="T7"/>
                </a:cxn>
                <a:cxn ang="0">
                  <a:pos x="T8" y="T9"/>
                </a:cxn>
                <a:cxn ang="0">
                  <a:pos x="T10" y="T11"/>
                </a:cxn>
              </a:cxnLst>
              <a:rect l="0" t="0" r="r" b="b"/>
              <a:pathLst>
                <a:path w="140" h="136">
                  <a:moveTo>
                    <a:pt x="1" y="70"/>
                  </a:moveTo>
                  <a:cubicBezTo>
                    <a:pt x="48" y="136"/>
                    <a:pt x="48" y="136"/>
                    <a:pt x="48" y="136"/>
                  </a:cubicBezTo>
                  <a:cubicBezTo>
                    <a:pt x="140" y="0"/>
                    <a:pt x="140" y="0"/>
                    <a:pt x="140" y="0"/>
                  </a:cubicBezTo>
                  <a:cubicBezTo>
                    <a:pt x="51" y="98"/>
                    <a:pt x="51" y="98"/>
                    <a:pt x="51" y="98"/>
                  </a:cubicBezTo>
                  <a:cubicBezTo>
                    <a:pt x="4" y="67"/>
                    <a:pt x="4" y="67"/>
                    <a:pt x="4" y="67"/>
                  </a:cubicBezTo>
                  <a:cubicBezTo>
                    <a:pt x="2" y="66"/>
                    <a:pt x="0" y="68"/>
                    <a:pt x="1" y="70"/>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dirty="0"/>
            </a:p>
          </p:txBody>
        </p:sp>
      </p:grpSp>
      <p:pic>
        <p:nvPicPr>
          <p:cNvPr id="3" name="Obraz 2">
            <a:extLst>
              <a:ext uri="{FF2B5EF4-FFF2-40B4-BE49-F238E27FC236}">
                <a16:creationId xmlns:a16="http://schemas.microsoft.com/office/drawing/2014/main" id="{B01E39BB-652F-447A-BCC5-F4BB5FA10DA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943934" y="3318145"/>
            <a:ext cx="3744416" cy="1997021"/>
          </a:xfrm>
          <a:prstGeom prst="roundRect">
            <a:avLst>
              <a:gd name="adj" fmla="val 5229"/>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p:spPr>
      </p:pic>
      <p:pic>
        <p:nvPicPr>
          <p:cNvPr id="44" name="Obraz 43">
            <a:extLst>
              <a:ext uri="{FF2B5EF4-FFF2-40B4-BE49-F238E27FC236}">
                <a16:creationId xmlns:a16="http://schemas.microsoft.com/office/drawing/2014/main" id="{E7578ADB-759C-421F-B0B3-47128F2D7F89}"/>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82358" y="3137792"/>
            <a:ext cx="2529265" cy="3369342"/>
          </a:xfrm>
          <a:prstGeom prst="rect">
            <a:avLst/>
          </a:prstGeom>
        </p:spPr>
      </p:pic>
    </p:spTree>
    <p:extLst>
      <p:ext uri="{BB962C8B-B14F-4D97-AF65-F5344CB8AC3E}">
        <p14:creationId xmlns:p14="http://schemas.microsoft.com/office/powerpoint/2010/main" val="3088689742"/>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1">
            <a:extLst>
              <a:ext uri="{FF2B5EF4-FFF2-40B4-BE49-F238E27FC236}">
                <a16:creationId xmlns:a16="http://schemas.microsoft.com/office/drawing/2014/main" id="{F10600C0-71FA-4139-83A2-877B511CAB50}"/>
              </a:ext>
            </a:extLst>
          </p:cNvPr>
          <p:cNvSpPr>
            <a:spLocks noGrp="1"/>
          </p:cNvSpPr>
          <p:nvPr>
            <p:ph type="pic" sz="quarter" idx="10"/>
          </p:nvPr>
        </p:nvSpPr>
        <p:spPr/>
      </p:sp>
      <p:sp>
        <p:nvSpPr>
          <p:cNvPr id="6" name="Symbol zastępczy tekstu 5">
            <a:extLst>
              <a:ext uri="{FF2B5EF4-FFF2-40B4-BE49-F238E27FC236}">
                <a16:creationId xmlns:a16="http://schemas.microsoft.com/office/drawing/2014/main" id="{EC19D1F0-CA19-48E4-B6B7-FE7D3388EB92}"/>
              </a:ext>
            </a:extLst>
          </p:cNvPr>
          <p:cNvSpPr>
            <a:spLocks noGrp="1"/>
          </p:cNvSpPr>
          <p:nvPr>
            <p:ph type="body" sz="quarter" idx="11"/>
          </p:nvPr>
        </p:nvSpPr>
        <p:spPr/>
        <p:txBody>
          <a:bodyPr/>
          <a:lstStyle/>
          <a:p>
            <a:r>
              <a:rPr lang="en-US" dirty="0"/>
              <a:t>What’s new in C# 8.0</a:t>
            </a:r>
          </a:p>
          <a:p>
            <a:r>
              <a:rPr lang="en-US" sz="2400" dirty="0"/>
              <a:t>Ranges and indices</a:t>
            </a:r>
          </a:p>
        </p:txBody>
      </p:sp>
      <p:sp>
        <p:nvSpPr>
          <p:cNvPr id="7" name="Freeform 37">
            <a:extLst>
              <a:ext uri="{FF2B5EF4-FFF2-40B4-BE49-F238E27FC236}">
                <a16:creationId xmlns:a16="http://schemas.microsoft.com/office/drawing/2014/main" id="{BCC53735-7D11-4243-AE6A-6AA78D25D5AD}"/>
              </a:ext>
            </a:extLst>
          </p:cNvPr>
          <p:cNvSpPr>
            <a:spLocks/>
          </p:cNvSpPr>
          <p:nvPr/>
        </p:nvSpPr>
        <p:spPr bwMode="auto">
          <a:xfrm>
            <a:off x="8830800" y="3578400"/>
            <a:ext cx="844550" cy="793750"/>
          </a:xfrm>
          <a:custGeom>
            <a:avLst/>
            <a:gdLst>
              <a:gd name="T0" fmla="*/ 51 w 440"/>
              <a:gd name="T1" fmla="*/ 298 h 410"/>
              <a:gd name="T2" fmla="*/ 128 w 440"/>
              <a:gd name="T3" fmla="*/ 48 h 410"/>
              <a:gd name="T4" fmla="*/ 389 w 440"/>
              <a:gd name="T5" fmla="*/ 122 h 410"/>
              <a:gd name="T6" fmla="*/ 307 w 440"/>
              <a:gd name="T7" fmla="*/ 362 h 410"/>
              <a:gd name="T8" fmla="*/ 51 w 440"/>
              <a:gd name="T9" fmla="*/ 298 h 410"/>
            </a:gdLst>
            <a:ahLst/>
            <a:cxnLst>
              <a:cxn ang="0">
                <a:pos x="T0" y="T1"/>
              </a:cxn>
              <a:cxn ang="0">
                <a:pos x="T2" y="T3"/>
              </a:cxn>
              <a:cxn ang="0">
                <a:pos x="T4" y="T5"/>
              </a:cxn>
              <a:cxn ang="0">
                <a:pos x="T6" y="T7"/>
              </a:cxn>
              <a:cxn ang="0">
                <a:pos x="T8" y="T9"/>
              </a:cxn>
            </a:cxnLst>
            <a:rect l="0" t="0" r="r" b="b"/>
            <a:pathLst>
              <a:path w="440" h="410">
                <a:moveTo>
                  <a:pt x="51" y="298"/>
                </a:moveTo>
                <a:cubicBezTo>
                  <a:pt x="0" y="209"/>
                  <a:pt x="34" y="97"/>
                  <a:pt x="128" y="48"/>
                </a:cubicBezTo>
                <a:cubicBezTo>
                  <a:pt x="221" y="0"/>
                  <a:pt x="338" y="33"/>
                  <a:pt x="389" y="122"/>
                </a:cubicBezTo>
                <a:cubicBezTo>
                  <a:pt x="440" y="212"/>
                  <a:pt x="400" y="313"/>
                  <a:pt x="307" y="362"/>
                </a:cubicBezTo>
                <a:cubicBezTo>
                  <a:pt x="214" y="410"/>
                  <a:pt x="102" y="388"/>
                  <a:pt x="51" y="298"/>
                </a:cubicBezTo>
              </a:path>
            </a:pathLst>
          </a:custGeom>
          <a:solidFill>
            <a:srgbClr val="860864"/>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8" name="Oval 20">
            <a:extLst>
              <a:ext uri="{FF2B5EF4-FFF2-40B4-BE49-F238E27FC236}">
                <a16:creationId xmlns:a16="http://schemas.microsoft.com/office/drawing/2014/main" id="{6250AFEE-00DA-4660-8E57-30B3832A1E36}"/>
              </a:ext>
            </a:extLst>
          </p:cNvPr>
          <p:cNvSpPr/>
          <p:nvPr/>
        </p:nvSpPr>
        <p:spPr>
          <a:xfrm>
            <a:off x="6899617" y="3501008"/>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9" name="Oval 20">
            <a:extLst>
              <a:ext uri="{FF2B5EF4-FFF2-40B4-BE49-F238E27FC236}">
                <a16:creationId xmlns:a16="http://schemas.microsoft.com/office/drawing/2014/main" id="{41E87897-EE31-437B-8E73-29B7116F7353}"/>
              </a:ext>
            </a:extLst>
          </p:cNvPr>
          <p:cNvSpPr/>
          <p:nvPr/>
        </p:nvSpPr>
        <p:spPr>
          <a:xfrm>
            <a:off x="8904312" y="4263464"/>
            <a:ext cx="1356623" cy="128178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10" name="Group 3">
            <a:extLst>
              <a:ext uri="{FF2B5EF4-FFF2-40B4-BE49-F238E27FC236}">
                <a16:creationId xmlns:a16="http://schemas.microsoft.com/office/drawing/2014/main" id="{C791E446-6B2A-4DB5-9206-E68F3D2B28FD}"/>
              </a:ext>
            </a:extLst>
          </p:cNvPr>
          <p:cNvGrpSpPr/>
          <p:nvPr/>
        </p:nvGrpSpPr>
        <p:grpSpPr>
          <a:xfrm>
            <a:off x="7303572" y="3772163"/>
            <a:ext cx="1349465" cy="1349468"/>
            <a:chOff x="7739064" y="2571637"/>
            <a:chExt cx="490537" cy="490538"/>
          </a:xfrm>
        </p:grpSpPr>
        <p:sp>
          <p:nvSpPr>
            <p:cNvPr id="12" name="Freeform 69">
              <a:extLst>
                <a:ext uri="{FF2B5EF4-FFF2-40B4-BE49-F238E27FC236}">
                  <a16:creationId xmlns:a16="http://schemas.microsoft.com/office/drawing/2014/main" id="{03E20628-9C51-4FEE-AE43-E8E93D7A9463}"/>
                </a:ext>
              </a:extLst>
            </p:cNvPr>
            <p:cNvSpPr>
              <a:spLocks/>
            </p:cNvSpPr>
            <p:nvPr/>
          </p:nvSpPr>
          <p:spPr bwMode="auto">
            <a:xfrm>
              <a:off x="7864476" y="2571637"/>
              <a:ext cx="365125" cy="368300"/>
            </a:xfrm>
            <a:custGeom>
              <a:avLst/>
              <a:gdLst>
                <a:gd name="T0" fmla="*/ 157 w 191"/>
                <a:gd name="T1" fmla="*/ 156 h 190"/>
                <a:gd name="T2" fmla="*/ 157 w 191"/>
                <a:gd name="T3" fmla="*/ 33 h 190"/>
                <a:gd name="T4" fmla="*/ 34 w 191"/>
                <a:gd name="T5" fmla="*/ 33 h 190"/>
                <a:gd name="T6" fmla="*/ 34 w 191"/>
                <a:gd name="T7" fmla="*/ 156 h 190"/>
                <a:gd name="T8" fmla="*/ 157 w 191"/>
                <a:gd name="T9" fmla="*/ 156 h 190"/>
              </a:gdLst>
              <a:ahLst/>
              <a:cxnLst>
                <a:cxn ang="0">
                  <a:pos x="T0" y="T1"/>
                </a:cxn>
                <a:cxn ang="0">
                  <a:pos x="T2" y="T3"/>
                </a:cxn>
                <a:cxn ang="0">
                  <a:pos x="T4" y="T5"/>
                </a:cxn>
                <a:cxn ang="0">
                  <a:pos x="T6" y="T7"/>
                </a:cxn>
                <a:cxn ang="0">
                  <a:pos x="T8" y="T9"/>
                </a:cxn>
              </a:cxnLst>
              <a:rect l="0" t="0" r="r" b="b"/>
              <a:pathLst>
                <a:path w="191" h="190">
                  <a:moveTo>
                    <a:pt x="157" y="156"/>
                  </a:moveTo>
                  <a:cubicBezTo>
                    <a:pt x="191" y="122"/>
                    <a:pt x="191" y="67"/>
                    <a:pt x="157" y="33"/>
                  </a:cubicBezTo>
                  <a:cubicBezTo>
                    <a:pt x="123" y="0"/>
                    <a:pt x="68" y="0"/>
                    <a:pt x="34" y="33"/>
                  </a:cubicBezTo>
                  <a:cubicBezTo>
                    <a:pt x="0" y="67"/>
                    <a:pt x="0" y="122"/>
                    <a:pt x="34" y="156"/>
                  </a:cubicBezTo>
                  <a:cubicBezTo>
                    <a:pt x="68" y="190"/>
                    <a:pt x="123" y="190"/>
                    <a:pt x="157" y="156"/>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70">
              <a:extLst>
                <a:ext uri="{FF2B5EF4-FFF2-40B4-BE49-F238E27FC236}">
                  <a16:creationId xmlns:a16="http://schemas.microsoft.com/office/drawing/2014/main" id="{C984E3E6-8048-4914-B074-23D48C0FA7C3}"/>
                </a:ext>
              </a:extLst>
            </p:cNvPr>
            <p:cNvSpPr>
              <a:spLocks/>
            </p:cNvSpPr>
            <p:nvPr/>
          </p:nvSpPr>
          <p:spPr bwMode="auto">
            <a:xfrm>
              <a:off x="7904164" y="2611325"/>
              <a:ext cx="287338" cy="290513"/>
            </a:xfrm>
            <a:custGeom>
              <a:avLst/>
              <a:gdLst>
                <a:gd name="T0" fmla="*/ 123 w 150"/>
                <a:gd name="T1" fmla="*/ 123 h 150"/>
                <a:gd name="T2" fmla="*/ 123 w 150"/>
                <a:gd name="T3" fmla="*/ 26 h 150"/>
                <a:gd name="T4" fmla="*/ 26 w 150"/>
                <a:gd name="T5" fmla="*/ 26 h 150"/>
                <a:gd name="T6" fmla="*/ 26 w 150"/>
                <a:gd name="T7" fmla="*/ 123 h 150"/>
                <a:gd name="T8" fmla="*/ 123 w 150"/>
                <a:gd name="T9" fmla="*/ 123 h 150"/>
              </a:gdLst>
              <a:ahLst/>
              <a:cxnLst>
                <a:cxn ang="0">
                  <a:pos x="T0" y="T1"/>
                </a:cxn>
                <a:cxn ang="0">
                  <a:pos x="T2" y="T3"/>
                </a:cxn>
                <a:cxn ang="0">
                  <a:pos x="T4" y="T5"/>
                </a:cxn>
                <a:cxn ang="0">
                  <a:pos x="T6" y="T7"/>
                </a:cxn>
                <a:cxn ang="0">
                  <a:pos x="T8" y="T9"/>
                </a:cxn>
              </a:cxnLst>
              <a:rect l="0" t="0" r="r" b="b"/>
              <a:pathLst>
                <a:path w="150" h="150">
                  <a:moveTo>
                    <a:pt x="123" y="123"/>
                  </a:moveTo>
                  <a:cubicBezTo>
                    <a:pt x="150" y="96"/>
                    <a:pt x="150" y="53"/>
                    <a:pt x="123" y="26"/>
                  </a:cubicBezTo>
                  <a:cubicBezTo>
                    <a:pt x="96" y="0"/>
                    <a:pt x="53" y="0"/>
                    <a:pt x="26" y="26"/>
                  </a:cubicBezTo>
                  <a:cubicBezTo>
                    <a:pt x="0" y="53"/>
                    <a:pt x="0" y="96"/>
                    <a:pt x="26" y="123"/>
                  </a:cubicBezTo>
                  <a:cubicBezTo>
                    <a:pt x="53" y="150"/>
                    <a:pt x="96" y="150"/>
                    <a:pt x="123" y="123"/>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4" name="Freeform 71">
              <a:extLst>
                <a:ext uri="{FF2B5EF4-FFF2-40B4-BE49-F238E27FC236}">
                  <a16:creationId xmlns:a16="http://schemas.microsoft.com/office/drawing/2014/main" id="{62BC1613-D9DA-4F12-9849-1ED213949E0E}"/>
                </a:ext>
              </a:extLst>
            </p:cNvPr>
            <p:cNvSpPr>
              <a:spLocks/>
            </p:cNvSpPr>
            <p:nvPr/>
          </p:nvSpPr>
          <p:spPr bwMode="auto">
            <a:xfrm>
              <a:off x="7896226" y="2844687"/>
              <a:ext cx="63500" cy="65088"/>
            </a:xfrm>
            <a:custGeom>
              <a:avLst/>
              <a:gdLst>
                <a:gd name="T0" fmla="*/ 23 w 40"/>
                <a:gd name="T1" fmla="*/ 41 h 41"/>
                <a:gd name="T2" fmla="*/ 0 w 40"/>
                <a:gd name="T3" fmla="*/ 17 h 41"/>
                <a:gd name="T4" fmla="*/ 17 w 40"/>
                <a:gd name="T5" fmla="*/ 0 h 41"/>
                <a:gd name="T6" fmla="*/ 40 w 40"/>
                <a:gd name="T7" fmla="*/ 23 h 41"/>
                <a:gd name="T8" fmla="*/ 23 w 40"/>
                <a:gd name="T9" fmla="*/ 41 h 41"/>
              </a:gdLst>
              <a:ahLst/>
              <a:cxnLst>
                <a:cxn ang="0">
                  <a:pos x="T0" y="T1"/>
                </a:cxn>
                <a:cxn ang="0">
                  <a:pos x="T2" y="T3"/>
                </a:cxn>
                <a:cxn ang="0">
                  <a:pos x="T4" y="T5"/>
                </a:cxn>
                <a:cxn ang="0">
                  <a:pos x="T6" y="T7"/>
                </a:cxn>
                <a:cxn ang="0">
                  <a:pos x="T8" y="T9"/>
                </a:cxn>
              </a:cxnLst>
              <a:rect l="0" t="0" r="r" b="b"/>
              <a:pathLst>
                <a:path w="40" h="41">
                  <a:moveTo>
                    <a:pt x="23" y="41"/>
                  </a:moveTo>
                  <a:lnTo>
                    <a:pt x="0" y="17"/>
                  </a:lnTo>
                  <a:lnTo>
                    <a:pt x="17" y="0"/>
                  </a:lnTo>
                  <a:lnTo>
                    <a:pt x="40" y="23"/>
                  </a:lnTo>
                  <a:lnTo>
                    <a:pt x="23" y="41"/>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 name="Freeform 72">
              <a:extLst>
                <a:ext uri="{FF2B5EF4-FFF2-40B4-BE49-F238E27FC236}">
                  <a16:creationId xmlns:a16="http://schemas.microsoft.com/office/drawing/2014/main" id="{B806D350-1552-4508-A672-EC98AD1FEAD7}"/>
                </a:ext>
              </a:extLst>
            </p:cNvPr>
            <p:cNvSpPr>
              <a:spLocks/>
            </p:cNvSpPr>
            <p:nvPr/>
          </p:nvSpPr>
          <p:spPr bwMode="auto">
            <a:xfrm>
              <a:off x="7856539" y="2866912"/>
              <a:ext cx="82550" cy="80963"/>
            </a:xfrm>
            <a:custGeom>
              <a:avLst/>
              <a:gdLst>
                <a:gd name="T0" fmla="*/ 30 w 52"/>
                <a:gd name="T1" fmla="*/ 51 h 51"/>
                <a:gd name="T2" fmla="*/ 0 w 52"/>
                <a:gd name="T3" fmla="*/ 20 h 51"/>
                <a:gd name="T4" fmla="*/ 21 w 52"/>
                <a:gd name="T5" fmla="*/ 0 h 51"/>
                <a:gd name="T6" fmla="*/ 52 w 52"/>
                <a:gd name="T7" fmla="*/ 30 h 51"/>
                <a:gd name="T8" fmla="*/ 30 w 52"/>
                <a:gd name="T9" fmla="*/ 51 h 51"/>
              </a:gdLst>
              <a:ahLst/>
              <a:cxnLst>
                <a:cxn ang="0">
                  <a:pos x="T0" y="T1"/>
                </a:cxn>
                <a:cxn ang="0">
                  <a:pos x="T2" y="T3"/>
                </a:cxn>
                <a:cxn ang="0">
                  <a:pos x="T4" y="T5"/>
                </a:cxn>
                <a:cxn ang="0">
                  <a:pos x="T6" y="T7"/>
                </a:cxn>
                <a:cxn ang="0">
                  <a:pos x="T8" y="T9"/>
                </a:cxn>
              </a:cxnLst>
              <a:rect l="0" t="0" r="r" b="b"/>
              <a:pathLst>
                <a:path w="52" h="51">
                  <a:moveTo>
                    <a:pt x="30" y="51"/>
                  </a:moveTo>
                  <a:lnTo>
                    <a:pt x="0" y="20"/>
                  </a:lnTo>
                  <a:lnTo>
                    <a:pt x="21" y="0"/>
                  </a:lnTo>
                  <a:lnTo>
                    <a:pt x="52" y="30"/>
                  </a:lnTo>
                  <a:lnTo>
                    <a:pt x="30" y="51"/>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6" name="Freeform 73">
              <a:extLst>
                <a:ext uri="{FF2B5EF4-FFF2-40B4-BE49-F238E27FC236}">
                  <a16:creationId xmlns:a16="http://schemas.microsoft.com/office/drawing/2014/main" id="{9A8297DB-80CE-4960-B68F-E055A52C7279}"/>
                </a:ext>
              </a:extLst>
            </p:cNvPr>
            <p:cNvSpPr>
              <a:spLocks/>
            </p:cNvSpPr>
            <p:nvPr/>
          </p:nvSpPr>
          <p:spPr bwMode="auto">
            <a:xfrm>
              <a:off x="8074026" y="2649425"/>
              <a:ext cx="79375" cy="79375"/>
            </a:xfrm>
            <a:custGeom>
              <a:avLst/>
              <a:gdLst>
                <a:gd name="T0" fmla="*/ 31 w 41"/>
                <a:gd name="T1" fmla="*/ 39 h 41"/>
                <a:gd name="T2" fmla="*/ 30 w 41"/>
                <a:gd name="T3" fmla="*/ 37 h 41"/>
                <a:gd name="T4" fmla="*/ 20 w 41"/>
                <a:gd name="T5" fmla="*/ 21 h 41"/>
                <a:gd name="T6" fmla="*/ 4 w 41"/>
                <a:gd name="T7" fmla="*/ 11 h 41"/>
                <a:gd name="T8" fmla="*/ 0 w 41"/>
                <a:gd name="T9" fmla="*/ 4 h 41"/>
                <a:gd name="T10" fmla="*/ 7 w 41"/>
                <a:gd name="T11" fmla="*/ 1 h 41"/>
                <a:gd name="T12" fmla="*/ 27 w 41"/>
                <a:gd name="T13" fmla="*/ 13 h 41"/>
                <a:gd name="T14" fmla="*/ 40 w 41"/>
                <a:gd name="T15" fmla="*/ 34 h 41"/>
                <a:gd name="T16" fmla="*/ 36 w 41"/>
                <a:gd name="T17" fmla="*/ 41 h 41"/>
                <a:gd name="T18" fmla="*/ 31 w 41"/>
                <a:gd name="T19" fmla="*/ 39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41">
                  <a:moveTo>
                    <a:pt x="31" y="39"/>
                  </a:moveTo>
                  <a:cubicBezTo>
                    <a:pt x="30" y="39"/>
                    <a:pt x="30" y="38"/>
                    <a:pt x="30" y="37"/>
                  </a:cubicBezTo>
                  <a:cubicBezTo>
                    <a:pt x="28" y="31"/>
                    <a:pt x="25" y="25"/>
                    <a:pt x="20" y="21"/>
                  </a:cubicBezTo>
                  <a:cubicBezTo>
                    <a:pt x="15" y="16"/>
                    <a:pt x="10" y="13"/>
                    <a:pt x="4" y="11"/>
                  </a:cubicBezTo>
                  <a:cubicBezTo>
                    <a:pt x="1" y="10"/>
                    <a:pt x="0" y="7"/>
                    <a:pt x="0" y="4"/>
                  </a:cubicBezTo>
                  <a:cubicBezTo>
                    <a:pt x="1" y="2"/>
                    <a:pt x="4" y="0"/>
                    <a:pt x="7" y="1"/>
                  </a:cubicBezTo>
                  <a:cubicBezTo>
                    <a:pt x="15" y="3"/>
                    <a:pt x="22" y="7"/>
                    <a:pt x="27" y="13"/>
                  </a:cubicBezTo>
                  <a:cubicBezTo>
                    <a:pt x="33" y="19"/>
                    <a:pt x="37" y="26"/>
                    <a:pt x="40" y="34"/>
                  </a:cubicBezTo>
                  <a:cubicBezTo>
                    <a:pt x="41" y="37"/>
                    <a:pt x="39" y="40"/>
                    <a:pt x="36" y="41"/>
                  </a:cubicBezTo>
                  <a:cubicBezTo>
                    <a:pt x="34" y="41"/>
                    <a:pt x="32" y="40"/>
                    <a:pt x="31" y="39"/>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 name="Freeform 74">
              <a:extLst>
                <a:ext uri="{FF2B5EF4-FFF2-40B4-BE49-F238E27FC236}">
                  <a16:creationId xmlns:a16="http://schemas.microsoft.com/office/drawing/2014/main" id="{35BDD8D5-E846-4D5C-942F-9F33E885DDDA}"/>
                </a:ext>
              </a:extLst>
            </p:cNvPr>
            <p:cNvSpPr>
              <a:spLocks/>
            </p:cNvSpPr>
            <p:nvPr/>
          </p:nvSpPr>
          <p:spPr bwMode="auto">
            <a:xfrm>
              <a:off x="7739064" y="2898662"/>
              <a:ext cx="165100" cy="163513"/>
            </a:xfrm>
            <a:custGeom>
              <a:avLst/>
              <a:gdLst>
                <a:gd name="T0" fmla="*/ 79 w 86"/>
                <a:gd name="T1" fmla="*/ 18 h 84"/>
                <a:gd name="T2" fmla="*/ 68 w 86"/>
                <a:gd name="T3" fmla="*/ 7 h 84"/>
                <a:gd name="T4" fmla="*/ 61 w 86"/>
                <a:gd name="T5" fmla="*/ 0 h 84"/>
                <a:gd name="T6" fmla="*/ 54 w 86"/>
                <a:gd name="T7" fmla="*/ 7 h 84"/>
                <a:gd name="T8" fmla="*/ 7 w 86"/>
                <a:gd name="T9" fmla="*/ 55 h 84"/>
                <a:gd name="T10" fmla="*/ 0 w 86"/>
                <a:gd name="T11" fmla="*/ 62 h 84"/>
                <a:gd name="T12" fmla="*/ 7 w 86"/>
                <a:gd name="T13" fmla="*/ 69 h 84"/>
                <a:gd name="T14" fmla="*/ 12 w 86"/>
                <a:gd name="T15" fmla="*/ 74 h 84"/>
                <a:gd name="T16" fmla="*/ 18 w 86"/>
                <a:gd name="T17" fmla="*/ 80 h 84"/>
                <a:gd name="T18" fmla="*/ 32 w 86"/>
                <a:gd name="T19" fmla="*/ 80 h 84"/>
                <a:gd name="T20" fmla="*/ 76 w 86"/>
                <a:gd name="T21" fmla="*/ 36 h 84"/>
                <a:gd name="T22" fmla="*/ 79 w 86"/>
                <a:gd name="T23" fmla="*/ 33 h 84"/>
                <a:gd name="T24" fmla="*/ 86 w 86"/>
                <a:gd name="T25" fmla="*/ 25 h 84"/>
                <a:gd name="T26" fmla="*/ 79 w 86"/>
                <a:gd name="T27" fmla="*/ 18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6" h="84">
                  <a:moveTo>
                    <a:pt x="79" y="18"/>
                  </a:moveTo>
                  <a:cubicBezTo>
                    <a:pt x="68" y="7"/>
                    <a:pt x="68" y="7"/>
                    <a:pt x="68" y="7"/>
                  </a:cubicBezTo>
                  <a:cubicBezTo>
                    <a:pt x="61" y="0"/>
                    <a:pt x="61" y="0"/>
                    <a:pt x="61" y="0"/>
                  </a:cubicBezTo>
                  <a:cubicBezTo>
                    <a:pt x="54" y="7"/>
                    <a:pt x="54" y="7"/>
                    <a:pt x="54" y="7"/>
                  </a:cubicBezTo>
                  <a:cubicBezTo>
                    <a:pt x="7" y="55"/>
                    <a:pt x="7" y="55"/>
                    <a:pt x="7" y="55"/>
                  </a:cubicBezTo>
                  <a:cubicBezTo>
                    <a:pt x="0" y="62"/>
                    <a:pt x="0" y="62"/>
                    <a:pt x="0" y="62"/>
                  </a:cubicBezTo>
                  <a:cubicBezTo>
                    <a:pt x="7" y="69"/>
                    <a:pt x="7" y="69"/>
                    <a:pt x="7" y="69"/>
                  </a:cubicBezTo>
                  <a:cubicBezTo>
                    <a:pt x="12" y="74"/>
                    <a:pt x="12" y="74"/>
                    <a:pt x="12" y="74"/>
                  </a:cubicBezTo>
                  <a:cubicBezTo>
                    <a:pt x="18" y="80"/>
                    <a:pt x="18" y="80"/>
                    <a:pt x="18" y="80"/>
                  </a:cubicBezTo>
                  <a:cubicBezTo>
                    <a:pt x="22" y="84"/>
                    <a:pt x="28" y="84"/>
                    <a:pt x="32" y="80"/>
                  </a:cubicBezTo>
                  <a:cubicBezTo>
                    <a:pt x="76" y="36"/>
                    <a:pt x="76" y="36"/>
                    <a:pt x="76" y="36"/>
                  </a:cubicBezTo>
                  <a:cubicBezTo>
                    <a:pt x="79" y="33"/>
                    <a:pt x="79" y="33"/>
                    <a:pt x="79" y="33"/>
                  </a:cubicBezTo>
                  <a:cubicBezTo>
                    <a:pt x="86" y="25"/>
                    <a:pt x="86" y="25"/>
                    <a:pt x="86" y="25"/>
                  </a:cubicBezTo>
                  <a:lnTo>
                    <a:pt x="79" y="18"/>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405417908"/>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ytuł 3">
            <a:extLst>
              <a:ext uri="{FF2B5EF4-FFF2-40B4-BE49-F238E27FC236}">
                <a16:creationId xmlns:a16="http://schemas.microsoft.com/office/drawing/2014/main" id="{BE6E47FB-5E55-45DB-B712-E4993D47A776}"/>
              </a:ext>
            </a:extLst>
          </p:cNvPr>
          <p:cNvSpPr>
            <a:spLocks noGrp="1"/>
          </p:cNvSpPr>
          <p:nvPr>
            <p:ph type="title"/>
          </p:nvPr>
        </p:nvSpPr>
        <p:spPr/>
        <p:txBody>
          <a:bodyPr/>
          <a:lstStyle/>
          <a:p>
            <a:r>
              <a:rPr lang="en-US" sz="3200" dirty="0"/>
              <a:t>Ranges and indices</a:t>
            </a:r>
          </a:p>
        </p:txBody>
      </p:sp>
      <p:sp>
        <p:nvSpPr>
          <p:cNvPr id="5" name="Symbol zastępczy tekstu 4">
            <a:extLst>
              <a:ext uri="{FF2B5EF4-FFF2-40B4-BE49-F238E27FC236}">
                <a16:creationId xmlns:a16="http://schemas.microsoft.com/office/drawing/2014/main" id="{566C6C9B-DE4F-4D57-8491-6FC8D45FC924}"/>
              </a:ext>
            </a:extLst>
          </p:cNvPr>
          <p:cNvSpPr>
            <a:spLocks noGrp="1"/>
          </p:cNvSpPr>
          <p:nvPr>
            <p:ph type="body" sz="quarter" idx="10"/>
          </p:nvPr>
        </p:nvSpPr>
        <p:spPr/>
        <p:txBody>
          <a:bodyPr/>
          <a:lstStyle/>
          <a:p>
            <a:endParaRPr lang="en-US" dirty="0"/>
          </a:p>
        </p:txBody>
      </p:sp>
      <p:sp>
        <p:nvSpPr>
          <p:cNvPr id="6" name="Symbol zastępczy tekstu 5">
            <a:extLst>
              <a:ext uri="{FF2B5EF4-FFF2-40B4-BE49-F238E27FC236}">
                <a16:creationId xmlns:a16="http://schemas.microsoft.com/office/drawing/2014/main" id="{1302AB4B-7554-47F7-BBCD-39BD33559A94}"/>
              </a:ext>
            </a:extLst>
          </p:cNvPr>
          <p:cNvSpPr>
            <a:spLocks noGrp="1"/>
          </p:cNvSpPr>
          <p:nvPr>
            <p:ph type="body" sz="quarter" idx="11"/>
          </p:nvPr>
        </p:nvSpPr>
        <p:spPr/>
        <p:txBody>
          <a:bodyPr/>
          <a:lstStyle/>
          <a:p>
            <a:r>
              <a:rPr lang="en-US" dirty="0"/>
              <a:t>C# 7.3</a:t>
            </a:r>
          </a:p>
        </p:txBody>
      </p:sp>
      <p:sp>
        <p:nvSpPr>
          <p:cNvPr id="7" name="Symbol zastępczy tekstu 6">
            <a:extLst>
              <a:ext uri="{FF2B5EF4-FFF2-40B4-BE49-F238E27FC236}">
                <a16:creationId xmlns:a16="http://schemas.microsoft.com/office/drawing/2014/main" id="{5D8A2B1E-A86F-4A25-94A4-5CF446FD2951}"/>
              </a:ext>
            </a:extLst>
          </p:cNvPr>
          <p:cNvSpPr>
            <a:spLocks noGrp="1"/>
          </p:cNvSpPr>
          <p:nvPr>
            <p:ph type="body" sz="quarter" idx="12"/>
          </p:nvPr>
        </p:nvSpPr>
        <p:spPr/>
        <p:txBody>
          <a:bodyPr/>
          <a:lstStyle/>
          <a:p>
            <a:r>
              <a:rPr lang="en-US" dirty="0"/>
              <a:t>1</a:t>
            </a:r>
          </a:p>
        </p:txBody>
      </p:sp>
    </p:spTree>
    <p:extLst>
      <p:ext uri="{BB962C8B-B14F-4D97-AF65-F5344CB8AC3E}">
        <p14:creationId xmlns:p14="http://schemas.microsoft.com/office/powerpoint/2010/main" val="1949906869"/>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ytuł 3">
            <a:extLst>
              <a:ext uri="{FF2B5EF4-FFF2-40B4-BE49-F238E27FC236}">
                <a16:creationId xmlns:a16="http://schemas.microsoft.com/office/drawing/2014/main" id="{BE6E47FB-5E55-45DB-B712-E4993D47A776}"/>
              </a:ext>
            </a:extLst>
          </p:cNvPr>
          <p:cNvSpPr>
            <a:spLocks noGrp="1"/>
          </p:cNvSpPr>
          <p:nvPr>
            <p:ph type="title"/>
          </p:nvPr>
        </p:nvSpPr>
        <p:spPr/>
        <p:txBody>
          <a:bodyPr/>
          <a:lstStyle/>
          <a:p>
            <a:r>
              <a:rPr lang="en-US" sz="3200" dirty="0"/>
              <a:t>Ranges and indices</a:t>
            </a:r>
          </a:p>
        </p:txBody>
      </p:sp>
      <p:sp>
        <p:nvSpPr>
          <p:cNvPr id="5" name="Symbol zastępczy tekstu 4">
            <a:extLst>
              <a:ext uri="{FF2B5EF4-FFF2-40B4-BE49-F238E27FC236}">
                <a16:creationId xmlns:a16="http://schemas.microsoft.com/office/drawing/2014/main" id="{566C6C9B-DE4F-4D57-8491-6FC8D45FC924}"/>
              </a:ext>
            </a:extLst>
          </p:cNvPr>
          <p:cNvSpPr>
            <a:spLocks noGrp="1"/>
          </p:cNvSpPr>
          <p:nvPr>
            <p:ph type="body" sz="quarter" idx="10"/>
          </p:nvPr>
        </p:nvSpPr>
        <p:spPr/>
        <p:txBody>
          <a:bodyPr/>
          <a:lstStyle/>
          <a:p>
            <a:endParaRPr lang="en-US" dirty="0"/>
          </a:p>
        </p:txBody>
      </p:sp>
      <p:sp>
        <p:nvSpPr>
          <p:cNvPr id="6" name="Symbol zastępczy tekstu 5">
            <a:extLst>
              <a:ext uri="{FF2B5EF4-FFF2-40B4-BE49-F238E27FC236}">
                <a16:creationId xmlns:a16="http://schemas.microsoft.com/office/drawing/2014/main" id="{1302AB4B-7554-47F7-BBCD-39BD33559A94}"/>
              </a:ext>
            </a:extLst>
          </p:cNvPr>
          <p:cNvSpPr>
            <a:spLocks noGrp="1"/>
          </p:cNvSpPr>
          <p:nvPr>
            <p:ph type="body" sz="quarter" idx="11"/>
          </p:nvPr>
        </p:nvSpPr>
        <p:spPr/>
        <p:txBody>
          <a:bodyPr/>
          <a:lstStyle/>
          <a:p>
            <a:r>
              <a:rPr lang="en-US" dirty="0"/>
              <a:t>C# 8.0</a:t>
            </a:r>
          </a:p>
        </p:txBody>
      </p:sp>
      <p:sp>
        <p:nvSpPr>
          <p:cNvPr id="7" name="Symbol zastępczy tekstu 6">
            <a:extLst>
              <a:ext uri="{FF2B5EF4-FFF2-40B4-BE49-F238E27FC236}">
                <a16:creationId xmlns:a16="http://schemas.microsoft.com/office/drawing/2014/main" id="{5D8A2B1E-A86F-4A25-94A4-5CF446FD2951}"/>
              </a:ext>
            </a:extLst>
          </p:cNvPr>
          <p:cNvSpPr>
            <a:spLocks noGrp="1"/>
          </p:cNvSpPr>
          <p:nvPr>
            <p:ph type="body" sz="quarter" idx="12"/>
          </p:nvPr>
        </p:nvSpPr>
        <p:spPr/>
        <p:txBody>
          <a:bodyPr/>
          <a:lstStyle/>
          <a:p>
            <a:r>
              <a:rPr lang="en-US" dirty="0"/>
              <a:t>2</a:t>
            </a:r>
          </a:p>
        </p:txBody>
      </p:sp>
    </p:spTree>
    <p:extLst>
      <p:ext uri="{BB962C8B-B14F-4D97-AF65-F5344CB8AC3E}">
        <p14:creationId xmlns:p14="http://schemas.microsoft.com/office/powerpoint/2010/main" val="4041267797"/>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pl-PL" dirty="0"/>
              <a:t>Agenda</a:t>
            </a:r>
            <a:endParaRPr lang="en-GB" dirty="0"/>
          </a:p>
        </p:txBody>
      </p:sp>
      <p:sp>
        <p:nvSpPr>
          <p:cNvPr id="5" name="Text Placeholder 4"/>
          <p:cNvSpPr>
            <a:spLocks noGrp="1"/>
          </p:cNvSpPr>
          <p:nvPr>
            <p:ph type="body" sz="quarter" idx="10"/>
          </p:nvPr>
        </p:nvSpPr>
        <p:spPr/>
        <p:txBody>
          <a:bodyPr/>
          <a:lstStyle/>
          <a:p>
            <a:pPr lvl="1"/>
            <a:r>
              <a:rPr lang="en-US" dirty="0">
                <a:solidFill>
                  <a:schemeClr val="bg1">
                    <a:lumMod val="95000"/>
                  </a:schemeClr>
                </a:solidFill>
              </a:rPr>
              <a:t>What’s new in C# 8.0</a:t>
            </a:r>
          </a:p>
          <a:p>
            <a:pPr lvl="2"/>
            <a:r>
              <a:rPr lang="en-US" dirty="0">
                <a:solidFill>
                  <a:schemeClr val="bg1">
                    <a:lumMod val="95000"/>
                  </a:schemeClr>
                </a:solidFill>
              </a:rPr>
              <a:t>Nullable reference types,</a:t>
            </a:r>
          </a:p>
          <a:p>
            <a:pPr lvl="2"/>
            <a:r>
              <a:rPr lang="en-US" dirty="0">
                <a:solidFill>
                  <a:schemeClr val="bg1">
                    <a:lumMod val="95000"/>
                  </a:schemeClr>
                </a:solidFill>
              </a:rPr>
              <a:t>async streams,</a:t>
            </a:r>
          </a:p>
          <a:p>
            <a:pPr lvl="2"/>
            <a:r>
              <a:rPr lang="en-US" dirty="0">
                <a:solidFill>
                  <a:schemeClr val="bg1">
                    <a:lumMod val="95000"/>
                  </a:schemeClr>
                </a:solidFill>
              </a:rPr>
              <a:t>ranges and indices,</a:t>
            </a:r>
          </a:p>
          <a:p>
            <a:pPr lvl="2"/>
            <a:r>
              <a:rPr lang="en-US" dirty="0">
                <a:solidFill>
                  <a:schemeClr val="bg1">
                    <a:lumMod val="95000"/>
                  </a:schemeClr>
                </a:solidFill>
              </a:rPr>
              <a:t>default interface members,</a:t>
            </a:r>
          </a:p>
          <a:p>
            <a:pPr lvl="2"/>
            <a:r>
              <a:rPr lang="en-US" dirty="0">
                <a:solidFill>
                  <a:schemeClr val="bg1">
                    <a:lumMod val="95000"/>
                  </a:schemeClr>
                </a:solidFill>
              </a:rPr>
              <a:t>recursive patterns,</a:t>
            </a:r>
          </a:p>
          <a:p>
            <a:pPr lvl="2"/>
            <a:r>
              <a:rPr lang="en-US" dirty="0">
                <a:solidFill>
                  <a:schemeClr val="bg1">
                    <a:lumMod val="95000"/>
                  </a:schemeClr>
                </a:solidFill>
              </a:rPr>
              <a:t>switch expressions,</a:t>
            </a:r>
          </a:p>
          <a:p>
            <a:pPr lvl="2"/>
            <a:r>
              <a:rPr lang="en-US" dirty="0">
                <a:solidFill>
                  <a:schemeClr val="bg1">
                    <a:lumMod val="95000"/>
                  </a:schemeClr>
                </a:solidFill>
              </a:rPr>
              <a:t>target-typed new-expressions,</a:t>
            </a:r>
          </a:p>
          <a:p>
            <a:pPr lvl="2"/>
            <a:r>
              <a:rPr lang="en-US" dirty="0">
                <a:solidFill>
                  <a:schemeClr val="bg1">
                    <a:lumMod val="95000"/>
                  </a:schemeClr>
                </a:solidFill>
              </a:rPr>
              <a:t>extension everything,</a:t>
            </a:r>
          </a:p>
          <a:p>
            <a:pPr lvl="2"/>
            <a:r>
              <a:rPr lang="en-US" dirty="0">
                <a:solidFill>
                  <a:schemeClr val="bg1">
                    <a:lumMod val="95000"/>
                  </a:schemeClr>
                </a:solidFill>
              </a:rPr>
              <a:t>using declarations.</a:t>
            </a:r>
            <a:endParaRPr lang="en-GB" dirty="0">
              <a:solidFill>
                <a:schemeClr val="bg1">
                  <a:lumMod val="95000"/>
                </a:schemeClr>
              </a:solidFill>
            </a:endParaRPr>
          </a:p>
          <a:p>
            <a:pPr lvl="2"/>
            <a:endParaRPr lang="en-GB" dirty="0">
              <a:solidFill>
                <a:schemeClr val="bg1">
                  <a:lumMod val="95000"/>
                </a:schemeClr>
              </a:solidFill>
            </a:endParaRPr>
          </a:p>
        </p:txBody>
      </p:sp>
      <p:sp>
        <p:nvSpPr>
          <p:cNvPr id="6" name="Text Placeholder 5"/>
          <p:cNvSpPr>
            <a:spLocks noGrp="1"/>
          </p:cNvSpPr>
          <p:nvPr>
            <p:ph type="body" sz="quarter" idx="11"/>
          </p:nvPr>
        </p:nvSpPr>
        <p:spPr/>
        <p:txBody>
          <a:bodyPr/>
          <a:lstStyle/>
          <a:p>
            <a:r>
              <a:rPr lang="en-US" dirty="0"/>
              <a:t>We are going to talk about…</a:t>
            </a:r>
          </a:p>
        </p:txBody>
      </p:sp>
      <p:sp>
        <p:nvSpPr>
          <p:cNvPr id="7" name="Text Placeholder 4">
            <a:extLst>
              <a:ext uri="{FF2B5EF4-FFF2-40B4-BE49-F238E27FC236}">
                <a16:creationId xmlns:a16="http://schemas.microsoft.com/office/drawing/2014/main" id="{63765791-BF79-472B-ACEA-FA2DB95D860D}"/>
              </a:ext>
            </a:extLst>
          </p:cNvPr>
          <p:cNvSpPr txBox="1">
            <a:spLocks/>
          </p:cNvSpPr>
          <p:nvPr/>
        </p:nvSpPr>
        <p:spPr>
          <a:xfrm>
            <a:off x="227348" y="1815351"/>
            <a:ext cx="11700000" cy="4466201"/>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r>
              <a:rPr lang="en-US" dirty="0"/>
              <a:t>What’s new in C# 8.0</a:t>
            </a:r>
          </a:p>
          <a:p>
            <a:pPr lvl="2"/>
            <a:r>
              <a:rPr lang="en-US" dirty="0"/>
              <a:t>Nullable reference types,</a:t>
            </a:r>
          </a:p>
          <a:p>
            <a:pPr lvl="2"/>
            <a:r>
              <a:rPr lang="en-US" dirty="0"/>
              <a:t>async streams,</a:t>
            </a:r>
          </a:p>
          <a:p>
            <a:pPr lvl="2"/>
            <a:r>
              <a:rPr lang="en-US" dirty="0"/>
              <a:t>ranges and indices,</a:t>
            </a:r>
          </a:p>
          <a:p>
            <a:pPr lvl="2"/>
            <a:r>
              <a:rPr lang="en-US" dirty="0"/>
              <a:t>default interface members,</a:t>
            </a:r>
          </a:p>
        </p:txBody>
      </p:sp>
    </p:spTree>
    <p:extLst>
      <p:ext uri="{BB962C8B-B14F-4D97-AF65-F5344CB8AC3E}">
        <p14:creationId xmlns:p14="http://schemas.microsoft.com/office/powerpoint/2010/main" val="46585891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
                                            <p:txEl>
                                              <p:pRg st="4" end="4"/>
                                            </p:txEl>
                                          </p:spTgt>
                                        </p:tgtEl>
                                        <p:attrNameLst>
                                          <p:attrName>style.visibility</p:attrName>
                                        </p:attrNameLst>
                                      </p:cBhvr>
                                      <p:to>
                                        <p:strVal val="visible"/>
                                      </p:to>
                                    </p:set>
                                    <p:animEffect transition="in" filter="fade">
                                      <p:cBhvr>
                                        <p:cTn id="7" dur="500"/>
                                        <p:tgtEl>
                                          <p:spTgt spid="7">
                                            <p:txEl>
                                              <p:pRg st="4" end="4"/>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1">
            <a:extLst>
              <a:ext uri="{FF2B5EF4-FFF2-40B4-BE49-F238E27FC236}">
                <a16:creationId xmlns:a16="http://schemas.microsoft.com/office/drawing/2014/main" id="{F9B35FB1-1FB8-445A-996D-13D81F74AFCD}"/>
              </a:ext>
            </a:extLst>
          </p:cNvPr>
          <p:cNvSpPr>
            <a:spLocks noGrp="1"/>
          </p:cNvSpPr>
          <p:nvPr>
            <p:ph type="pic" sz="quarter" idx="10"/>
          </p:nvPr>
        </p:nvSpPr>
        <p:spPr/>
      </p:sp>
      <p:sp>
        <p:nvSpPr>
          <p:cNvPr id="6" name="Symbol zastępczy tekstu 5">
            <a:extLst>
              <a:ext uri="{FF2B5EF4-FFF2-40B4-BE49-F238E27FC236}">
                <a16:creationId xmlns:a16="http://schemas.microsoft.com/office/drawing/2014/main" id="{EC19D1F0-CA19-48E4-B6B7-FE7D3388EB92}"/>
              </a:ext>
            </a:extLst>
          </p:cNvPr>
          <p:cNvSpPr>
            <a:spLocks noGrp="1"/>
          </p:cNvSpPr>
          <p:nvPr>
            <p:ph type="body" sz="quarter" idx="11"/>
          </p:nvPr>
        </p:nvSpPr>
        <p:spPr/>
        <p:txBody>
          <a:bodyPr/>
          <a:lstStyle/>
          <a:p>
            <a:r>
              <a:rPr lang="en-US" dirty="0"/>
              <a:t>What’s new in C# 8.0</a:t>
            </a:r>
          </a:p>
          <a:p>
            <a:r>
              <a:rPr lang="en-US" sz="2400" dirty="0"/>
              <a:t>Default interface members</a:t>
            </a:r>
          </a:p>
        </p:txBody>
      </p:sp>
      <p:sp>
        <p:nvSpPr>
          <p:cNvPr id="7" name="Freeform 37">
            <a:extLst>
              <a:ext uri="{FF2B5EF4-FFF2-40B4-BE49-F238E27FC236}">
                <a16:creationId xmlns:a16="http://schemas.microsoft.com/office/drawing/2014/main" id="{FA32CDF6-9229-498F-9C95-7CD7D9713843}"/>
              </a:ext>
            </a:extLst>
          </p:cNvPr>
          <p:cNvSpPr>
            <a:spLocks/>
          </p:cNvSpPr>
          <p:nvPr/>
        </p:nvSpPr>
        <p:spPr bwMode="auto">
          <a:xfrm>
            <a:off x="8830800" y="3578400"/>
            <a:ext cx="844550" cy="793750"/>
          </a:xfrm>
          <a:custGeom>
            <a:avLst/>
            <a:gdLst>
              <a:gd name="T0" fmla="*/ 51 w 440"/>
              <a:gd name="T1" fmla="*/ 298 h 410"/>
              <a:gd name="T2" fmla="*/ 128 w 440"/>
              <a:gd name="T3" fmla="*/ 48 h 410"/>
              <a:gd name="T4" fmla="*/ 389 w 440"/>
              <a:gd name="T5" fmla="*/ 122 h 410"/>
              <a:gd name="T6" fmla="*/ 307 w 440"/>
              <a:gd name="T7" fmla="*/ 362 h 410"/>
              <a:gd name="T8" fmla="*/ 51 w 440"/>
              <a:gd name="T9" fmla="*/ 298 h 410"/>
            </a:gdLst>
            <a:ahLst/>
            <a:cxnLst>
              <a:cxn ang="0">
                <a:pos x="T0" y="T1"/>
              </a:cxn>
              <a:cxn ang="0">
                <a:pos x="T2" y="T3"/>
              </a:cxn>
              <a:cxn ang="0">
                <a:pos x="T4" y="T5"/>
              </a:cxn>
              <a:cxn ang="0">
                <a:pos x="T6" y="T7"/>
              </a:cxn>
              <a:cxn ang="0">
                <a:pos x="T8" y="T9"/>
              </a:cxn>
            </a:cxnLst>
            <a:rect l="0" t="0" r="r" b="b"/>
            <a:pathLst>
              <a:path w="440" h="410">
                <a:moveTo>
                  <a:pt x="51" y="298"/>
                </a:moveTo>
                <a:cubicBezTo>
                  <a:pt x="0" y="209"/>
                  <a:pt x="34" y="97"/>
                  <a:pt x="128" y="48"/>
                </a:cubicBezTo>
                <a:cubicBezTo>
                  <a:pt x="221" y="0"/>
                  <a:pt x="338" y="33"/>
                  <a:pt x="389" y="122"/>
                </a:cubicBezTo>
                <a:cubicBezTo>
                  <a:pt x="440" y="212"/>
                  <a:pt x="400" y="313"/>
                  <a:pt x="307" y="362"/>
                </a:cubicBezTo>
                <a:cubicBezTo>
                  <a:pt x="214" y="410"/>
                  <a:pt x="102" y="388"/>
                  <a:pt x="51" y="298"/>
                </a:cubicBezTo>
              </a:path>
            </a:pathLst>
          </a:custGeom>
          <a:solidFill>
            <a:srgbClr val="860864"/>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8" name="Oval 20">
            <a:extLst>
              <a:ext uri="{FF2B5EF4-FFF2-40B4-BE49-F238E27FC236}">
                <a16:creationId xmlns:a16="http://schemas.microsoft.com/office/drawing/2014/main" id="{F7D66442-688A-4D97-B022-A1F489CF26B7}"/>
              </a:ext>
            </a:extLst>
          </p:cNvPr>
          <p:cNvSpPr/>
          <p:nvPr/>
        </p:nvSpPr>
        <p:spPr>
          <a:xfrm>
            <a:off x="6899617" y="3501008"/>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9" name="Oval 20">
            <a:extLst>
              <a:ext uri="{FF2B5EF4-FFF2-40B4-BE49-F238E27FC236}">
                <a16:creationId xmlns:a16="http://schemas.microsoft.com/office/drawing/2014/main" id="{5F8309E8-2A88-4D6D-A7D2-C6894E003F56}"/>
              </a:ext>
            </a:extLst>
          </p:cNvPr>
          <p:cNvSpPr/>
          <p:nvPr/>
        </p:nvSpPr>
        <p:spPr>
          <a:xfrm>
            <a:off x="8904312" y="4263464"/>
            <a:ext cx="1356623" cy="128178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2" name="Freeform 5">
            <a:extLst>
              <a:ext uri="{FF2B5EF4-FFF2-40B4-BE49-F238E27FC236}">
                <a16:creationId xmlns:a16="http://schemas.microsoft.com/office/drawing/2014/main" id="{E7E38C3E-435B-4B56-8484-AA921D43D05A}"/>
              </a:ext>
            </a:extLst>
          </p:cNvPr>
          <p:cNvSpPr>
            <a:spLocks/>
          </p:cNvSpPr>
          <p:nvPr/>
        </p:nvSpPr>
        <p:spPr bwMode="auto">
          <a:xfrm>
            <a:off x="7505514" y="4010318"/>
            <a:ext cx="909408" cy="881607"/>
          </a:xfrm>
          <a:custGeom>
            <a:avLst/>
            <a:gdLst>
              <a:gd name="T0" fmla="*/ 93 w 94"/>
              <a:gd name="T1" fmla="*/ 21 h 91"/>
              <a:gd name="T2" fmla="*/ 91 w 94"/>
              <a:gd name="T3" fmla="*/ 23 h 91"/>
              <a:gd name="T4" fmla="*/ 71 w 94"/>
              <a:gd name="T5" fmla="*/ 32 h 91"/>
              <a:gd name="T6" fmla="*/ 64 w 94"/>
              <a:gd name="T7" fmla="*/ 22 h 91"/>
              <a:gd name="T8" fmla="*/ 64 w 94"/>
              <a:gd name="T9" fmla="*/ 21 h 91"/>
              <a:gd name="T10" fmla="*/ 65 w 94"/>
              <a:gd name="T11" fmla="*/ 20 h 91"/>
              <a:gd name="T12" fmla="*/ 69 w 94"/>
              <a:gd name="T13" fmla="*/ 17 h 91"/>
              <a:gd name="T14" fmla="*/ 76 w 94"/>
              <a:gd name="T15" fmla="*/ 13 h 91"/>
              <a:gd name="T16" fmla="*/ 90 w 94"/>
              <a:gd name="T17" fmla="*/ 9 h 91"/>
              <a:gd name="T18" fmla="*/ 89 w 94"/>
              <a:gd name="T19" fmla="*/ 8 h 91"/>
              <a:gd name="T20" fmla="*/ 87 w 94"/>
              <a:gd name="T21" fmla="*/ 6 h 91"/>
              <a:gd name="T22" fmla="*/ 82 w 94"/>
              <a:gd name="T23" fmla="*/ 3 h 91"/>
              <a:gd name="T24" fmla="*/ 72 w 94"/>
              <a:gd name="T25" fmla="*/ 0 h 91"/>
              <a:gd name="T26" fmla="*/ 49 w 94"/>
              <a:gd name="T27" fmla="*/ 21 h 91"/>
              <a:gd name="T28" fmla="*/ 49 w 94"/>
              <a:gd name="T29" fmla="*/ 23 h 91"/>
              <a:gd name="T30" fmla="*/ 50 w 94"/>
              <a:gd name="T31" fmla="*/ 30 h 91"/>
              <a:gd name="T32" fmla="*/ 29 w 94"/>
              <a:gd name="T33" fmla="*/ 47 h 91"/>
              <a:gd name="T34" fmla="*/ 26 w 94"/>
              <a:gd name="T35" fmla="*/ 46 h 91"/>
              <a:gd name="T36" fmla="*/ 23 w 94"/>
              <a:gd name="T37" fmla="*/ 46 h 91"/>
              <a:gd name="T38" fmla="*/ 0 w 94"/>
              <a:gd name="T39" fmla="*/ 69 h 91"/>
              <a:gd name="T40" fmla="*/ 0 w 94"/>
              <a:gd name="T41" fmla="*/ 70 h 91"/>
              <a:gd name="T42" fmla="*/ 9 w 94"/>
              <a:gd name="T43" fmla="*/ 65 h 91"/>
              <a:gd name="T44" fmla="*/ 17 w 94"/>
              <a:gd name="T45" fmla="*/ 61 h 91"/>
              <a:gd name="T46" fmla="*/ 24 w 94"/>
              <a:gd name="T47" fmla="*/ 60 h 91"/>
              <a:gd name="T48" fmla="*/ 29 w 94"/>
              <a:gd name="T49" fmla="*/ 70 h 91"/>
              <a:gd name="T50" fmla="*/ 28 w 94"/>
              <a:gd name="T51" fmla="*/ 71 h 91"/>
              <a:gd name="T52" fmla="*/ 17 w 94"/>
              <a:gd name="T53" fmla="*/ 78 h 91"/>
              <a:gd name="T54" fmla="*/ 3 w 94"/>
              <a:gd name="T55" fmla="*/ 83 h 91"/>
              <a:gd name="T56" fmla="*/ 19 w 94"/>
              <a:gd name="T57" fmla="*/ 91 h 91"/>
              <a:gd name="T58" fmla="*/ 33 w 94"/>
              <a:gd name="T59" fmla="*/ 88 h 91"/>
              <a:gd name="T60" fmla="*/ 43 w 94"/>
              <a:gd name="T61" fmla="*/ 76 h 91"/>
              <a:gd name="T62" fmla="*/ 44 w 94"/>
              <a:gd name="T63" fmla="*/ 68 h 91"/>
              <a:gd name="T64" fmla="*/ 44 w 94"/>
              <a:gd name="T65" fmla="*/ 64 h 91"/>
              <a:gd name="T66" fmla="*/ 43 w 94"/>
              <a:gd name="T67" fmla="*/ 60 h 91"/>
              <a:gd name="T68" fmla="*/ 49 w 94"/>
              <a:gd name="T69" fmla="*/ 56 h 91"/>
              <a:gd name="T70" fmla="*/ 60 w 94"/>
              <a:gd name="T71" fmla="*/ 46 h 91"/>
              <a:gd name="T72" fmla="*/ 63 w 94"/>
              <a:gd name="T73" fmla="*/ 44 h 91"/>
              <a:gd name="T74" fmla="*/ 67 w 94"/>
              <a:gd name="T75" fmla="*/ 45 h 91"/>
              <a:gd name="T76" fmla="*/ 70 w 94"/>
              <a:gd name="T77" fmla="*/ 46 h 91"/>
              <a:gd name="T78" fmla="*/ 93 w 94"/>
              <a:gd name="T79" fmla="*/ 21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94" h="91">
                <a:moveTo>
                  <a:pt x="93" y="21"/>
                </a:moveTo>
                <a:cubicBezTo>
                  <a:pt x="92" y="22"/>
                  <a:pt x="91" y="23"/>
                  <a:pt x="91" y="23"/>
                </a:cubicBezTo>
                <a:cubicBezTo>
                  <a:pt x="84" y="26"/>
                  <a:pt x="78" y="30"/>
                  <a:pt x="71" y="32"/>
                </a:cubicBezTo>
                <a:cubicBezTo>
                  <a:pt x="67" y="34"/>
                  <a:pt x="65" y="25"/>
                  <a:pt x="64" y="22"/>
                </a:cubicBezTo>
                <a:cubicBezTo>
                  <a:pt x="64" y="22"/>
                  <a:pt x="64" y="22"/>
                  <a:pt x="64" y="21"/>
                </a:cubicBezTo>
                <a:cubicBezTo>
                  <a:pt x="64" y="21"/>
                  <a:pt x="65" y="21"/>
                  <a:pt x="65" y="20"/>
                </a:cubicBezTo>
                <a:cubicBezTo>
                  <a:pt x="66" y="19"/>
                  <a:pt x="68" y="18"/>
                  <a:pt x="69" y="17"/>
                </a:cubicBezTo>
                <a:cubicBezTo>
                  <a:pt x="72" y="16"/>
                  <a:pt x="74" y="14"/>
                  <a:pt x="76" y="13"/>
                </a:cubicBezTo>
                <a:cubicBezTo>
                  <a:pt x="81" y="11"/>
                  <a:pt x="85" y="9"/>
                  <a:pt x="90" y="9"/>
                </a:cubicBezTo>
                <a:cubicBezTo>
                  <a:pt x="90" y="8"/>
                  <a:pt x="89" y="8"/>
                  <a:pt x="89" y="8"/>
                </a:cubicBezTo>
                <a:cubicBezTo>
                  <a:pt x="88" y="7"/>
                  <a:pt x="87" y="7"/>
                  <a:pt x="87" y="6"/>
                </a:cubicBezTo>
                <a:cubicBezTo>
                  <a:pt x="86" y="5"/>
                  <a:pt x="84" y="4"/>
                  <a:pt x="82" y="3"/>
                </a:cubicBezTo>
                <a:cubicBezTo>
                  <a:pt x="79" y="1"/>
                  <a:pt x="75" y="0"/>
                  <a:pt x="72" y="0"/>
                </a:cubicBezTo>
                <a:cubicBezTo>
                  <a:pt x="60" y="0"/>
                  <a:pt x="50" y="9"/>
                  <a:pt x="49" y="21"/>
                </a:cubicBezTo>
                <a:cubicBezTo>
                  <a:pt x="49" y="22"/>
                  <a:pt x="49" y="23"/>
                  <a:pt x="49" y="23"/>
                </a:cubicBezTo>
                <a:cubicBezTo>
                  <a:pt x="49" y="26"/>
                  <a:pt x="49" y="28"/>
                  <a:pt x="50" y="30"/>
                </a:cubicBezTo>
                <a:cubicBezTo>
                  <a:pt x="29" y="47"/>
                  <a:pt x="29" y="47"/>
                  <a:pt x="29" y="47"/>
                </a:cubicBezTo>
                <a:cubicBezTo>
                  <a:pt x="28" y="46"/>
                  <a:pt x="27" y="46"/>
                  <a:pt x="26" y="46"/>
                </a:cubicBezTo>
                <a:cubicBezTo>
                  <a:pt x="25" y="46"/>
                  <a:pt x="24" y="46"/>
                  <a:pt x="23" y="46"/>
                </a:cubicBezTo>
                <a:cubicBezTo>
                  <a:pt x="11" y="46"/>
                  <a:pt x="0" y="56"/>
                  <a:pt x="0" y="69"/>
                </a:cubicBezTo>
                <a:cubicBezTo>
                  <a:pt x="0" y="69"/>
                  <a:pt x="0" y="70"/>
                  <a:pt x="0" y="70"/>
                </a:cubicBezTo>
                <a:cubicBezTo>
                  <a:pt x="0" y="69"/>
                  <a:pt x="8" y="66"/>
                  <a:pt x="9" y="65"/>
                </a:cubicBezTo>
                <a:cubicBezTo>
                  <a:pt x="12" y="64"/>
                  <a:pt x="14" y="63"/>
                  <a:pt x="17" y="61"/>
                </a:cubicBezTo>
                <a:cubicBezTo>
                  <a:pt x="18" y="61"/>
                  <a:pt x="23" y="57"/>
                  <a:pt x="24" y="60"/>
                </a:cubicBezTo>
                <a:cubicBezTo>
                  <a:pt x="25" y="61"/>
                  <a:pt x="30" y="68"/>
                  <a:pt x="29" y="70"/>
                </a:cubicBezTo>
                <a:cubicBezTo>
                  <a:pt x="29" y="70"/>
                  <a:pt x="28" y="70"/>
                  <a:pt x="28" y="71"/>
                </a:cubicBezTo>
                <a:cubicBezTo>
                  <a:pt x="24" y="74"/>
                  <a:pt x="21" y="76"/>
                  <a:pt x="17" y="78"/>
                </a:cubicBezTo>
                <a:cubicBezTo>
                  <a:pt x="15" y="79"/>
                  <a:pt x="4" y="84"/>
                  <a:pt x="3" y="83"/>
                </a:cubicBezTo>
                <a:cubicBezTo>
                  <a:pt x="8" y="87"/>
                  <a:pt x="13" y="90"/>
                  <a:pt x="19" y="91"/>
                </a:cubicBezTo>
                <a:cubicBezTo>
                  <a:pt x="24" y="91"/>
                  <a:pt x="29" y="90"/>
                  <a:pt x="33" y="88"/>
                </a:cubicBezTo>
                <a:cubicBezTo>
                  <a:pt x="37" y="85"/>
                  <a:pt x="41" y="81"/>
                  <a:pt x="43" y="76"/>
                </a:cubicBezTo>
                <a:cubicBezTo>
                  <a:pt x="44" y="73"/>
                  <a:pt x="44" y="71"/>
                  <a:pt x="44" y="68"/>
                </a:cubicBezTo>
                <a:cubicBezTo>
                  <a:pt x="44" y="67"/>
                  <a:pt x="44" y="66"/>
                  <a:pt x="44" y="64"/>
                </a:cubicBezTo>
                <a:cubicBezTo>
                  <a:pt x="44" y="63"/>
                  <a:pt x="43" y="61"/>
                  <a:pt x="43" y="60"/>
                </a:cubicBezTo>
                <a:cubicBezTo>
                  <a:pt x="44" y="59"/>
                  <a:pt x="47" y="57"/>
                  <a:pt x="49" y="56"/>
                </a:cubicBezTo>
                <a:cubicBezTo>
                  <a:pt x="52" y="53"/>
                  <a:pt x="56" y="50"/>
                  <a:pt x="60" y="46"/>
                </a:cubicBezTo>
                <a:cubicBezTo>
                  <a:pt x="63" y="44"/>
                  <a:pt x="63" y="44"/>
                  <a:pt x="63" y="44"/>
                </a:cubicBezTo>
                <a:cubicBezTo>
                  <a:pt x="64" y="45"/>
                  <a:pt x="65" y="45"/>
                  <a:pt x="67" y="45"/>
                </a:cubicBezTo>
                <a:cubicBezTo>
                  <a:pt x="68" y="46"/>
                  <a:pt x="69" y="46"/>
                  <a:pt x="70" y="46"/>
                </a:cubicBezTo>
                <a:cubicBezTo>
                  <a:pt x="83" y="46"/>
                  <a:pt x="94" y="34"/>
                  <a:pt x="93" y="21"/>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spTree>
    <p:extLst>
      <p:ext uri="{BB962C8B-B14F-4D97-AF65-F5344CB8AC3E}">
        <p14:creationId xmlns:p14="http://schemas.microsoft.com/office/powerpoint/2010/main" val="1511496946"/>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ytuł 3">
            <a:extLst>
              <a:ext uri="{FF2B5EF4-FFF2-40B4-BE49-F238E27FC236}">
                <a16:creationId xmlns:a16="http://schemas.microsoft.com/office/drawing/2014/main" id="{BE6E47FB-5E55-45DB-B712-E4993D47A776}"/>
              </a:ext>
            </a:extLst>
          </p:cNvPr>
          <p:cNvSpPr>
            <a:spLocks noGrp="1"/>
          </p:cNvSpPr>
          <p:nvPr>
            <p:ph type="title"/>
          </p:nvPr>
        </p:nvSpPr>
        <p:spPr/>
        <p:txBody>
          <a:bodyPr/>
          <a:lstStyle/>
          <a:p>
            <a:r>
              <a:rPr lang="en-US" sz="3200" dirty="0"/>
              <a:t>Default interface members</a:t>
            </a:r>
          </a:p>
        </p:txBody>
      </p:sp>
      <p:sp>
        <p:nvSpPr>
          <p:cNvPr id="5" name="Symbol zastępczy tekstu 4">
            <a:extLst>
              <a:ext uri="{FF2B5EF4-FFF2-40B4-BE49-F238E27FC236}">
                <a16:creationId xmlns:a16="http://schemas.microsoft.com/office/drawing/2014/main" id="{566C6C9B-DE4F-4D57-8491-6FC8D45FC924}"/>
              </a:ext>
            </a:extLst>
          </p:cNvPr>
          <p:cNvSpPr>
            <a:spLocks noGrp="1"/>
          </p:cNvSpPr>
          <p:nvPr>
            <p:ph type="body" sz="quarter" idx="10"/>
          </p:nvPr>
        </p:nvSpPr>
        <p:spPr/>
        <p:txBody>
          <a:bodyPr/>
          <a:lstStyle/>
          <a:p>
            <a:endParaRPr lang="en-US" dirty="0"/>
          </a:p>
        </p:txBody>
      </p:sp>
      <p:sp>
        <p:nvSpPr>
          <p:cNvPr id="6" name="Symbol zastępczy tekstu 5">
            <a:extLst>
              <a:ext uri="{FF2B5EF4-FFF2-40B4-BE49-F238E27FC236}">
                <a16:creationId xmlns:a16="http://schemas.microsoft.com/office/drawing/2014/main" id="{1302AB4B-7554-47F7-BBCD-39BD33559A94}"/>
              </a:ext>
            </a:extLst>
          </p:cNvPr>
          <p:cNvSpPr>
            <a:spLocks noGrp="1"/>
          </p:cNvSpPr>
          <p:nvPr>
            <p:ph type="body" sz="quarter" idx="11"/>
          </p:nvPr>
        </p:nvSpPr>
        <p:spPr/>
        <p:txBody>
          <a:bodyPr/>
          <a:lstStyle/>
          <a:p>
            <a:r>
              <a:rPr lang="en-US" dirty="0"/>
              <a:t>C# 7.3 - common interface (old version)</a:t>
            </a:r>
          </a:p>
        </p:txBody>
      </p:sp>
      <p:sp>
        <p:nvSpPr>
          <p:cNvPr id="7" name="Symbol zastępczy tekstu 6">
            <a:extLst>
              <a:ext uri="{FF2B5EF4-FFF2-40B4-BE49-F238E27FC236}">
                <a16:creationId xmlns:a16="http://schemas.microsoft.com/office/drawing/2014/main" id="{5D8A2B1E-A86F-4A25-94A4-5CF446FD2951}"/>
              </a:ext>
            </a:extLst>
          </p:cNvPr>
          <p:cNvSpPr>
            <a:spLocks noGrp="1"/>
          </p:cNvSpPr>
          <p:nvPr>
            <p:ph type="body" sz="quarter" idx="12"/>
          </p:nvPr>
        </p:nvSpPr>
        <p:spPr/>
        <p:txBody>
          <a:bodyPr/>
          <a:lstStyle/>
          <a:p>
            <a:r>
              <a:rPr lang="en-US" dirty="0"/>
              <a:t>1</a:t>
            </a:r>
          </a:p>
        </p:txBody>
      </p:sp>
      <p:pic>
        <p:nvPicPr>
          <p:cNvPr id="3" name="Obraz 2">
            <a:extLst>
              <a:ext uri="{FF2B5EF4-FFF2-40B4-BE49-F238E27FC236}">
                <a16:creationId xmlns:a16="http://schemas.microsoft.com/office/drawing/2014/main" id="{9DB7FE30-CC95-4707-9F8A-3B72E968265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732354" y="1815351"/>
            <a:ext cx="8727291" cy="4478754"/>
          </a:xfrm>
          <a:prstGeom prst="rect">
            <a:avLst/>
          </a:prstGeom>
        </p:spPr>
      </p:pic>
    </p:spTree>
    <p:extLst>
      <p:ext uri="{BB962C8B-B14F-4D97-AF65-F5344CB8AC3E}">
        <p14:creationId xmlns:p14="http://schemas.microsoft.com/office/powerpoint/2010/main" val="1015957484"/>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ytuł 3">
            <a:extLst>
              <a:ext uri="{FF2B5EF4-FFF2-40B4-BE49-F238E27FC236}">
                <a16:creationId xmlns:a16="http://schemas.microsoft.com/office/drawing/2014/main" id="{BE6E47FB-5E55-45DB-B712-E4993D47A776}"/>
              </a:ext>
            </a:extLst>
          </p:cNvPr>
          <p:cNvSpPr>
            <a:spLocks noGrp="1"/>
          </p:cNvSpPr>
          <p:nvPr>
            <p:ph type="title"/>
          </p:nvPr>
        </p:nvSpPr>
        <p:spPr/>
        <p:txBody>
          <a:bodyPr/>
          <a:lstStyle/>
          <a:p>
            <a:r>
              <a:rPr lang="en-US" sz="3200" dirty="0"/>
              <a:t>Default interface members</a:t>
            </a:r>
          </a:p>
        </p:txBody>
      </p:sp>
      <p:sp>
        <p:nvSpPr>
          <p:cNvPr id="5" name="Symbol zastępczy tekstu 4">
            <a:extLst>
              <a:ext uri="{FF2B5EF4-FFF2-40B4-BE49-F238E27FC236}">
                <a16:creationId xmlns:a16="http://schemas.microsoft.com/office/drawing/2014/main" id="{566C6C9B-DE4F-4D57-8491-6FC8D45FC924}"/>
              </a:ext>
            </a:extLst>
          </p:cNvPr>
          <p:cNvSpPr>
            <a:spLocks noGrp="1"/>
          </p:cNvSpPr>
          <p:nvPr>
            <p:ph type="body" sz="quarter" idx="10"/>
          </p:nvPr>
        </p:nvSpPr>
        <p:spPr/>
        <p:txBody>
          <a:bodyPr/>
          <a:lstStyle/>
          <a:p>
            <a:endParaRPr lang="en-US" dirty="0"/>
          </a:p>
        </p:txBody>
      </p:sp>
      <p:sp>
        <p:nvSpPr>
          <p:cNvPr id="6" name="Symbol zastępczy tekstu 5">
            <a:extLst>
              <a:ext uri="{FF2B5EF4-FFF2-40B4-BE49-F238E27FC236}">
                <a16:creationId xmlns:a16="http://schemas.microsoft.com/office/drawing/2014/main" id="{1302AB4B-7554-47F7-BBCD-39BD33559A94}"/>
              </a:ext>
            </a:extLst>
          </p:cNvPr>
          <p:cNvSpPr>
            <a:spLocks noGrp="1"/>
          </p:cNvSpPr>
          <p:nvPr>
            <p:ph type="body" sz="quarter" idx="11"/>
          </p:nvPr>
        </p:nvSpPr>
        <p:spPr/>
        <p:txBody>
          <a:bodyPr/>
          <a:lstStyle/>
          <a:p>
            <a:r>
              <a:rPr lang="en-US" dirty="0"/>
              <a:t>C# 7.3 Common interface (compilation error)</a:t>
            </a:r>
          </a:p>
        </p:txBody>
      </p:sp>
      <p:sp>
        <p:nvSpPr>
          <p:cNvPr id="7" name="Symbol zastępczy tekstu 6">
            <a:extLst>
              <a:ext uri="{FF2B5EF4-FFF2-40B4-BE49-F238E27FC236}">
                <a16:creationId xmlns:a16="http://schemas.microsoft.com/office/drawing/2014/main" id="{5D8A2B1E-A86F-4A25-94A4-5CF446FD2951}"/>
              </a:ext>
            </a:extLst>
          </p:cNvPr>
          <p:cNvSpPr>
            <a:spLocks noGrp="1"/>
          </p:cNvSpPr>
          <p:nvPr>
            <p:ph type="body" sz="quarter" idx="12"/>
          </p:nvPr>
        </p:nvSpPr>
        <p:spPr/>
        <p:txBody>
          <a:bodyPr/>
          <a:lstStyle/>
          <a:p>
            <a:r>
              <a:rPr lang="en-US" dirty="0"/>
              <a:t>2</a:t>
            </a:r>
          </a:p>
        </p:txBody>
      </p:sp>
      <p:pic>
        <p:nvPicPr>
          <p:cNvPr id="8" name="Obraz 7">
            <a:extLst>
              <a:ext uri="{FF2B5EF4-FFF2-40B4-BE49-F238E27FC236}">
                <a16:creationId xmlns:a16="http://schemas.microsoft.com/office/drawing/2014/main" id="{8F1B79AF-EB22-42B3-B2E8-DF45671BA8D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732354" y="1815351"/>
            <a:ext cx="8727291" cy="4478753"/>
          </a:xfrm>
          <a:prstGeom prst="rect">
            <a:avLst/>
          </a:prstGeom>
        </p:spPr>
      </p:pic>
    </p:spTree>
    <p:extLst>
      <p:ext uri="{BB962C8B-B14F-4D97-AF65-F5344CB8AC3E}">
        <p14:creationId xmlns:p14="http://schemas.microsoft.com/office/powerpoint/2010/main" val="1843365606"/>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ytuł 3">
            <a:extLst>
              <a:ext uri="{FF2B5EF4-FFF2-40B4-BE49-F238E27FC236}">
                <a16:creationId xmlns:a16="http://schemas.microsoft.com/office/drawing/2014/main" id="{BE6E47FB-5E55-45DB-B712-E4993D47A776}"/>
              </a:ext>
            </a:extLst>
          </p:cNvPr>
          <p:cNvSpPr>
            <a:spLocks noGrp="1"/>
          </p:cNvSpPr>
          <p:nvPr>
            <p:ph type="title"/>
          </p:nvPr>
        </p:nvSpPr>
        <p:spPr/>
        <p:txBody>
          <a:bodyPr/>
          <a:lstStyle/>
          <a:p>
            <a:r>
              <a:rPr lang="en-US" sz="3200" dirty="0"/>
              <a:t>Default interface members</a:t>
            </a:r>
          </a:p>
        </p:txBody>
      </p:sp>
      <p:sp>
        <p:nvSpPr>
          <p:cNvPr id="5" name="Symbol zastępczy tekstu 4">
            <a:extLst>
              <a:ext uri="{FF2B5EF4-FFF2-40B4-BE49-F238E27FC236}">
                <a16:creationId xmlns:a16="http://schemas.microsoft.com/office/drawing/2014/main" id="{566C6C9B-DE4F-4D57-8491-6FC8D45FC924}"/>
              </a:ext>
            </a:extLst>
          </p:cNvPr>
          <p:cNvSpPr>
            <a:spLocks noGrp="1"/>
          </p:cNvSpPr>
          <p:nvPr>
            <p:ph type="body" sz="quarter" idx="10"/>
          </p:nvPr>
        </p:nvSpPr>
        <p:spPr/>
        <p:txBody>
          <a:bodyPr/>
          <a:lstStyle/>
          <a:p>
            <a:endParaRPr lang="en-US" dirty="0"/>
          </a:p>
        </p:txBody>
      </p:sp>
      <p:sp>
        <p:nvSpPr>
          <p:cNvPr id="6" name="Symbol zastępczy tekstu 5">
            <a:extLst>
              <a:ext uri="{FF2B5EF4-FFF2-40B4-BE49-F238E27FC236}">
                <a16:creationId xmlns:a16="http://schemas.microsoft.com/office/drawing/2014/main" id="{1302AB4B-7554-47F7-BBCD-39BD33559A94}"/>
              </a:ext>
            </a:extLst>
          </p:cNvPr>
          <p:cNvSpPr>
            <a:spLocks noGrp="1"/>
          </p:cNvSpPr>
          <p:nvPr>
            <p:ph type="body" sz="quarter" idx="11"/>
          </p:nvPr>
        </p:nvSpPr>
        <p:spPr/>
        <p:txBody>
          <a:bodyPr/>
          <a:lstStyle/>
          <a:p>
            <a:r>
              <a:rPr lang="en-US" dirty="0"/>
              <a:t>C# 7.3 Common interface (new version)</a:t>
            </a:r>
          </a:p>
        </p:txBody>
      </p:sp>
      <p:sp>
        <p:nvSpPr>
          <p:cNvPr id="7" name="Symbol zastępczy tekstu 6">
            <a:extLst>
              <a:ext uri="{FF2B5EF4-FFF2-40B4-BE49-F238E27FC236}">
                <a16:creationId xmlns:a16="http://schemas.microsoft.com/office/drawing/2014/main" id="{5D8A2B1E-A86F-4A25-94A4-5CF446FD2951}"/>
              </a:ext>
            </a:extLst>
          </p:cNvPr>
          <p:cNvSpPr>
            <a:spLocks noGrp="1"/>
          </p:cNvSpPr>
          <p:nvPr>
            <p:ph type="body" sz="quarter" idx="12"/>
          </p:nvPr>
        </p:nvSpPr>
        <p:spPr/>
        <p:txBody>
          <a:bodyPr/>
          <a:lstStyle/>
          <a:p>
            <a:r>
              <a:rPr lang="en-US" dirty="0"/>
              <a:t>3</a:t>
            </a:r>
          </a:p>
        </p:txBody>
      </p:sp>
      <p:pic>
        <p:nvPicPr>
          <p:cNvPr id="8" name="Obraz 7">
            <a:extLst>
              <a:ext uri="{FF2B5EF4-FFF2-40B4-BE49-F238E27FC236}">
                <a16:creationId xmlns:a16="http://schemas.microsoft.com/office/drawing/2014/main" id="{09371CE1-7F01-4FB4-9012-6B6F69D2BBE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732354" y="1815351"/>
            <a:ext cx="8727291" cy="4478753"/>
          </a:xfrm>
          <a:prstGeom prst="rect">
            <a:avLst/>
          </a:prstGeom>
        </p:spPr>
      </p:pic>
    </p:spTree>
    <p:extLst>
      <p:ext uri="{BB962C8B-B14F-4D97-AF65-F5344CB8AC3E}">
        <p14:creationId xmlns:p14="http://schemas.microsoft.com/office/powerpoint/2010/main" val="82371008"/>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ytuł 3">
            <a:extLst>
              <a:ext uri="{FF2B5EF4-FFF2-40B4-BE49-F238E27FC236}">
                <a16:creationId xmlns:a16="http://schemas.microsoft.com/office/drawing/2014/main" id="{BE6E47FB-5E55-45DB-B712-E4993D47A776}"/>
              </a:ext>
            </a:extLst>
          </p:cNvPr>
          <p:cNvSpPr>
            <a:spLocks noGrp="1"/>
          </p:cNvSpPr>
          <p:nvPr>
            <p:ph type="title"/>
          </p:nvPr>
        </p:nvSpPr>
        <p:spPr/>
        <p:txBody>
          <a:bodyPr/>
          <a:lstStyle/>
          <a:p>
            <a:r>
              <a:rPr lang="en-US" sz="3200" dirty="0"/>
              <a:t>Default interface members</a:t>
            </a:r>
          </a:p>
        </p:txBody>
      </p:sp>
      <p:sp>
        <p:nvSpPr>
          <p:cNvPr id="5" name="Symbol zastępczy tekstu 4">
            <a:extLst>
              <a:ext uri="{FF2B5EF4-FFF2-40B4-BE49-F238E27FC236}">
                <a16:creationId xmlns:a16="http://schemas.microsoft.com/office/drawing/2014/main" id="{566C6C9B-DE4F-4D57-8491-6FC8D45FC924}"/>
              </a:ext>
            </a:extLst>
          </p:cNvPr>
          <p:cNvSpPr>
            <a:spLocks noGrp="1"/>
          </p:cNvSpPr>
          <p:nvPr>
            <p:ph type="body" sz="quarter" idx="10"/>
          </p:nvPr>
        </p:nvSpPr>
        <p:spPr/>
        <p:txBody>
          <a:bodyPr/>
          <a:lstStyle/>
          <a:p>
            <a:endParaRPr lang="en-US" dirty="0"/>
          </a:p>
        </p:txBody>
      </p:sp>
      <p:sp>
        <p:nvSpPr>
          <p:cNvPr id="6" name="Symbol zastępczy tekstu 5">
            <a:extLst>
              <a:ext uri="{FF2B5EF4-FFF2-40B4-BE49-F238E27FC236}">
                <a16:creationId xmlns:a16="http://schemas.microsoft.com/office/drawing/2014/main" id="{1302AB4B-7554-47F7-BBCD-39BD33559A94}"/>
              </a:ext>
            </a:extLst>
          </p:cNvPr>
          <p:cNvSpPr>
            <a:spLocks noGrp="1"/>
          </p:cNvSpPr>
          <p:nvPr>
            <p:ph type="body" sz="quarter" idx="11"/>
          </p:nvPr>
        </p:nvSpPr>
        <p:spPr/>
        <p:txBody>
          <a:bodyPr/>
          <a:lstStyle/>
          <a:p>
            <a:r>
              <a:rPr lang="en-US" dirty="0"/>
              <a:t>C# 7.3 - abstract classes (old version)</a:t>
            </a:r>
          </a:p>
        </p:txBody>
      </p:sp>
      <p:sp>
        <p:nvSpPr>
          <p:cNvPr id="7" name="Symbol zastępczy tekstu 6">
            <a:extLst>
              <a:ext uri="{FF2B5EF4-FFF2-40B4-BE49-F238E27FC236}">
                <a16:creationId xmlns:a16="http://schemas.microsoft.com/office/drawing/2014/main" id="{5D8A2B1E-A86F-4A25-94A4-5CF446FD2951}"/>
              </a:ext>
            </a:extLst>
          </p:cNvPr>
          <p:cNvSpPr>
            <a:spLocks noGrp="1"/>
          </p:cNvSpPr>
          <p:nvPr>
            <p:ph type="body" sz="quarter" idx="12"/>
          </p:nvPr>
        </p:nvSpPr>
        <p:spPr/>
        <p:txBody>
          <a:bodyPr/>
          <a:lstStyle/>
          <a:p>
            <a:r>
              <a:rPr lang="en-US" dirty="0"/>
              <a:t>4</a:t>
            </a:r>
          </a:p>
        </p:txBody>
      </p:sp>
      <p:pic>
        <p:nvPicPr>
          <p:cNvPr id="9" name="Obraz 8">
            <a:extLst>
              <a:ext uri="{FF2B5EF4-FFF2-40B4-BE49-F238E27FC236}">
                <a16:creationId xmlns:a16="http://schemas.microsoft.com/office/drawing/2014/main" id="{90188368-9F24-4608-A08F-E3A112C20A2B}"/>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375600" y="1815351"/>
            <a:ext cx="7440798" cy="4478754"/>
          </a:xfrm>
          <a:prstGeom prst="rect">
            <a:avLst/>
          </a:prstGeom>
        </p:spPr>
      </p:pic>
    </p:spTree>
    <p:extLst>
      <p:ext uri="{BB962C8B-B14F-4D97-AF65-F5344CB8AC3E}">
        <p14:creationId xmlns:p14="http://schemas.microsoft.com/office/powerpoint/2010/main" val="3926576725"/>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ytuł 3">
            <a:extLst>
              <a:ext uri="{FF2B5EF4-FFF2-40B4-BE49-F238E27FC236}">
                <a16:creationId xmlns:a16="http://schemas.microsoft.com/office/drawing/2014/main" id="{BE6E47FB-5E55-45DB-B712-E4993D47A776}"/>
              </a:ext>
            </a:extLst>
          </p:cNvPr>
          <p:cNvSpPr>
            <a:spLocks noGrp="1"/>
          </p:cNvSpPr>
          <p:nvPr>
            <p:ph type="title"/>
          </p:nvPr>
        </p:nvSpPr>
        <p:spPr/>
        <p:txBody>
          <a:bodyPr/>
          <a:lstStyle/>
          <a:p>
            <a:r>
              <a:rPr lang="en-US" sz="3200" dirty="0"/>
              <a:t>Default interface members</a:t>
            </a:r>
          </a:p>
        </p:txBody>
      </p:sp>
      <p:sp>
        <p:nvSpPr>
          <p:cNvPr id="5" name="Symbol zastępczy tekstu 4">
            <a:extLst>
              <a:ext uri="{FF2B5EF4-FFF2-40B4-BE49-F238E27FC236}">
                <a16:creationId xmlns:a16="http://schemas.microsoft.com/office/drawing/2014/main" id="{566C6C9B-DE4F-4D57-8491-6FC8D45FC924}"/>
              </a:ext>
            </a:extLst>
          </p:cNvPr>
          <p:cNvSpPr>
            <a:spLocks noGrp="1"/>
          </p:cNvSpPr>
          <p:nvPr>
            <p:ph type="body" sz="quarter" idx="10"/>
          </p:nvPr>
        </p:nvSpPr>
        <p:spPr/>
        <p:txBody>
          <a:bodyPr/>
          <a:lstStyle/>
          <a:p>
            <a:endParaRPr lang="en-US" dirty="0"/>
          </a:p>
        </p:txBody>
      </p:sp>
      <p:sp>
        <p:nvSpPr>
          <p:cNvPr id="6" name="Symbol zastępczy tekstu 5">
            <a:extLst>
              <a:ext uri="{FF2B5EF4-FFF2-40B4-BE49-F238E27FC236}">
                <a16:creationId xmlns:a16="http://schemas.microsoft.com/office/drawing/2014/main" id="{1302AB4B-7554-47F7-BBCD-39BD33559A94}"/>
              </a:ext>
            </a:extLst>
          </p:cNvPr>
          <p:cNvSpPr>
            <a:spLocks noGrp="1"/>
          </p:cNvSpPr>
          <p:nvPr>
            <p:ph type="body" sz="quarter" idx="11"/>
          </p:nvPr>
        </p:nvSpPr>
        <p:spPr/>
        <p:txBody>
          <a:bodyPr/>
          <a:lstStyle/>
          <a:p>
            <a:r>
              <a:rPr lang="en-US" dirty="0"/>
              <a:t>C# 7.3 Abstract classes (persists old version)</a:t>
            </a:r>
          </a:p>
        </p:txBody>
      </p:sp>
      <p:sp>
        <p:nvSpPr>
          <p:cNvPr id="7" name="Symbol zastępczy tekstu 6">
            <a:extLst>
              <a:ext uri="{FF2B5EF4-FFF2-40B4-BE49-F238E27FC236}">
                <a16:creationId xmlns:a16="http://schemas.microsoft.com/office/drawing/2014/main" id="{5D8A2B1E-A86F-4A25-94A4-5CF446FD2951}"/>
              </a:ext>
            </a:extLst>
          </p:cNvPr>
          <p:cNvSpPr>
            <a:spLocks noGrp="1"/>
          </p:cNvSpPr>
          <p:nvPr>
            <p:ph type="body" sz="quarter" idx="12"/>
          </p:nvPr>
        </p:nvSpPr>
        <p:spPr/>
        <p:txBody>
          <a:bodyPr/>
          <a:lstStyle/>
          <a:p>
            <a:r>
              <a:rPr lang="en-US" dirty="0"/>
              <a:t>5</a:t>
            </a:r>
          </a:p>
        </p:txBody>
      </p:sp>
      <p:pic>
        <p:nvPicPr>
          <p:cNvPr id="9" name="Obraz 8">
            <a:extLst>
              <a:ext uri="{FF2B5EF4-FFF2-40B4-BE49-F238E27FC236}">
                <a16:creationId xmlns:a16="http://schemas.microsoft.com/office/drawing/2014/main" id="{666B0149-2FF4-44CA-99E6-56C7FB75CDB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375600" y="1815351"/>
            <a:ext cx="7440798" cy="4478754"/>
          </a:xfrm>
          <a:prstGeom prst="rect">
            <a:avLst/>
          </a:prstGeom>
        </p:spPr>
      </p:pic>
    </p:spTree>
    <p:extLst>
      <p:ext uri="{BB962C8B-B14F-4D97-AF65-F5344CB8AC3E}">
        <p14:creationId xmlns:p14="http://schemas.microsoft.com/office/powerpoint/2010/main" val="425553664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 name="Rectangle 61">
            <a:extLst>
              <a:ext uri="{FF2B5EF4-FFF2-40B4-BE49-F238E27FC236}">
                <a16:creationId xmlns:a16="http://schemas.microsoft.com/office/drawing/2014/main" id="{7E1DB1B3-6FDA-4208-8CC6-7B1F957EA7A7}"/>
              </a:ext>
            </a:extLst>
          </p:cNvPr>
          <p:cNvSpPr/>
          <p:nvPr/>
        </p:nvSpPr>
        <p:spPr>
          <a:xfrm>
            <a:off x="6816080" y="3212976"/>
            <a:ext cx="4952937" cy="230425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4" name="Tytuł 3">
            <a:extLst>
              <a:ext uri="{FF2B5EF4-FFF2-40B4-BE49-F238E27FC236}">
                <a16:creationId xmlns:a16="http://schemas.microsoft.com/office/drawing/2014/main" id="{686B1A0C-9322-4D76-BB83-7A8A8ECFCCB1}"/>
              </a:ext>
            </a:extLst>
          </p:cNvPr>
          <p:cNvSpPr>
            <a:spLocks noGrp="1"/>
          </p:cNvSpPr>
          <p:nvPr>
            <p:ph type="title"/>
          </p:nvPr>
        </p:nvSpPr>
        <p:spPr/>
        <p:txBody>
          <a:bodyPr/>
          <a:lstStyle/>
          <a:p>
            <a:r>
              <a:rPr lang="en-US" dirty="0"/>
              <a:t>Example</a:t>
            </a:r>
          </a:p>
        </p:txBody>
      </p:sp>
      <p:sp>
        <p:nvSpPr>
          <p:cNvPr id="6" name="Symbol zastępczy tekstu 5">
            <a:extLst>
              <a:ext uri="{FF2B5EF4-FFF2-40B4-BE49-F238E27FC236}">
                <a16:creationId xmlns:a16="http://schemas.microsoft.com/office/drawing/2014/main" id="{D0017915-E3ED-44DF-BD6C-6E81E9AEF129}"/>
              </a:ext>
            </a:extLst>
          </p:cNvPr>
          <p:cNvSpPr>
            <a:spLocks noGrp="1"/>
          </p:cNvSpPr>
          <p:nvPr>
            <p:ph type="body" sz="quarter" idx="11"/>
          </p:nvPr>
        </p:nvSpPr>
        <p:spPr/>
        <p:txBody>
          <a:bodyPr/>
          <a:lstStyle/>
          <a:p>
            <a:r>
              <a:rPr lang="en-US" dirty="0"/>
              <a:t>C# 7.1 Hello Word</a:t>
            </a:r>
          </a:p>
        </p:txBody>
      </p:sp>
      <p:sp>
        <p:nvSpPr>
          <p:cNvPr id="7" name="Symbol zastępczy tekstu 6">
            <a:extLst>
              <a:ext uri="{FF2B5EF4-FFF2-40B4-BE49-F238E27FC236}">
                <a16:creationId xmlns:a16="http://schemas.microsoft.com/office/drawing/2014/main" id="{89BB6366-E520-4FED-B09F-14DE42F6FFBC}"/>
              </a:ext>
            </a:extLst>
          </p:cNvPr>
          <p:cNvSpPr>
            <a:spLocks noGrp="1"/>
          </p:cNvSpPr>
          <p:nvPr>
            <p:ph type="body" sz="quarter" idx="12"/>
          </p:nvPr>
        </p:nvSpPr>
        <p:spPr/>
        <p:txBody>
          <a:bodyPr/>
          <a:lstStyle/>
          <a:p>
            <a:r>
              <a:rPr lang="en-US" dirty="0"/>
              <a:t>4</a:t>
            </a:r>
          </a:p>
        </p:txBody>
      </p:sp>
      <p:sp>
        <p:nvSpPr>
          <p:cNvPr id="8" name="Rectangle 61">
            <a:extLst>
              <a:ext uri="{FF2B5EF4-FFF2-40B4-BE49-F238E27FC236}">
                <a16:creationId xmlns:a16="http://schemas.microsoft.com/office/drawing/2014/main" id="{1B2D0436-71E5-4FF4-9444-5B9605D3B802}"/>
              </a:ext>
            </a:extLst>
          </p:cNvPr>
          <p:cNvSpPr/>
          <p:nvPr/>
        </p:nvSpPr>
        <p:spPr>
          <a:xfrm>
            <a:off x="422983" y="1988840"/>
            <a:ext cx="11504363" cy="86409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0" name="Freeform 20">
            <a:extLst>
              <a:ext uri="{FF2B5EF4-FFF2-40B4-BE49-F238E27FC236}">
                <a16:creationId xmlns:a16="http://schemas.microsoft.com/office/drawing/2014/main" id="{AF0E1DA8-453E-4A22-A83E-C28DD7753D35}"/>
              </a:ext>
            </a:extLst>
          </p:cNvPr>
          <p:cNvSpPr>
            <a:spLocks/>
          </p:cNvSpPr>
          <p:nvPr/>
        </p:nvSpPr>
        <p:spPr bwMode="auto">
          <a:xfrm>
            <a:off x="47328" y="1774148"/>
            <a:ext cx="1330762" cy="1244311"/>
          </a:xfrm>
          <a:custGeom>
            <a:avLst/>
            <a:gdLst>
              <a:gd name="T0" fmla="*/ 101 w 701"/>
              <a:gd name="T1" fmla="*/ 513 h 655"/>
              <a:gd name="T2" fmla="*/ 168 w 701"/>
              <a:gd name="T3" fmla="*/ 98 h 655"/>
              <a:gd name="T4" fmla="*/ 600 w 701"/>
              <a:gd name="T5" fmla="*/ 159 h 655"/>
              <a:gd name="T6" fmla="*/ 522 w 701"/>
              <a:gd name="T7" fmla="*/ 558 h 655"/>
              <a:gd name="T8" fmla="*/ 101 w 701"/>
              <a:gd name="T9" fmla="*/ 513 h 655"/>
            </a:gdLst>
            <a:ahLst/>
            <a:cxnLst>
              <a:cxn ang="0">
                <a:pos x="T0" y="T1"/>
              </a:cxn>
              <a:cxn ang="0">
                <a:pos x="T2" y="T3"/>
              </a:cxn>
              <a:cxn ang="0">
                <a:pos x="T4" y="T5"/>
              </a:cxn>
              <a:cxn ang="0">
                <a:pos x="T6" y="T7"/>
              </a:cxn>
              <a:cxn ang="0">
                <a:pos x="T8" y="T9"/>
              </a:cxn>
            </a:cxnLst>
            <a:rect l="0" t="0" r="r" b="b"/>
            <a:pathLst>
              <a:path w="701" h="655">
                <a:moveTo>
                  <a:pt x="101" y="513"/>
                </a:moveTo>
                <a:cubicBezTo>
                  <a:pt x="0" y="381"/>
                  <a:pt x="30" y="196"/>
                  <a:pt x="168" y="98"/>
                </a:cubicBezTo>
                <a:cubicBezTo>
                  <a:pt x="306" y="0"/>
                  <a:pt x="500" y="28"/>
                  <a:pt x="600" y="159"/>
                </a:cubicBezTo>
                <a:cubicBezTo>
                  <a:pt x="701" y="290"/>
                  <a:pt x="660" y="460"/>
                  <a:pt x="522" y="558"/>
                </a:cubicBezTo>
                <a:cubicBezTo>
                  <a:pt x="384" y="655"/>
                  <a:pt x="202" y="644"/>
                  <a:pt x="101" y="513"/>
                </a:cubicBezTo>
              </a:path>
            </a:pathLst>
          </a:custGeom>
          <a:solidFill>
            <a:srgbClr val="2B0A3D"/>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dirty="0"/>
          </a:p>
        </p:txBody>
      </p:sp>
      <p:pic>
        <p:nvPicPr>
          <p:cNvPr id="14" name="Obraz 13">
            <a:extLst>
              <a:ext uri="{FF2B5EF4-FFF2-40B4-BE49-F238E27FC236}">
                <a16:creationId xmlns:a16="http://schemas.microsoft.com/office/drawing/2014/main" id="{1C787B6D-BFD0-4B69-9FCA-1B67C2373D3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872900" y="2107599"/>
            <a:ext cx="9896117" cy="641414"/>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p:spPr>
      </p:pic>
      <p:grpSp>
        <p:nvGrpSpPr>
          <p:cNvPr id="13" name="Group 592">
            <a:extLst>
              <a:ext uri="{FF2B5EF4-FFF2-40B4-BE49-F238E27FC236}">
                <a16:creationId xmlns:a16="http://schemas.microsoft.com/office/drawing/2014/main" id="{516645C2-AB3B-4410-BE42-B5FCEC2BECA2}"/>
              </a:ext>
            </a:extLst>
          </p:cNvPr>
          <p:cNvGrpSpPr>
            <a:grpSpLocks noChangeAspect="1"/>
          </p:cNvGrpSpPr>
          <p:nvPr/>
        </p:nvGrpSpPr>
        <p:grpSpPr>
          <a:xfrm>
            <a:off x="323949" y="2144858"/>
            <a:ext cx="777520" cy="604156"/>
            <a:chOff x="7737475" y="4821240"/>
            <a:chExt cx="469900" cy="365126"/>
          </a:xfrm>
        </p:grpSpPr>
        <p:sp>
          <p:nvSpPr>
            <p:cNvPr id="16" name="Freeform 165">
              <a:extLst>
                <a:ext uri="{FF2B5EF4-FFF2-40B4-BE49-F238E27FC236}">
                  <a16:creationId xmlns:a16="http://schemas.microsoft.com/office/drawing/2014/main" id="{01CD4B74-C0FA-42A0-A17C-A7ACF7B6013F}"/>
                </a:ext>
              </a:extLst>
            </p:cNvPr>
            <p:cNvSpPr>
              <a:spLocks noEditPoints="1"/>
            </p:cNvSpPr>
            <p:nvPr/>
          </p:nvSpPr>
          <p:spPr bwMode="auto">
            <a:xfrm>
              <a:off x="8016875" y="5030791"/>
              <a:ext cx="150812" cy="155575"/>
            </a:xfrm>
            <a:custGeom>
              <a:avLst/>
              <a:gdLst>
                <a:gd name="T0" fmla="*/ 74 w 79"/>
                <a:gd name="T1" fmla="*/ 45 h 80"/>
                <a:gd name="T2" fmla="*/ 72 w 79"/>
                <a:gd name="T3" fmla="*/ 37 h 80"/>
                <a:gd name="T4" fmla="*/ 77 w 79"/>
                <a:gd name="T5" fmla="*/ 33 h 80"/>
                <a:gd name="T6" fmla="*/ 75 w 79"/>
                <a:gd name="T7" fmla="*/ 20 h 80"/>
                <a:gd name="T8" fmla="*/ 68 w 79"/>
                <a:gd name="T9" fmla="*/ 19 h 80"/>
                <a:gd name="T10" fmla="*/ 60 w 79"/>
                <a:gd name="T11" fmla="*/ 15 h 80"/>
                <a:gd name="T12" fmla="*/ 61 w 79"/>
                <a:gd name="T13" fmla="*/ 9 h 80"/>
                <a:gd name="T14" fmla="*/ 50 w 79"/>
                <a:gd name="T15" fmla="*/ 1 h 80"/>
                <a:gd name="T16" fmla="*/ 45 w 79"/>
                <a:gd name="T17" fmla="*/ 5 h 80"/>
                <a:gd name="T18" fmla="*/ 37 w 79"/>
                <a:gd name="T19" fmla="*/ 8 h 80"/>
                <a:gd name="T20" fmla="*/ 32 w 79"/>
                <a:gd name="T21" fmla="*/ 3 h 80"/>
                <a:gd name="T22" fmla="*/ 19 w 79"/>
                <a:gd name="T23" fmla="*/ 5 h 80"/>
                <a:gd name="T24" fmla="*/ 19 w 79"/>
                <a:gd name="T25" fmla="*/ 12 h 80"/>
                <a:gd name="T26" fmla="*/ 14 w 79"/>
                <a:gd name="T27" fmla="*/ 19 h 80"/>
                <a:gd name="T28" fmla="*/ 8 w 79"/>
                <a:gd name="T29" fmla="*/ 19 h 80"/>
                <a:gd name="T30" fmla="*/ 0 w 79"/>
                <a:gd name="T31" fmla="*/ 30 h 80"/>
                <a:gd name="T32" fmla="*/ 5 w 79"/>
                <a:gd name="T33" fmla="*/ 35 h 80"/>
                <a:gd name="T34" fmla="*/ 7 w 79"/>
                <a:gd name="T35" fmla="*/ 43 h 80"/>
                <a:gd name="T36" fmla="*/ 2 w 79"/>
                <a:gd name="T37" fmla="*/ 48 h 80"/>
                <a:gd name="T38" fmla="*/ 4 w 79"/>
                <a:gd name="T39" fmla="*/ 61 h 80"/>
                <a:gd name="T40" fmla="*/ 12 w 79"/>
                <a:gd name="T41" fmla="*/ 61 h 80"/>
                <a:gd name="T42" fmla="*/ 19 w 79"/>
                <a:gd name="T43" fmla="*/ 65 h 80"/>
                <a:gd name="T44" fmla="*/ 18 w 79"/>
                <a:gd name="T45" fmla="*/ 72 h 80"/>
                <a:gd name="T46" fmla="*/ 29 w 79"/>
                <a:gd name="T47" fmla="*/ 79 h 80"/>
                <a:gd name="T48" fmla="*/ 35 w 79"/>
                <a:gd name="T49" fmla="*/ 75 h 80"/>
                <a:gd name="T50" fmla="*/ 42 w 79"/>
                <a:gd name="T51" fmla="*/ 73 h 80"/>
                <a:gd name="T52" fmla="*/ 47 w 79"/>
                <a:gd name="T53" fmla="*/ 77 h 80"/>
                <a:gd name="T54" fmla="*/ 60 w 79"/>
                <a:gd name="T55" fmla="*/ 75 h 80"/>
                <a:gd name="T56" fmla="*/ 60 w 79"/>
                <a:gd name="T57" fmla="*/ 68 h 80"/>
                <a:gd name="T58" fmla="*/ 65 w 79"/>
                <a:gd name="T59" fmla="*/ 61 h 80"/>
                <a:gd name="T60" fmla="*/ 71 w 79"/>
                <a:gd name="T61" fmla="*/ 61 h 80"/>
                <a:gd name="T62" fmla="*/ 79 w 79"/>
                <a:gd name="T63" fmla="*/ 51 h 80"/>
                <a:gd name="T64" fmla="*/ 61 w 79"/>
                <a:gd name="T65" fmla="*/ 49 h 80"/>
                <a:gd name="T66" fmla="*/ 18 w 79"/>
                <a:gd name="T67" fmla="*/ 32 h 80"/>
                <a:gd name="T68" fmla="*/ 61 w 79"/>
                <a:gd name="T69" fmla="*/ 49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9" h="80">
                  <a:moveTo>
                    <a:pt x="77" y="46"/>
                  </a:moveTo>
                  <a:cubicBezTo>
                    <a:pt x="74" y="45"/>
                    <a:pt x="74" y="45"/>
                    <a:pt x="74" y="45"/>
                  </a:cubicBezTo>
                  <a:cubicBezTo>
                    <a:pt x="73" y="45"/>
                    <a:pt x="72" y="43"/>
                    <a:pt x="72" y="42"/>
                  </a:cubicBezTo>
                  <a:cubicBezTo>
                    <a:pt x="72" y="40"/>
                    <a:pt x="72" y="39"/>
                    <a:pt x="72" y="37"/>
                  </a:cubicBezTo>
                  <a:cubicBezTo>
                    <a:pt x="72" y="36"/>
                    <a:pt x="73" y="34"/>
                    <a:pt x="74" y="34"/>
                  </a:cubicBezTo>
                  <a:cubicBezTo>
                    <a:pt x="77" y="33"/>
                    <a:pt x="77" y="33"/>
                    <a:pt x="77" y="33"/>
                  </a:cubicBezTo>
                  <a:cubicBezTo>
                    <a:pt x="78" y="32"/>
                    <a:pt x="79" y="30"/>
                    <a:pt x="78" y="29"/>
                  </a:cubicBezTo>
                  <a:cubicBezTo>
                    <a:pt x="75" y="20"/>
                    <a:pt x="75" y="20"/>
                    <a:pt x="75" y="20"/>
                  </a:cubicBezTo>
                  <a:cubicBezTo>
                    <a:pt x="74" y="18"/>
                    <a:pt x="72" y="17"/>
                    <a:pt x="70" y="18"/>
                  </a:cubicBezTo>
                  <a:cubicBezTo>
                    <a:pt x="68" y="19"/>
                    <a:pt x="68" y="19"/>
                    <a:pt x="68" y="19"/>
                  </a:cubicBezTo>
                  <a:cubicBezTo>
                    <a:pt x="66" y="20"/>
                    <a:pt x="65" y="19"/>
                    <a:pt x="64" y="18"/>
                  </a:cubicBezTo>
                  <a:cubicBezTo>
                    <a:pt x="63" y="17"/>
                    <a:pt x="62" y="16"/>
                    <a:pt x="60" y="15"/>
                  </a:cubicBezTo>
                  <a:cubicBezTo>
                    <a:pt x="59" y="14"/>
                    <a:pt x="59" y="13"/>
                    <a:pt x="60" y="11"/>
                  </a:cubicBezTo>
                  <a:cubicBezTo>
                    <a:pt x="61" y="9"/>
                    <a:pt x="61" y="9"/>
                    <a:pt x="61" y="9"/>
                  </a:cubicBezTo>
                  <a:cubicBezTo>
                    <a:pt x="61" y="7"/>
                    <a:pt x="60" y="5"/>
                    <a:pt x="59" y="4"/>
                  </a:cubicBezTo>
                  <a:cubicBezTo>
                    <a:pt x="50" y="1"/>
                    <a:pt x="50" y="1"/>
                    <a:pt x="50" y="1"/>
                  </a:cubicBezTo>
                  <a:cubicBezTo>
                    <a:pt x="48" y="0"/>
                    <a:pt x="46" y="1"/>
                    <a:pt x="46" y="3"/>
                  </a:cubicBezTo>
                  <a:cubicBezTo>
                    <a:pt x="45" y="5"/>
                    <a:pt x="45" y="5"/>
                    <a:pt x="45" y="5"/>
                  </a:cubicBezTo>
                  <a:cubicBezTo>
                    <a:pt x="44" y="7"/>
                    <a:pt x="43" y="8"/>
                    <a:pt x="41" y="8"/>
                  </a:cubicBezTo>
                  <a:cubicBezTo>
                    <a:pt x="40" y="7"/>
                    <a:pt x="38" y="7"/>
                    <a:pt x="37" y="8"/>
                  </a:cubicBezTo>
                  <a:cubicBezTo>
                    <a:pt x="35" y="8"/>
                    <a:pt x="34" y="7"/>
                    <a:pt x="33" y="6"/>
                  </a:cubicBezTo>
                  <a:cubicBezTo>
                    <a:pt x="32" y="3"/>
                    <a:pt x="32" y="3"/>
                    <a:pt x="32" y="3"/>
                  </a:cubicBezTo>
                  <a:cubicBezTo>
                    <a:pt x="31" y="1"/>
                    <a:pt x="30" y="1"/>
                    <a:pt x="28" y="1"/>
                  </a:cubicBezTo>
                  <a:cubicBezTo>
                    <a:pt x="19" y="5"/>
                    <a:pt x="19" y="5"/>
                    <a:pt x="19" y="5"/>
                  </a:cubicBezTo>
                  <a:cubicBezTo>
                    <a:pt x="17" y="6"/>
                    <a:pt x="17" y="8"/>
                    <a:pt x="17" y="9"/>
                  </a:cubicBezTo>
                  <a:cubicBezTo>
                    <a:pt x="19" y="12"/>
                    <a:pt x="19" y="12"/>
                    <a:pt x="19" y="12"/>
                  </a:cubicBezTo>
                  <a:cubicBezTo>
                    <a:pt x="19" y="13"/>
                    <a:pt x="19" y="15"/>
                    <a:pt x="18" y="16"/>
                  </a:cubicBezTo>
                  <a:cubicBezTo>
                    <a:pt x="17" y="17"/>
                    <a:pt x="16" y="18"/>
                    <a:pt x="14" y="19"/>
                  </a:cubicBezTo>
                  <a:cubicBezTo>
                    <a:pt x="14" y="20"/>
                    <a:pt x="12" y="21"/>
                    <a:pt x="11" y="20"/>
                  </a:cubicBezTo>
                  <a:cubicBezTo>
                    <a:pt x="8" y="19"/>
                    <a:pt x="8" y="19"/>
                    <a:pt x="8" y="19"/>
                  </a:cubicBezTo>
                  <a:cubicBezTo>
                    <a:pt x="6" y="18"/>
                    <a:pt x="4" y="19"/>
                    <a:pt x="4" y="21"/>
                  </a:cubicBezTo>
                  <a:cubicBezTo>
                    <a:pt x="0" y="30"/>
                    <a:pt x="0" y="30"/>
                    <a:pt x="0" y="30"/>
                  </a:cubicBezTo>
                  <a:cubicBezTo>
                    <a:pt x="0" y="31"/>
                    <a:pt x="0" y="33"/>
                    <a:pt x="2" y="34"/>
                  </a:cubicBezTo>
                  <a:cubicBezTo>
                    <a:pt x="5" y="35"/>
                    <a:pt x="5" y="35"/>
                    <a:pt x="5" y="35"/>
                  </a:cubicBezTo>
                  <a:cubicBezTo>
                    <a:pt x="6" y="36"/>
                    <a:pt x="7" y="37"/>
                    <a:pt x="7" y="38"/>
                  </a:cubicBezTo>
                  <a:cubicBezTo>
                    <a:pt x="7" y="40"/>
                    <a:pt x="7" y="42"/>
                    <a:pt x="7" y="43"/>
                  </a:cubicBezTo>
                  <a:cubicBezTo>
                    <a:pt x="7" y="44"/>
                    <a:pt x="6" y="46"/>
                    <a:pt x="5" y="46"/>
                  </a:cubicBezTo>
                  <a:cubicBezTo>
                    <a:pt x="2" y="48"/>
                    <a:pt x="2" y="48"/>
                    <a:pt x="2" y="48"/>
                  </a:cubicBezTo>
                  <a:cubicBezTo>
                    <a:pt x="1" y="48"/>
                    <a:pt x="0" y="50"/>
                    <a:pt x="1" y="52"/>
                  </a:cubicBezTo>
                  <a:cubicBezTo>
                    <a:pt x="4" y="61"/>
                    <a:pt x="4" y="61"/>
                    <a:pt x="4" y="61"/>
                  </a:cubicBezTo>
                  <a:cubicBezTo>
                    <a:pt x="5" y="62"/>
                    <a:pt x="7" y="63"/>
                    <a:pt x="9" y="62"/>
                  </a:cubicBezTo>
                  <a:cubicBezTo>
                    <a:pt x="12" y="61"/>
                    <a:pt x="12" y="61"/>
                    <a:pt x="12" y="61"/>
                  </a:cubicBezTo>
                  <a:cubicBezTo>
                    <a:pt x="13" y="60"/>
                    <a:pt x="14" y="61"/>
                    <a:pt x="15" y="62"/>
                  </a:cubicBezTo>
                  <a:cubicBezTo>
                    <a:pt x="16" y="63"/>
                    <a:pt x="17" y="64"/>
                    <a:pt x="19" y="65"/>
                  </a:cubicBezTo>
                  <a:cubicBezTo>
                    <a:pt x="20" y="66"/>
                    <a:pt x="20" y="68"/>
                    <a:pt x="20" y="69"/>
                  </a:cubicBezTo>
                  <a:cubicBezTo>
                    <a:pt x="18" y="72"/>
                    <a:pt x="18" y="72"/>
                    <a:pt x="18" y="72"/>
                  </a:cubicBezTo>
                  <a:cubicBezTo>
                    <a:pt x="18" y="73"/>
                    <a:pt x="19" y="75"/>
                    <a:pt x="20" y="76"/>
                  </a:cubicBezTo>
                  <a:cubicBezTo>
                    <a:pt x="29" y="79"/>
                    <a:pt x="29" y="79"/>
                    <a:pt x="29" y="79"/>
                  </a:cubicBezTo>
                  <a:cubicBezTo>
                    <a:pt x="31" y="80"/>
                    <a:pt x="33" y="79"/>
                    <a:pt x="33" y="78"/>
                  </a:cubicBezTo>
                  <a:cubicBezTo>
                    <a:pt x="35" y="75"/>
                    <a:pt x="35" y="75"/>
                    <a:pt x="35" y="75"/>
                  </a:cubicBezTo>
                  <a:cubicBezTo>
                    <a:pt x="35" y="73"/>
                    <a:pt x="36" y="73"/>
                    <a:pt x="38" y="73"/>
                  </a:cubicBezTo>
                  <a:cubicBezTo>
                    <a:pt x="39" y="73"/>
                    <a:pt x="41" y="73"/>
                    <a:pt x="42" y="73"/>
                  </a:cubicBezTo>
                  <a:cubicBezTo>
                    <a:pt x="44" y="73"/>
                    <a:pt x="45" y="73"/>
                    <a:pt x="46" y="75"/>
                  </a:cubicBezTo>
                  <a:cubicBezTo>
                    <a:pt x="47" y="77"/>
                    <a:pt x="47" y="77"/>
                    <a:pt x="47" y="77"/>
                  </a:cubicBezTo>
                  <a:cubicBezTo>
                    <a:pt x="48" y="79"/>
                    <a:pt x="50" y="80"/>
                    <a:pt x="51" y="79"/>
                  </a:cubicBezTo>
                  <a:cubicBezTo>
                    <a:pt x="60" y="75"/>
                    <a:pt x="60" y="75"/>
                    <a:pt x="60" y="75"/>
                  </a:cubicBezTo>
                  <a:cubicBezTo>
                    <a:pt x="62" y="74"/>
                    <a:pt x="62" y="73"/>
                    <a:pt x="62" y="71"/>
                  </a:cubicBezTo>
                  <a:cubicBezTo>
                    <a:pt x="60" y="68"/>
                    <a:pt x="60" y="68"/>
                    <a:pt x="60" y="68"/>
                  </a:cubicBezTo>
                  <a:cubicBezTo>
                    <a:pt x="60" y="67"/>
                    <a:pt x="60" y="65"/>
                    <a:pt x="61" y="64"/>
                  </a:cubicBezTo>
                  <a:cubicBezTo>
                    <a:pt x="62" y="63"/>
                    <a:pt x="64" y="62"/>
                    <a:pt x="65" y="61"/>
                  </a:cubicBezTo>
                  <a:cubicBezTo>
                    <a:pt x="65" y="60"/>
                    <a:pt x="67" y="60"/>
                    <a:pt x="68" y="60"/>
                  </a:cubicBezTo>
                  <a:cubicBezTo>
                    <a:pt x="71" y="61"/>
                    <a:pt x="71" y="61"/>
                    <a:pt x="71" y="61"/>
                  </a:cubicBezTo>
                  <a:cubicBezTo>
                    <a:pt x="73" y="62"/>
                    <a:pt x="75" y="61"/>
                    <a:pt x="75" y="59"/>
                  </a:cubicBezTo>
                  <a:cubicBezTo>
                    <a:pt x="79" y="51"/>
                    <a:pt x="79" y="51"/>
                    <a:pt x="79" y="51"/>
                  </a:cubicBezTo>
                  <a:cubicBezTo>
                    <a:pt x="79" y="49"/>
                    <a:pt x="79" y="47"/>
                    <a:pt x="77" y="46"/>
                  </a:cubicBezTo>
                  <a:close/>
                  <a:moveTo>
                    <a:pt x="61" y="49"/>
                  </a:moveTo>
                  <a:cubicBezTo>
                    <a:pt x="56" y="60"/>
                    <a:pt x="43" y="66"/>
                    <a:pt x="31" y="61"/>
                  </a:cubicBezTo>
                  <a:cubicBezTo>
                    <a:pt x="19" y="57"/>
                    <a:pt x="14" y="43"/>
                    <a:pt x="18" y="32"/>
                  </a:cubicBezTo>
                  <a:cubicBezTo>
                    <a:pt x="23" y="20"/>
                    <a:pt x="36" y="14"/>
                    <a:pt x="48" y="19"/>
                  </a:cubicBezTo>
                  <a:cubicBezTo>
                    <a:pt x="60" y="23"/>
                    <a:pt x="65" y="37"/>
                    <a:pt x="61" y="49"/>
                  </a:cubicBezTo>
                  <a:close/>
                </a:path>
              </a:pathLst>
            </a:custGeom>
            <a:solidFill>
              <a:srgbClr val="CC2980"/>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7" name="Freeform 166">
              <a:extLst>
                <a:ext uri="{FF2B5EF4-FFF2-40B4-BE49-F238E27FC236}">
                  <a16:creationId xmlns:a16="http://schemas.microsoft.com/office/drawing/2014/main" id="{88646C8B-CE66-447C-B009-86857790500A}"/>
                </a:ext>
              </a:extLst>
            </p:cNvPr>
            <p:cNvSpPr>
              <a:spLocks/>
            </p:cNvSpPr>
            <p:nvPr/>
          </p:nvSpPr>
          <p:spPr bwMode="auto">
            <a:xfrm>
              <a:off x="8070850" y="5086353"/>
              <a:ext cx="44450" cy="44450"/>
            </a:xfrm>
            <a:custGeom>
              <a:avLst/>
              <a:gdLst>
                <a:gd name="T0" fmla="*/ 21 w 23"/>
                <a:gd name="T1" fmla="*/ 15 h 23"/>
                <a:gd name="T2" fmla="*/ 8 w 23"/>
                <a:gd name="T3" fmla="*/ 21 h 23"/>
                <a:gd name="T4" fmla="*/ 2 w 23"/>
                <a:gd name="T5" fmla="*/ 7 h 23"/>
                <a:gd name="T6" fmla="*/ 15 w 23"/>
                <a:gd name="T7" fmla="*/ 2 h 23"/>
                <a:gd name="T8" fmla="*/ 21 w 23"/>
                <a:gd name="T9" fmla="*/ 15 h 23"/>
              </a:gdLst>
              <a:ahLst/>
              <a:cxnLst>
                <a:cxn ang="0">
                  <a:pos x="T0" y="T1"/>
                </a:cxn>
                <a:cxn ang="0">
                  <a:pos x="T2" y="T3"/>
                </a:cxn>
                <a:cxn ang="0">
                  <a:pos x="T4" y="T5"/>
                </a:cxn>
                <a:cxn ang="0">
                  <a:pos x="T6" y="T7"/>
                </a:cxn>
                <a:cxn ang="0">
                  <a:pos x="T8" y="T9"/>
                </a:cxn>
              </a:cxnLst>
              <a:rect l="0" t="0" r="r" b="b"/>
              <a:pathLst>
                <a:path w="23" h="23">
                  <a:moveTo>
                    <a:pt x="21" y="15"/>
                  </a:moveTo>
                  <a:cubicBezTo>
                    <a:pt x="19" y="20"/>
                    <a:pt x="13" y="23"/>
                    <a:pt x="8" y="21"/>
                  </a:cubicBezTo>
                  <a:cubicBezTo>
                    <a:pt x="3" y="18"/>
                    <a:pt x="0" y="13"/>
                    <a:pt x="2" y="7"/>
                  </a:cubicBezTo>
                  <a:cubicBezTo>
                    <a:pt x="4" y="2"/>
                    <a:pt x="10" y="0"/>
                    <a:pt x="15" y="2"/>
                  </a:cubicBezTo>
                  <a:cubicBezTo>
                    <a:pt x="20" y="4"/>
                    <a:pt x="23" y="10"/>
                    <a:pt x="21" y="15"/>
                  </a:cubicBezTo>
                  <a:close/>
                </a:path>
              </a:pathLst>
            </a:custGeom>
            <a:solidFill>
              <a:srgbClr val="CC2980"/>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8" name="Freeform 167">
              <a:extLst>
                <a:ext uri="{FF2B5EF4-FFF2-40B4-BE49-F238E27FC236}">
                  <a16:creationId xmlns:a16="http://schemas.microsoft.com/office/drawing/2014/main" id="{DA97F114-D01F-47B6-A978-E15625107EEA}"/>
                </a:ext>
              </a:extLst>
            </p:cNvPr>
            <p:cNvSpPr>
              <a:spLocks noEditPoints="1"/>
            </p:cNvSpPr>
            <p:nvPr/>
          </p:nvSpPr>
          <p:spPr bwMode="auto">
            <a:xfrm>
              <a:off x="8010525" y="4821240"/>
              <a:ext cx="196850" cy="198438"/>
            </a:xfrm>
            <a:custGeom>
              <a:avLst/>
              <a:gdLst>
                <a:gd name="T0" fmla="*/ 95 w 102"/>
                <a:gd name="T1" fmla="*/ 58 h 102"/>
                <a:gd name="T2" fmla="*/ 93 w 102"/>
                <a:gd name="T3" fmla="*/ 47 h 102"/>
                <a:gd name="T4" fmla="*/ 99 w 102"/>
                <a:gd name="T5" fmla="*/ 42 h 102"/>
                <a:gd name="T6" fmla="*/ 96 w 102"/>
                <a:gd name="T7" fmla="*/ 25 h 102"/>
                <a:gd name="T8" fmla="*/ 87 w 102"/>
                <a:gd name="T9" fmla="*/ 24 h 102"/>
                <a:gd name="T10" fmla="*/ 78 w 102"/>
                <a:gd name="T11" fmla="*/ 19 h 102"/>
                <a:gd name="T12" fmla="*/ 78 w 102"/>
                <a:gd name="T13" fmla="*/ 11 h 102"/>
                <a:gd name="T14" fmla="*/ 64 w 102"/>
                <a:gd name="T15" fmla="*/ 1 h 102"/>
                <a:gd name="T16" fmla="*/ 58 w 102"/>
                <a:gd name="T17" fmla="*/ 7 h 102"/>
                <a:gd name="T18" fmla="*/ 47 w 102"/>
                <a:gd name="T19" fmla="*/ 10 h 102"/>
                <a:gd name="T20" fmla="*/ 42 w 102"/>
                <a:gd name="T21" fmla="*/ 4 h 102"/>
                <a:gd name="T22" fmla="*/ 25 w 102"/>
                <a:gd name="T23" fmla="*/ 6 h 102"/>
                <a:gd name="T24" fmla="*/ 24 w 102"/>
                <a:gd name="T25" fmla="*/ 15 h 102"/>
                <a:gd name="T26" fmla="*/ 19 w 102"/>
                <a:gd name="T27" fmla="*/ 24 h 102"/>
                <a:gd name="T28" fmla="*/ 11 w 102"/>
                <a:gd name="T29" fmla="*/ 24 h 102"/>
                <a:gd name="T30" fmla="*/ 1 w 102"/>
                <a:gd name="T31" fmla="*/ 38 h 102"/>
                <a:gd name="T32" fmla="*/ 7 w 102"/>
                <a:gd name="T33" fmla="*/ 45 h 102"/>
                <a:gd name="T34" fmla="*/ 10 w 102"/>
                <a:gd name="T35" fmla="*/ 55 h 102"/>
                <a:gd name="T36" fmla="*/ 3 w 102"/>
                <a:gd name="T37" fmla="*/ 61 h 102"/>
                <a:gd name="T38" fmla="*/ 6 w 102"/>
                <a:gd name="T39" fmla="*/ 77 h 102"/>
                <a:gd name="T40" fmla="*/ 15 w 102"/>
                <a:gd name="T41" fmla="*/ 78 h 102"/>
                <a:gd name="T42" fmla="*/ 24 w 102"/>
                <a:gd name="T43" fmla="*/ 83 h 102"/>
                <a:gd name="T44" fmla="*/ 24 w 102"/>
                <a:gd name="T45" fmla="*/ 91 h 102"/>
                <a:gd name="T46" fmla="*/ 38 w 102"/>
                <a:gd name="T47" fmla="*/ 101 h 102"/>
                <a:gd name="T48" fmla="*/ 45 w 102"/>
                <a:gd name="T49" fmla="*/ 95 h 102"/>
                <a:gd name="T50" fmla="*/ 55 w 102"/>
                <a:gd name="T51" fmla="*/ 93 h 102"/>
                <a:gd name="T52" fmla="*/ 61 w 102"/>
                <a:gd name="T53" fmla="*/ 99 h 102"/>
                <a:gd name="T54" fmla="*/ 77 w 102"/>
                <a:gd name="T55" fmla="*/ 96 h 102"/>
                <a:gd name="T56" fmla="*/ 78 w 102"/>
                <a:gd name="T57" fmla="*/ 87 h 102"/>
                <a:gd name="T58" fmla="*/ 83 w 102"/>
                <a:gd name="T59" fmla="*/ 78 h 102"/>
                <a:gd name="T60" fmla="*/ 91 w 102"/>
                <a:gd name="T61" fmla="*/ 78 h 102"/>
                <a:gd name="T62" fmla="*/ 101 w 102"/>
                <a:gd name="T63" fmla="*/ 64 h 102"/>
                <a:gd name="T64" fmla="*/ 78 w 102"/>
                <a:gd name="T65" fmla="*/ 62 h 102"/>
                <a:gd name="T66" fmla="*/ 24 w 102"/>
                <a:gd name="T67" fmla="*/ 40 h 102"/>
                <a:gd name="T68" fmla="*/ 78 w 102"/>
                <a:gd name="T69" fmla="*/ 62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2" h="102">
                  <a:moveTo>
                    <a:pt x="99" y="59"/>
                  </a:moveTo>
                  <a:cubicBezTo>
                    <a:pt x="95" y="58"/>
                    <a:pt x="95" y="58"/>
                    <a:pt x="95" y="58"/>
                  </a:cubicBezTo>
                  <a:cubicBezTo>
                    <a:pt x="94" y="57"/>
                    <a:pt x="93" y="55"/>
                    <a:pt x="93" y="54"/>
                  </a:cubicBezTo>
                  <a:cubicBezTo>
                    <a:pt x="93" y="51"/>
                    <a:pt x="93" y="49"/>
                    <a:pt x="93" y="47"/>
                  </a:cubicBezTo>
                  <a:cubicBezTo>
                    <a:pt x="92" y="46"/>
                    <a:pt x="93" y="44"/>
                    <a:pt x="95" y="43"/>
                  </a:cubicBezTo>
                  <a:cubicBezTo>
                    <a:pt x="99" y="42"/>
                    <a:pt x="99" y="42"/>
                    <a:pt x="99" y="42"/>
                  </a:cubicBezTo>
                  <a:cubicBezTo>
                    <a:pt x="101" y="41"/>
                    <a:pt x="102" y="38"/>
                    <a:pt x="101" y="36"/>
                  </a:cubicBezTo>
                  <a:cubicBezTo>
                    <a:pt x="96" y="25"/>
                    <a:pt x="96" y="25"/>
                    <a:pt x="96" y="25"/>
                  </a:cubicBezTo>
                  <a:cubicBezTo>
                    <a:pt x="95" y="23"/>
                    <a:pt x="92" y="22"/>
                    <a:pt x="90" y="23"/>
                  </a:cubicBezTo>
                  <a:cubicBezTo>
                    <a:pt x="87" y="24"/>
                    <a:pt x="87" y="24"/>
                    <a:pt x="87" y="24"/>
                  </a:cubicBezTo>
                  <a:cubicBezTo>
                    <a:pt x="85" y="25"/>
                    <a:pt x="83" y="25"/>
                    <a:pt x="82" y="23"/>
                  </a:cubicBezTo>
                  <a:cubicBezTo>
                    <a:pt x="81" y="22"/>
                    <a:pt x="79" y="20"/>
                    <a:pt x="78" y="19"/>
                  </a:cubicBezTo>
                  <a:cubicBezTo>
                    <a:pt x="76" y="18"/>
                    <a:pt x="76" y="16"/>
                    <a:pt x="77" y="14"/>
                  </a:cubicBezTo>
                  <a:cubicBezTo>
                    <a:pt x="78" y="11"/>
                    <a:pt x="78" y="11"/>
                    <a:pt x="78" y="11"/>
                  </a:cubicBezTo>
                  <a:cubicBezTo>
                    <a:pt x="79" y="9"/>
                    <a:pt x="78" y="6"/>
                    <a:pt x="76" y="5"/>
                  </a:cubicBezTo>
                  <a:cubicBezTo>
                    <a:pt x="64" y="1"/>
                    <a:pt x="64" y="1"/>
                    <a:pt x="64" y="1"/>
                  </a:cubicBezTo>
                  <a:cubicBezTo>
                    <a:pt x="62" y="0"/>
                    <a:pt x="60" y="1"/>
                    <a:pt x="59" y="3"/>
                  </a:cubicBezTo>
                  <a:cubicBezTo>
                    <a:pt x="58" y="7"/>
                    <a:pt x="58" y="7"/>
                    <a:pt x="58" y="7"/>
                  </a:cubicBezTo>
                  <a:cubicBezTo>
                    <a:pt x="57" y="9"/>
                    <a:pt x="55" y="10"/>
                    <a:pt x="53" y="9"/>
                  </a:cubicBezTo>
                  <a:cubicBezTo>
                    <a:pt x="51" y="9"/>
                    <a:pt x="49" y="9"/>
                    <a:pt x="47" y="10"/>
                  </a:cubicBezTo>
                  <a:cubicBezTo>
                    <a:pt x="46" y="10"/>
                    <a:pt x="44" y="9"/>
                    <a:pt x="43" y="7"/>
                  </a:cubicBezTo>
                  <a:cubicBezTo>
                    <a:pt x="42" y="4"/>
                    <a:pt x="42" y="4"/>
                    <a:pt x="42" y="4"/>
                  </a:cubicBezTo>
                  <a:cubicBezTo>
                    <a:pt x="41" y="1"/>
                    <a:pt x="38" y="1"/>
                    <a:pt x="36" y="1"/>
                  </a:cubicBezTo>
                  <a:cubicBezTo>
                    <a:pt x="25" y="6"/>
                    <a:pt x="25" y="6"/>
                    <a:pt x="25" y="6"/>
                  </a:cubicBezTo>
                  <a:cubicBezTo>
                    <a:pt x="23" y="7"/>
                    <a:pt x="22" y="10"/>
                    <a:pt x="23" y="12"/>
                  </a:cubicBezTo>
                  <a:cubicBezTo>
                    <a:pt x="24" y="15"/>
                    <a:pt x="24" y="15"/>
                    <a:pt x="24" y="15"/>
                  </a:cubicBezTo>
                  <a:cubicBezTo>
                    <a:pt x="25" y="17"/>
                    <a:pt x="25" y="19"/>
                    <a:pt x="23" y="20"/>
                  </a:cubicBezTo>
                  <a:cubicBezTo>
                    <a:pt x="22" y="21"/>
                    <a:pt x="20" y="23"/>
                    <a:pt x="19" y="24"/>
                  </a:cubicBezTo>
                  <a:cubicBezTo>
                    <a:pt x="18" y="26"/>
                    <a:pt x="16" y="26"/>
                    <a:pt x="14" y="26"/>
                  </a:cubicBezTo>
                  <a:cubicBezTo>
                    <a:pt x="11" y="24"/>
                    <a:pt x="11" y="24"/>
                    <a:pt x="11" y="24"/>
                  </a:cubicBezTo>
                  <a:cubicBezTo>
                    <a:pt x="9" y="23"/>
                    <a:pt x="6" y="24"/>
                    <a:pt x="5" y="27"/>
                  </a:cubicBezTo>
                  <a:cubicBezTo>
                    <a:pt x="1" y="38"/>
                    <a:pt x="1" y="38"/>
                    <a:pt x="1" y="38"/>
                  </a:cubicBezTo>
                  <a:cubicBezTo>
                    <a:pt x="0" y="40"/>
                    <a:pt x="1" y="43"/>
                    <a:pt x="3" y="43"/>
                  </a:cubicBezTo>
                  <a:cubicBezTo>
                    <a:pt x="7" y="45"/>
                    <a:pt x="7" y="45"/>
                    <a:pt x="7" y="45"/>
                  </a:cubicBezTo>
                  <a:cubicBezTo>
                    <a:pt x="8" y="45"/>
                    <a:pt x="9" y="47"/>
                    <a:pt x="9" y="49"/>
                  </a:cubicBezTo>
                  <a:cubicBezTo>
                    <a:pt x="9" y="51"/>
                    <a:pt x="9" y="53"/>
                    <a:pt x="10" y="55"/>
                  </a:cubicBezTo>
                  <a:cubicBezTo>
                    <a:pt x="10" y="57"/>
                    <a:pt x="9" y="58"/>
                    <a:pt x="7" y="59"/>
                  </a:cubicBezTo>
                  <a:cubicBezTo>
                    <a:pt x="3" y="61"/>
                    <a:pt x="3" y="61"/>
                    <a:pt x="3" y="61"/>
                  </a:cubicBezTo>
                  <a:cubicBezTo>
                    <a:pt x="1" y="62"/>
                    <a:pt x="0" y="64"/>
                    <a:pt x="1" y="66"/>
                  </a:cubicBezTo>
                  <a:cubicBezTo>
                    <a:pt x="6" y="77"/>
                    <a:pt x="6" y="77"/>
                    <a:pt x="6" y="77"/>
                  </a:cubicBezTo>
                  <a:cubicBezTo>
                    <a:pt x="7" y="79"/>
                    <a:pt x="9" y="80"/>
                    <a:pt x="12" y="79"/>
                  </a:cubicBezTo>
                  <a:cubicBezTo>
                    <a:pt x="15" y="78"/>
                    <a:pt x="15" y="78"/>
                    <a:pt x="15" y="78"/>
                  </a:cubicBezTo>
                  <a:cubicBezTo>
                    <a:pt x="17" y="77"/>
                    <a:pt x="19" y="78"/>
                    <a:pt x="20" y="79"/>
                  </a:cubicBezTo>
                  <a:cubicBezTo>
                    <a:pt x="21" y="80"/>
                    <a:pt x="23" y="82"/>
                    <a:pt x="24" y="83"/>
                  </a:cubicBezTo>
                  <a:cubicBezTo>
                    <a:pt x="26" y="84"/>
                    <a:pt x="26" y="86"/>
                    <a:pt x="26" y="88"/>
                  </a:cubicBezTo>
                  <a:cubicBezTo>
                    <a:pt x="24" y="91"/>
                    <a:pt x="24" y="91"/>
                    <a:pt x="24" y="91"/>
                  </a:cubicBezTo>
                  <a:cubicBezTo>
                    <a:pt x="23" y="94"/>
                    <a:pt x="24" y="96"/>
                    <a:pt x="26" y="97"/>
                  </a:cubicBezTo>
                  <a:cubicBezTo>
                    <a:pt x="38" y="101"/>
                    <a:pt x="38" y="101"/>
                    <a:pt x="38" y="101"/>
                  </a:cubicBezTo>
                  <a:cubicBezTo>
                    <a:pt x="40" y="102"/>
                    <a:pt x="42" y="101"/>
                    <a:pt x="43" y="99"/>
                  </a:cubicBezTo>
                  <a:cubicBezTo>
                    <a:pt x="45" y="95"/>
                    <a:pt x="45" y="95"/>
                    <a:pt x="45" y="95"/>
                  </a:cubicBezTo>
                  <a:cubicBezTo>
                    <a:pt x="45" y="94"/>
                    <a:pt x="47" y="93"/>
                    <a:pt x="49" y="93"/>
                  </a:cubicBezTo>
                  <a:cubicBezTo>
                    <a:pt x="51" y="93"/>
                    <a:pt x="53" y="93"/>
                    <a:pt x="55" y="93"/>
                  </a:cubicBezTo>
                  <a:cubicBezTo>
                    <a:pt x="57" y="93"/>
                    <a:pt x="58" y="94"/>
                    <a:pt x="59" y="95"/>
                  </a:cubicBezTo>
                  <a:cubicBezTo>
                    <a:pt x="61" y="99"/>
                    <a:pt x="61" y="99"/>
                    <a:pt x="61" y="99"/>
                  </a:cubicBezTo>
                  <a:cubicBezTo>
                    <a:pt x="61" y="101"/>
                    <a:pt x="64" y="102"/>
                    <a:pt x="66" y="101"/>
                  </a:cubicBezTo>
                  <a:cubicBezTo>
                    <a:pt x="77" y="96"/>
                    <a:pt x="77" y="96"/>
                    <a:pt x="77" y="96"/>
                  </a:cubicBezTo>
                  <a:cubicBezTo>
                    <a:pt x="79" y="95"/>
                    <a:pt x="80" y="93"/>
                    <a:pt x="79" y="91"/>
                  </a:cubicBezTo>
                  <a:cubicBezTo>
                    <a:pt x="78" y="87"/>
                    <a:pt x="78" y="87"/>
                    <a:pt x="78" y="87"/>
                  </a:cubicBezTo>
                  <a:cubicBezTo>
                    <a:pt x="77" y="85"/>
                    <a:pt x="78" y="83"/>
                    <a:pt x="79" y="82"/>
                  </a:cubicBezTo>
                  <a:cubicBezTo>
                    <a:pt x="80" y="81"/>
                    <a:pt x="82" y="80"/>
                    <a:pt x="83" y="78"/>
                  </a:cubicBezTo>
                  <a:cubicBezTo>
                    <a:pt x="84" y="77"/>
                    <a:pt x="86" y="76"/>
                    <a:pt x="88" y="77"/>
                  </a:cubicBezTo>
                  <a:cubicBezTo>
                    <a:pt x="91" y="78"/>
                    <a:pt x="91" y="78"/>
                    <a:pt x="91" y="78"/>
                  </a:cubicBezTo>
                  <a:cubicBezTo>
                    <a:pt x="93" y="79"/>
                    <a:pt x="96" y="78"/>
                    <a:pt x="97" y="76"/>
                  </a:cubicBezTo>
                  <a:cubicBezTo>
                    <a:pt x="101" y="64"/>
                    <a:pt x="101" y="64"/>
                    <a:pt x="101" y="64"/>
                  </a:cubicBezTo>
                  <a:cubicBezTo>
                    <a:pt x="102" y="62"/>
                    <a:pt x="101" y="60"/>
                    <a:pt x="99" y="59"/>
                  </a:cubicBezTo>
                  <a:close/>
                  <a:moveTo>
                    <a:pt x="78" y="62"/>
                  </a:moveTo>
                  <a:cubicBezTo>
                    <a:pt x="72" y="77"/>
                    <a:pt x="55" y="84"/>
                    <a:pt x="40" y="78"/>
                  </a:cubicBezTo>
                  <a:cubicBezTo>
                    <a:pt x="25" y="72"/>
                    <a:pt x="18" y="55"/>
                    <a:pt x="24" y="40"/>
                  </a:cubicBezTo>
                  <a:cubicBezTo>
                    <a:pt x="30" y="25"/>
                    <a:pt x="47" y="18"/>
                    <a:pt x="62" y="24"/>
                  </a:cubicBezTo>
                  <a:cubicBezTo>
                    <a:pt x="77" y="30"/>
                    <a:pt x="84" y="47"/>
                    <a:pt x="78" y="62"/>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9" name="Freeform 168">
              <a:extLst>
                <a:ext uri="{FF2B5EF4-FFF2-40B4-BE49-F238E27FC236}">
                  <a16:creationId xmlns:a16="http://schemas.microsoft.com/office/drawing/2014/main" id="{B3E64CE4-C807-42A7-A738-4F000FB8D696}"/>
                </a:ext>
              </a:extLst>
            </p:cNvPr>
            <p:cNvSpPr>
              <a:spLocks/>
            </p:cNvSpPr>
            <p:nvPr/>
          </p:nvSpPr>
          <p:spPr bwMode="auto">
            <a:xfrm>
              <a:off x="8080375" y="4891090"/>
              <a:ext cx="57150" cy="58738"/>
            </a:xfrm>
            <a:custGeom>
              <a:avLst/>
              <a:gdLst>
                <a:gd name="T0" fmla="*/ 27 w 30"/>
                <a:gd name="T1" fmla="*/ 20 h 30"/>
                <a:gd name="T2" fmla="*/ 10 w 30"/>
                <a:gd name="T3" fmla="*/ 27 h 30"/>
                <a:gd name="T4" fmla="*/ 3 w 30"/>
                <a:gd name="T5" fmla="*/ 10 h 30"/>
                <a:gd name="T6" fmla="*/ 20 w 30"/>
                <a:gd name="T7" fmla="*/ 3 h 30"/>
                <a:gd name="T8" fmla="*/ 27 w 30"/>
                <a:gd name="T9" fmla="*/ 20 h 30"/>
              </a:gdLst>
              <a:ahLst/>
              <a:cxnLst>
                <a:cxn ang="0">
                  <a:pos x="T0" y="T1"/>
                </a:cxn>
                <a:cxn ang="0">
                  <a:pos x="T2" y="T3"/>
                </a:cxn>
                <a:cxn ang="0">
                  <a:pos x="T4" y="T5"/>
                </a:cxn>
                <a:cxn ang="0">
                  <a:pos x="T6" y="T7"/>
                </a:cxn>
                <a:cxn ang="0">
                  <a:pos x="T8" y="T9"/>
                </a:cxn>
              </a:cxnLst>
              <a:rect l="0" t="0" r="r" b="b"/>
              <a:pathLst>
                <a:path w="30" h="30">
                  <a:moveTo>
                    <a:pt x="27" y="20"/>
                  </a:moveTo>
                  <a:cubicBezTo>
                    <a:pt x="24" y="27"/>
                    <a:pt x="17" y="30"/>
                    <a:pt x="10" y="27"/>
                  </a:cubicBezTo>
                  <a:cubicBezTo>
                    <a:pt x="4" y="25"/>
                    <a:pt x="0" y="17"/>
                    <a:pt x="3" y="10"/>
                  </a:cubicBezTo>
                  <a:cubicBezTo>
                    <a:pt x="6" y="4"/>
                    <a:pt x="13" y="0"/>
                    <a:pt x="20" y="3"/>
                  </a:cubicBezTo>
                  <a:cubicBezTo>
                    <a:pt x="26" y="6"/>
                    <a:pt x="30" y="13"/>
                    <a:pt x="27" y="20"/>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0" name="Freeform 169">
              <a:extLst>
                <a:ext uri="{FF2B5EF4-FFF2-40B4-BE49-F238E27FC236}">
                  <a16:creationId xmlns:a16="http://schemas.microsoft.com/office/drawing/2014/main" id="{A17067DE-140C-4E3D-AA52-08D863C3621B}"/>
                </a:ext>
              </a:extLst>
            </p:cNvPr>
            <p:cNvSpPr>
              <a:spLocks noEditPoints="1"/>
            </p:cNvSpPr>
            <p:nvPr/>
          </p:nvSpPr>
          <p:spPr bwMode="auto">
            <a:xfrm>
              <a:off x="7737475" y="4859340"/>
              <a:ext cx="295275" cy="301625"/>
            </a:xfrm>
            <a:custGeom>
              <a:avLst/>
              <a:gdLst>
                <a:gd name="T0" fmla="*/ 141 w 153"/>
                <a:gd name="T1" fmla="*/ 62 h 156"/>
                <a:gd name="T2" fmla="*/ 132 w 153"/>
                <a:gd name="T3" fmla="*/ 49 h 156"/>
                <a:gd name="T4" fmla="*/ 137 w 153"/>
                <a:gd name="T5" fmla="*/ 38 h 156"/>
                <a:gd name="T6" fmla="*/ 124 w 153"/>
                <a:gd name="T7" fmla="*/ 16 h 156"/>
                <a:gd name="T8" fmla="*/ 111 w 153"/>
                <a:gd name="T9" fmla="*/ 20 h 156"/>
                <a:gd name="T10" fmla="*/ 96 w 153"/>
                <a:gd name="T11" fmla="*/ 18 h 156"/>
                <a:gd name="T12" fmla="*/ 92 w 153"/>
                <a:gd name="T13" fmla="*/ 6 h 156"/>
                <a:gd name="T14" fmla="*/ 67 w 153"/>
                <a:gd name="T15" fmla="*/ 0 h 156"/>
                <a:gd name="T16" fmla="*/ 61 w 153"/>
                <a:gd name="T17" fmla="*/ 12 h 156"/>
                <a:gd name="T18" fmla="*/ 49 w 153"/>
                <a:gd name="T19" fmla="*/ 21 h 156"/>
                <a:gd name="T20" fmla="*/ 37 w 153"/>
                <a:gd name="T21" fmla="*/ 16 h 156"/>
                <a:gd name="T22" fmla="*/ 16 w 153"/>
                <a:gd name="T23" fmla="*/ 29 h 156"/>
                <a:gd name="T24" fmla="*/ 20 w 153"/>
                <a:gd name="T25" fmla="*/ 42 h 156"/>
                <a:gd name="T26" fmla="*/ 18 w 153"/>
                <a:gd name="T27" fmla="*/ 58 h 156"/>
                <a:gd name="T28" fmla="*/ 6 w 153"/>
                <a:gd name="T29" fmla="*/ 62 h 156"/>
                <a:gd name="T30" fmla="*/ 0 w 153"/>
                <a:gd name="T31" fmla="*/ 87 h 156"/>
                <a:gd name="T32" fmla="*/ 12 w 153"/>
                <a:gd name="T33" fmla="*/ 93 h 156"/>
                <a:gd name="T34" fmla="*/ 21 w 153"/>
                <a:gd name="T35" fmla="*/ 106 h 156"/>
                <a:gd name="T36" fmla="*/ 16 w 153"/>
                <a:gd name="T37" fmla="*/ 118 h 156"/>
                <a:gd name="T38" fmla="*/ 29 w 153"/>
                <a:gd name="T39" fmla="*/ 140 h 156"/>
                <a:gd name="T40" fmla="*/ 42 w 153"/>
                <a:gd name="T41" fmla="*/ 135 h 156"/>
                <a:gd name="T42" fmla="*/ 57 w 153"/>
                <a:gd name="T43" fmla="*/ 138 h 156"/>
                <a:gd name="T44" fmla="*/ 61 w 153"/>
                <a:gd name="T45" fmla="*/ 150 h 156"/>
                <a:gd name="T46" fmla="*/ 86 w 153"/>
                <a:gd name="T47" fmla="*/ 156 h 156"/>
                <a:gd name="T48" fmla="*/ 92 w 153"/>
                <a:gd name="T49" fmla="*/ 144 h 156"/>
                <a:gd name="T50" fmla="*/ 104 w 153"/>
                <a:gd name="T51" fmla="*/ 134 h 156"/>
                <a:gd name="T52" fmla="*/ 115 w 153"/>
                <a:gd name="T53" fmla="*/ 139 h 156"/>
                <a:gd name="T54" fmla="*/ 137 w 153"/>
                <a:gd name="T55" fmla="*/ 126 h 156"/>
                <a:gd name="T56" fmla="*/ 133 w 153"/>
                <a:gd name="T57" fmla="*/ 113 h 156"/>
                <a:gd name="T58" fmla="*/ 135 w 153"/>
                <a:gd name="T59" fmla="*/ 98 h 156"/>
                <a:gd name="T60" fmla="*/ 147 w 153"/>
                <a:gd name="T61" fmla="*/ 93 h 156"/>
                <a:gd name="T62" fmla="*/ 153 w 153"/>
                <a:gd name="T63" fmla="*/ 69 h 156"/>
                <a:gd name="T64" fmla="*/ 76 w 153"/>
                <a:gd name="T65" fmla="*/ 126 h 156"/>
                <a:gd name="T66" fmla="*/ 76 w 153"/>
                <a:gd name="T67" fmla="*/ 29 h 156"/>
                <a:gd name="T68" fmla="*/ 76 w 153"/>
                <a:gd name="T69" fmla="*/ 126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53" h="156">
                  <a:moveTo>
                    <a:pt x="147" y="62"/>
                  </a:moveTo>
                  <a:cubicBezTo>
                    <a:pt x="141" y="62"/>
                    <a:pt x="141" y="62"/>
                    <a:pt x="141" y="62"/>
                  </a:cubicBezTo>
                  <a:cubicBezTo>
                    <a:pt x="138" y="62"/>
                    <a:pt x="136" y="61"/>
                    <a:pt x="135" y="58"/>
                  </a:cubicBezTo>
                  <a:cubicBezTo>
                    <a:pt x="134" y="55"/>
                    <a:pt x="133" y="52"/>
                    <a:pt x="132" y="49"/>
                  </a:cubicBezTo>
                  <a:cubicBezTo>
                    <a:pt x="131" y="47"/>
                    <a:pt x="131" y="44"/>
                    <a:pt x="133" y="42"/>
                  </a:cubicBezTo>
                  <a:cubicBezTo>
                    <a:pt x="137" y="38"/>
                    <a:pt x="137" y="38"/>
                    <a:pt x="137" y="38"/>
                  </a:cubicBezTo>
                  <a:cubicBezTo>
                    <a:pt x="139" y="36"/>
                    <a:pt x="139" y="32"/>
                    <a:pt x="137" y="29"/>
                  </a:cubicBezTo>
                  <a:cubicBezTo>
                    <a:pt x="124" y="16"/>
                    <a:pt x="124" y="16"/>
                    <a:pt x="124" y="16"/>
                  </a:cubicBezTo>
                  <a:cubicBezTo>
                    <a:pt x="122" y="14"/>
                    <a:pt x="118" y="14"/>
                    <a:pt x="115" y="16"/>
                  </a:cubicBezTo>
                  <a:cubicBezTo>
                    <a:pt x="111" y="20"/>
                    <a:pt x="111" y="20"/>
                    <a:pt x="111" y="20"/>
                  </a:cubicBezTo>
                  <a:cubicBezTo>
                    <a:pt x="110" y="22"/>
                    <a:pt x="107" y="23"/>
                    <a:pt x="104" y="21"/>
                  </a:cubicBezTo>
                  <a:cubicBezTo>
                    <a:pt x="102" y="20"/>
                    <a:pt x="99" y="19"/>
                    <a:pt x="96" y="18"/>
                  </a:cubicBezTo>
                  <a:cubicBezTo>
                    <a:pt x="93" y="17"/>
                    <a:pt x="92" y="15"/>
                    <a:pt x="92" y="12"/>
                  </a:cubicBezTo>
                  <a:cubicBezTo>
                    <a:pt x="92" y="6"/>
                    <a:pt x="92" y="6"/>
                    <a:pt x="92" y="6"/>
                  </a:cubicBezTo>
                  <a:cubicBezTo>
                    <a:pt x="92" y="3"/>
                    <a:pt x="89" y="0"/>
                    <a:pt x="86" y="0"/>
                  </a:cubicBezTo>
                  <a:cubicBezTo>
                    <a:pt x="67" y="0"/>
                    <a:pt x="67" y="0"/>
                    <a:pt x="67" y="0"/>
                  </a:cubicBezTo>
                  <a:cubicBezTo>
                    <a:pt x="64" y="0"/>
                    <a:pt x="61" y="3"/>
                    <a:pt x="61" y="6"/>
                  </a:cubicBezTo>
                  <a:cubicBezTo>
                    <a:pt x="61" y="12"/>
                    <a:pt x="61" y="12"/>
                    <a:pt x="61" y="12"/>
                  </a:cubicBezTo>
                  <a:cubicBezTo>
                    <a:pt x="61" y="15"/>
                    <a:pt x="59" y="17"/>
                    <a:pt x="57" y="18"/>
                  </a:cubicBezTo>
                  <a:cubicBezTo>
                    <a:pt x="54" y="19"/>
                    <a:pt x="51" y="20"/>
                    <a:pt x="49" y="21"/>
                  </a:cubicBezTo>
                  <a:cubicBezTo>
                    <a:pt x="46" y="23"/>
                    <a:pt x="43" y="22"/>
                    <a:pt x="42" y="20"/>
                  </a:cubicBezTo>
                  <a:cubicBezTo>
                    <a:pt x="37" y="16"/>
                    <a:pt x="37" y="16"/>
                    <a:pt x="37" y="16"/>
                  </a:cubicBezTo>
                  <a:cubicBezTo>
                    <a:pt x="35" y="14"/>
                    <a:pt x="31" y="14"/>
                    <a:pt x="29" y="16"/>
                  </a:cubicBezTo>
                  <a:cubicBezTo>
                    <a:pt x="16" y="29"/>
                    <a:pt x="16" y="29"/>
                    <a:pt x="16" y="29"/>
                  </a:cubicBezTo>
                  <a:cubicBezTo>
                    <a:pt x="14" y="32"/>
                    <a:pt x="14" y="36"/>
                    <a:pt x="16" y="38"/>
                  </a:cubicBezTo>
                  <a:cubicBezTo>
                    <a:pt x="20" y="42"/>
                    <a:pt x="20" y="42"/>
                    <a:pt x="20" y="42"/>
                  </a:cubicBezTo>
                  <a:cubicBezTo>
                    <a:pt x="22" y="44"/>
                    <a:pt x="22" y="47"/>
                    <a:pt x="21" y="49"/>
                  </a:cubicBezTo>
                  <a:cubicBezTo>
                    <a:pt x="20" y="52"/>
                    <a:pt x="19" y="55"/>
                    <a:pt x="18" y="58"/>
                  </a:cubicBezTo>
                  <a:cubicBezTo>
                    <a:pt x="17" y="61"/>
                    <a:pt x="14" y="62"/>
                    <a:pt x="12" y="62"/>
                  </a:cubicBezTo>
                  <a:cubicBezTo>
                    <a:pt x="6" y="62"/>
                    <a:pt x="6" y="62"/>
                    <a:pt x="6" y="62"/>
                  </a:cubicBezTo>
                  <a:cubicBezTo>
                    <a:pt x="3" y="62"/>
                    <a:pt x="0" y="65"/>
                    <a:pt x="0" y="69"/>
                  </a:cubicBezTo>
                  <a:cubicBezTo>
                    <a:pt x="0" y="87"/>
                    <a:pt x="0" y="87"/>
                    <a:pt x="0" y="87"/>
                  </a:cubicBezTo>
                  <a:cubicBezTo>
                    <a:pt x="0" y="91"/>
                    <a:pt x="3" y="93"/>
                    <a:pt x="6" y="93"/>
                  </a:cubicBezTo>
                  <a:cubicBezTo>
                    <a:pt x="12" y="93"/>
                    <a:pt x="12" y="93"/>
                    <a:pt x="12" y="93"/>
                  </a:cubicBezTo>
                  <a:cubicBezTo>
                    <a:pt x="14" y="93"/>
                    <a:pt x="17" y="95"/>
                    <a:pt x="18" y="98"/>
                  </a:cubicBezTo>
                  <a:cubicBezTo>
                    <a:pt x="19" y="101"/>
                    <a:pt x="20" y="104"/>
                    <a:pt x="21" y="106"/>
                  </a:cubicBezTo>
                  <a:cubicBezTo>
                    <a:pt x="22" y="109"/>
                    <a:pt x="22" y="111"/>
                    <a:pt x="20" y="113"/>
                  </a:cubicBezTo>
                  <a:cubicBezTo>
                    <a:pt x="16" y="118"/>
                    <a:pt x="16" y="118"/>
                    <a:pt x="16" y="118"/>
                  </a:cubicBezTo>
                  <a:cubicBezTo>
                    <a:pt x="13" y="120"/>
                    <a:pt x="13" y="124"/>
                    <a:pt x="16" y="127"/>
                  </a:cubicBezTo>
                  <a:cubicBezTo>
                    <a:pt x="29" y="140"/>
                    <a:pt x="29" y="140"/>
                    <a:pt x="29" y="140"/>
                  </a:cubicBezTo>
                  <a:cubicBezTo>
                    <a:pt x="31" y="142"/>
                    <a:pt x="35" y="142"/>
                    <a:pt x="37" y="140"/>
                  </a:cubicBezTo>
                  <a:cubicBezTo>
                    <a:pt x="42" y="135"/>
                    <a:pt x="42" y="135"/>
                    <a:pt x="42" y="135"/>
                  </a:cubicBezTo>
                  <a:cubicBezTo>
                    <a:pt x="43" y="133"/>
                    <a:pt x="46" y="133"/>
                    <a:pt x="49" y="134"/>
                  </a:cubicBezTo>
                  <a:cubicBezTo>
                    <a:pt x="51" y="136"/>
                    <a:pt x="54" y="137"/>
                    <a:pt x="57" y="138"/>
                  </a:cubicBezTo>
                  <a:cubicBezTo>
                    <a:pt x="59" y="139"/>
                    <a:pt x="61" y="141"/>
                    <a:pt x="61" y="144"/>
                  </a:cubicBezTo>
                  <a:cubicBezTo>
                    <a:pt x="61" y="150"/>
                    <a:pt x="61" y="150"/>
                    <a:pt x="61" y="150"/>
                  </a:cubicBezTo>
                  <a:cubicBezTo>
                    <a:pt x="61" y="153"/>
                    <a:pt x="64" y="156"/>
                    <a:pt x="67" y="156"/>
                  </a:cubicBezTo>
                  <a:cubicBezTo>
                    <a:pt x="86" y="156"/>
                    <a:pt x="86" y="156"/>
                    <a:pt x="86" y="156"/>
                  </a:cubicBezTo>
                  <a:cubicBezTo>
                    <a:pt x="89" y="156"/>
                    <a:pt x="92" y="153"/>
                    <a:pt x="92" y="150"/>
                  </a:cubicBezTo>
                  <a:cubicBezTo>
                    <a:pt x="92" y="144"/>
                    <a:pt x="92" y="144"/>
                    <a:pt x="92" y="144"/>
                  </a:cubicBezTo>
                  <a:cubicBezTo>
                    <a:pt x="92" y="141"/>
                    <a:pt x="93" y="139"/>
                    <a:pt x="96" y="138"/>
                  </a:cubicBezTo>
                  <a:cubicBezTo>
                    <a:pt x="99" y="137"/>
                    <a:pt x="102" y="136"/>
                    <a:pt x="104" y="134"/>
                  </a:cubicBezTo>
                  <a:cubicBezTo>
                    <a:pt x="107" y="133"/>
                    <a:pt x="109" y="133"/>
                    <a:pt x="111" y="135"/>
                  </a:cubicBezTo>
                  <a:cubicBezTo>
                    <a:pt x="115" y="139"/>
                    <a:pt x="115" y="139"/>
                    <a:pt x="115" y="139"/>
                  </a:cubicBezTo>
                  <a:cubicBezTo>
                    <a:pt x="118" y="142"/>
                    <a:pt x="122" y="142"/>
                    <a:pt x="124" y="139"/>
                  </a:cubicBezTo>
                  <a:cubicBezTo>
                    <a:pt x="137" y="126"/>
                    <a:pt x="137" y="126"/>
                    <a:pt x="137" y="126"/>
                  </a:cubicBezTo>
                  <a:cubicBezTo>
                    <a:pt x="139" y="124"/>
                    <a:pt x="139" y="120"/>
                    <a:pt x="137" y="118"/>
                  </a:cubicBezTo>
                  <a:cubicBezTo>
                    <a:pt x="133" y="113"/>
                    <a:pt x="133" y="113"/>
                    <a:pt x="133" y="113"/>
                  </a:cubicBezTo>
                  <a:cubicBezTo>
                    <a:pt x="131" y="111"/>
                    <a:pt x="131" y="109"/>
                    <a:pt x="132" y="106"/>
                  </a:cubicBezTo>
                  <a:cubicBezTo>
                    <a:pt x="133" y="103"/>
                    <a:pt x="134" y="101"/>
                    <a:pt x="135" y="98"/>
                  </a:cubicBezTo>
                  <a:cubicBezTo>
                    <a:pt x="136" y="95"/>
                    <a:pt x="138" y="93"/>
                    <a:pt x="141" y="93"/>
                  </a:cubicBezTo>
                  <a:cubicBezTo>
                    <a:pt x="147" y="93"/>
                    <a:pt x="147" y="93"/>
                    <a:pt x="147" y="93"/>
                  </a:cubicBezTo>
                  <a:cubicBezTo>
                    <a:pt x="150" y="93"/>
                    <a:pt x="153" y="91"/>
                    <a:pt x="153" y="87"/>
                  </a:cubicBezTo>
                  <a:cubicBezTo>
                    <a:pt x="153" y="69"/>
                    <a:pt x="153" y="69"/>
                    <a:pt x="153" y="69"/>
                  </a:cubicBezTo>
                  <a:cubicBezTo>
                    <a:pt x="153" y="65"/>
                    <a:pt x="150" y="62"/>
                    <a:pt x="147" y="62"/>
                  </a:cubicBezTo>
                  <a:close/>
                  <a:moveTo>
                    <a:pt x="76" y="126"/>
                  </a:moveTo>
                  <a:cubicBezTo>
                    <a:pt x="50" y="126"/>
                    <a:pt x="28" y="105"/>
                    <a:pt x="28" y="78"/>
                  </a:cubicBezTo>
                  <a:cubicBezTo>
                    <a:pt x="28" y="51"/>
                    <a:pt x="50" y="29"/>
                    <a:pt x="76" y="29"/>
                  </a:cubicBezTo>
                  <a:cubicBezTo>
                    <a:pt x="103" y="29"/>
                    <a:pt x="125" y="51"/>
                    <a:pt x="125" y="78"/>
                  </a:cubicBezTo>
                  <a:cubicBezTo>
                    <a:pt x="125" y="105"/>
                    <a:pt x="103" y="126"/>
                    <a:pt x="76" y="126"/>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1" name="Oval 170">
              <a:extLst>
                <a:ext uri="{FF2B5EF4-FFF2-40B4-BE49-F238E27FC236}">
                  <a16:creationId xmlns:a16="http://schemas.microsoft.com/office/drawing/2014/main" id="{14EED000-F84F-477D-BC38-0D2EAFFC07D4}"/>
                </a:ext>
              </a:extLst>
            </p:cNvPr>
            <p:cNvSpPr>
              <a:spLocks noChangeArrowheads="1"/>
            </p:cNvSpPr>
            <p:nvPr/>
          </p:nvSpPr>
          <p:spPr bwMode="auto">
            <a:xfrm>
              <a:off x="7824788" y="4949828"/>
              <a:ext cx="119062" cy="119063"/>
            </a:xfrm>
            <a:prstGeom prst="ellipse">
              <a:avLst/>
            </a:pr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33" name="Freeform 20">
            <a:extLst>
              <a:ext uri="{FF2B5EF4-FFF2-40B4-BE49-F238E27FC236}">
                <a16:creationId xmlns:a16="http://schemas.microsoft.com/office/drawing/2014/main" id="{4C43630B-3ECD-43C4-8D20-0B6860D26688}"/>
              </a:ext>
            </a:extLst>
          </p:cNvPr>
          <p:cNvSpPr>
            <a:spLocks/>
          </p:cNvSpPr>
          <p:nvPr/>
        </p:nvSpPr>
        <p:spPr bwMode="auto">
          <a:xfrm>
            <a:off x="10776520" y="3006744"/>
            <a:ext cx="1330762" cy="1244311"/>
          </a:xfrm>
          <a:custGeom>
            <a:avLst/>
            <a:gdLst>
              <a:gd name="T0" fmla="*/ 101 w 701"/>
              <a:gd name="T1" fmla="*/ 513 h 655"/>
              <a:gd name="T2" fmla="*/ 168 w 701"/>
              <a:gd name="T3" fmla="*/ 98 h 655"/>
              <a:gd name="T4" fmla="*/ 600 w 701"/>
              <a:gd name="T5" fmla="*/ 159 h 655"/>
              <a:gd name="T6" fmla="*/ 522 w 701"/>
              <a:gd name="T7" fmla="*/ 558 h 655"/>
              <a:gd name="T8" fmla="*/ 101 w 701"/>
              <a:gd name="T9" fmla="*/ 513 h 655"/>
            </a:gdLst>
            <a:ahLst/>
            <a:cxnLst>
              <a:cxn ang="0">
                <a:pos x="T0" y="T1"/>
              </a:cxn>
              <a:cxn ang="0">
                <a:pos x="T2" y="T3"/>
              </a:cxn>
              <a:cxn ang="0">
                <a:pos x="T4" y="T5"/>
              </a:cxn>
              <a:cxn ang="0">
                <a:pos x="T6" y="T7"/>
              </a:cxn>
              <a:cxn ang="0">
                <a:pos x="T8" y="T9"/>
              </a:cxn>
            </a:cxnLst>
            <a:rect l="0" t="0" r="r" b="b"/>
            <a:pathLst>
              <a:path w="701" h="655">
                <a:moveTo>
                  <a:pt x="101" y="513"/>
                </a:moveTo>
                <a:cubicBezTo>
                  <a:pt x="0" y="381"/>
                  <a:pt x="30" y="196"/>
                  <a:pt x="168" y="98"/>
                </a:cubicBezTo>
                <a:cubicBezTo>
                  <a:pt x="306" y="0"/>
                  <a:pt x="500" y="28"/>
                  <a:pt x="600" y="159"/>
                </a:cubicBezTo>
                <a:cubicBezTo>
                  <a:pt x="701" y="290"/>
                  <a:pt x="660" y="460"/>
                  <a:pt x="522" y="558"/>
                </a:cubicBezTo>
                <a:cubicBezTo>
                  <a:pt x="384" y="655"/>
                  <a:pt x="202" y="644"/>
                  <a:pt x="101" y="513"/>
                </a:cubicBezTo>
              </a:path>
            </a:pathLst>
          </a:custGeom>
          <a:solidFill>
            <a:srgbClr val="2B0A3D"/>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dirty="0"/>
          </a:p>
        </p:txBody>
      </p:sp>
      <p:grpSp>
        <p:nvGrpSpPr>
          <p:cNvPr id="22" name="Group 602">
            <a:extLst>
              <a:ext uri="{FF2B5EF4-FFF2-40B4-BE49-F238E27FC236}">
                <a16:creationId xmlns:a16="http://schemas.microsoft.com/office/drawing/2014/main" id="{4D757E5F-0AA5-47F6-B7ED-F0B77ED54379}"/>
              </a:ext>
            </a:extLst>
          </p:cNvPr>
          <p:cNvGrpSpPr>
            <a:grpSpLocks noChangeAspect="1"/>
          </p:cNvGrpSpPr>
          <p:nvPr/>
        </p:nvGrpSpPr>
        <p:grpSpPr>
          <a:xfrm>
            <a:off x="11039519" y="3212976"/>
            <a:ext cx="817121" cy="824572"/>
            <a:chOff x="8988424" y="5827713"/>
            <a:chExt cx="522287" cy="527050"/>
          </a:xfrm>
        </p:grpSpPr>
        <p:sp>
          <p:nvSpPr>
            <p:cNvPr id="24" name="Freeform 252">
              <a:extLst>
                <a:ext uri="{FF2B5EF4-FFF2-40B4-BE49-F238E27FC236}">
                  <a16:creationId xmlns:a16="http://schemas.microsoft.com/office/drawing/2014/main" id="{481025A6-409D-4164-9DE5-489296BEE563}"/>
                </a:ext>
              </a:extLst>
            </p:cNvPr>
            <p:cNvSpPr>
              <a:spLocks/>
            </p:cNvSpPr>
            <p:nvPr/>
          </p:nvSpPr>
          <p:spPr bwMode="auto">
            <a:xfrm>
              <a:off x="8988424" y="5827713"/>
              <a:ext cx="250825" cy="254000"/>
            </a:xfrm>
            <a:custGeom>
              <a:avLst/>
              <a:gdLst>
                <a:gd name="T0" fmla="*/ 36 w 131"/>
                <a:gd name="T1" fmla="*/ 126 h 131"/>
                <a:gd name="T2" fmla="*/ 126 w 131"/>
                <a:gd name="T3" fmla="*/ 36 h 131"/>
                <a:gd name="T4" fmla="*/ 131 w 131"/>
                <a:gd name="T5" fmla="*/ 31 h 131"/>
                <a:gd name="T6" fmla="*/ 131 w 131"/>
                <a:gd name="T7" fmla="*/ 6 h 131"/>
                <a:gd name="T8" fmla="*/ 125 w 131"/>
                <a:gd name="T9" fmla="*/ 1 h 131"/>
                <a:gd name="T10" fmla="*/ 1 w 131"/>
                <a:gd name="T11" fmla="*/ 125 h 131"/>
                <a:gd name="T12" fmla="*/ 6 w 131"/>
                <a:gd name="T13" fmla="*/ 131 h 131"/>
                <a:gd name="T14" fmla="*/ 31 w 131"/>
                <a:gd name="T15" fmla="*/ 131 h 131"/>
                <a:gd name="T16" fmla="*/ 36 w 131"/>
                <a:gd name="T17" fmla="*/ 126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1" h="131">
                  <a:moveTo>
                    <a:pt x="36" y="126"/>
                  </a:moveTo>
                  <a:cubicBezTo>
                    <a:pt x="41" y="79"/>
                    <a:pt x="79" y="41"/>
                    <a:pt x="126" y="36"/>
                  </a:cubicBezTo>
                  <a:cubicBezTo>
                    <a:pt x="129" y="36"/>
                    <a:pt x="131" y="34"/>
                    <a:pt x="131" y="31"/>
                  </a:cubicBezTo>
                  <a:cubicBezTo>
                    <a:pt x="131" y="6"/>
                    <a:pt x="131" y="6"/>
                    <a:pt x="131" y="6"/>
                  </a:cubicBezTo>
                  <a:cubicBezTo>
                    <a:pt x="131" y="3"/>
                    <a:pt x="128" y="0"/>
                    <a:pt x="125" y="1"/>
                  </a:cubicBezTo>
                  <a:cubicBezTo>
                    <a:pt x="59" y="6"/>
                    <a:pt x="6" y="59"/>
                    <a:pt x="1" y="125"/>
                  </a:cubicBezTo>
                  <a:cubicBezTo>
                    <a:pt x="0" y="128"/>
                    <a:pt x="3" y="131"/>
                    <a:pt x="6" y="131"/>
                  </a:cubicBezTo>
                  <a:cubicBezTo>
                    <a:pt x="31" y="131"/>
                    <a:pt x="31" y="131"/>
                    <a:pt x="31" y="131"/>
                  </a:cubicBezTo>
                  <a:cubicBezTo>
                    <a:pt x="34" y="131"/>
                    <a:pt x="36" y="129"/>
                    <a:pt x="36" y="126"/>
                  </a:cubicBezTo>
                  <a:close/>
                </a:path>
              </a:pathLst>
            </a:custGeom>
            <a:solidFill>
              <a:srgbClr val="88D5ED"/>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5" name="Freeform 253">
              <a:extLst>
                <a:ext uri="{FF2B5EF4-FFF2-40B4-BE49-F238E27FC236}">
                  <a16:creationId xmlns:a16="http://schemas.microsoft.com/office/drawing/2014/main" id="{A04BDC32-F66A-4256-93C2-CEDB3CC71236}"/>
                </a:ext>
              </a:extLst>
            </p:cNvPr>
            <p:cNvSpPr>
              <a:spLocks/>
            </p:cNvSpPr>
            <p:nvPr/>
          </p:nvSpPr>
          <p:spPr bwMode="auto">
            <a:xfrm>
              <a:off x="9261474" y="5827713"/>
              <a:ext cx="249237" cy="254000"/>
            </a:xfrm>
            <a:custGeom>
              <a:avLst/>
              <a:gdLst>
                <a:gd name="T0" fmla="*/ 6 w 130"/>
                <a:gd name="T1" fmla="*/ 36 h 131"/>
                <a:gd name="T2" fmla="*/ 95 w 130"/>
                <a:gd name="T3" fmla="*/ 125 h 131"/>
                <a:gd name="T4" fmla="*/ 101 w 130"/>
                <a:gd name="T5" fmla="*/ 131 h 131"/>
                <a:gd name="T6" fmla="*/ 124 w 130"/>
                <a:gd name="T7" fmla="*/ 131 h 131"/>
                <a:gd name="T8" fmla="*/ 130 w 130"/>
                <a:gd name="T9" fmla="*/ 124 h 131"/>
                <a:gd name="T10" fmla="*/ 7 w 130"/>
                <a:gd name="T11" fmla="*/ 1 h 131"/>
                <a:gd name="T12" fmla="*/ 0 w 130"/>
                <a:gd name="T13" fmla="*/ 7 h 131"/>
                <a:gd name="T14" fmla="*/ 0 w 130"/>
                <a:gd name="T15" fmla="*/ 30 h 131"/>
                <a:gd name="T16" fmla="*/ 6 w 130"/>
                <a:gd name="T17" fmla="*/ 36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 h="131">
                  <a:moveTo>
                    <a:pt x="6" y="36"/>
                  </a:moveTo>
                  <a:cubicBezTo>
                    <a:pt x="52" y="41"/>
                    <a:pt x="89" y="79"/>
                    <a:pt x="95" y="125"/>
                  </a:cubicBezTo>
                  <a:cubicBezTo>
                    <a:pt x="95" y="129"/>
                    <a:pt x="98" y="131"/>
                    <a:pt x="101" y="131"/>
                  </a:cubicBezTo>
                  <a:cubicBezTo>
                    <a:pt x="124" y="131"/>
                    <a:pt x="124" y="131"/>
                    <a:pt x="124" y="131"/>
                  </a:cubicBezTo>
                  <a:cubicBezTo>
                    <a:pt x="127" y="131"/>
                    <a:pt x="130" y="128"/>
                    <a:pt x="130" y="124"/>
                  </a:cubicBezTo>
                  <a:cubicBezTo>
                    <a:pt x="124" y="59"/>
                    <a:pt x="72" y="7"/>
                    <a:pt x="7" y="1"/>
                  </a:cubicBezTo>
                  <a:cubicBezTo>
                    <a:pt x="3" y="0"/>
                    <a:pt x="0" y="3"/>
                    <a:pt x="0" y="7"/>
                  </a:cubicBezTo>
                  <a:cubicBezTo>
                    <a:pt x="0" y="30"/>
                    <a:pt x="0" y="30"/>
                    <a:pt x="0" y="30"/>
                  </a:cubicBezTo>
                  <a:cubicBezTo>
                    <a:pt x="0" y="33"/>
                    <a:pt x="2" y="36"/>
                    <a:pt x="6" y="36"/>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6" name="Freeform 254">
              <a:extLst>
                <a:ext uri="{FF2B5EF4-FFF2-40B4-BE49-F238E27FC236}">
                  <a16:creationId xmlns:a16="http://schemas.microsoft.com/office/drawing/2014/main" id="{477570EA-2BE8-416D-8332-02951704C9EA}"/>
                </a:ext>
              </a:extLst>
            </p:cNvPr>
            <p:cNvSpPr>
              <a:spLocks/>
            </p:cNvSpPr>
            <p:nvPr/>
          </p:nvSpPr>
          <p:spPr bwMode="auto">
            <a:xfrm>
              <a:off x="9261474" y="6103938"/>
              <a:ext cx="249237" cy="250825"/>
            </a:xfrm>
            <a:custGeom>
              <a:avLst/>
              <a:gdLst>
                <a:gd name="T0" fmla="*/ 95 w 130"/>
                <a:gd name="T1" fmla="*/ 5 h 130"/>
                <a:gd name="T2" fmla="*/ 5 w 130"/>
                <a:gd name="T3" fmla="*/ 95 h 130"/>
                <a:gd name="T4" fmla="*/ 0 w 130"/>
                <a:gd name="T5" fmla="*/ 100 h 130"/>
                <a:gd name="T6" fmla="*/ 0 w 130"/>
                <a:gd name="T7" fmla="*/ 125 h 130"/>
                <a:gd name="T8" fmla="*/ 5 w 130"/>
                <a:gd name="T9" fmla="*/ 130 h 130"/>
                <a:gd name="T10" fmla="*/ 130 w 130"/>
                <a:gd name="T11" fmla="*/ 6 h 130"/>
                <a:gd name="T12" fmla="*/ 125 w 130"/>
                <a:gd name="T13" fmla="*/ 0 h 130"/>
                <a:gd name="T14" fmla="*/ 100 w 130"/>
                <a:gd name="T15" fmla="*/ 0 h 130"/>
                <a:gd name="T16" fmla="*/ 95 w 130"/>
                <a:gd name="T17" fmla="*/ 5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 h="130">
                  <a:moveTo>
                    <a:pt x="95" y="5"/>
                  </a:moveTo>
                  <a:cubicBezTo>
                    <a:pt x="90" y="52"/>
                    <a:pt x="52" y="90"/>
                    <a:pt x="5" y="95"/>
                  </a:cubicBezTo>
                  <a:cubicBezTo>
                    <a:pt x="2" y="95"/>
                    <a:pt x="0" y="97"/>
                    <a:pt x="0" y="100"/>
                  </a:cubicBezTo>
                  <a:cubicBezTo>
                    <a:pt x="0" y="125"/>
                    <a:pt x="0" y="125"/>
                    <a:pt x="0" y="125"/>
                  </a:cubicBezTo>
                  <a:cubicBezTo>
                    <a:pt x="0" y="128"/>
                    <a:pt x="2" y="130"/>
                    <a:pt x="5" y="130"/>
                  </a:cubicBezTo>
                  <a:cubicBezTo>
                    <a:pt x="72" y="125"/>
                    <a:pt x="125" y="72"/>
                    <a:pt x="130" y="6"/>
                  </a:cubicBezTo>
                  <a:cubicBezTo>
                    <a:pt x="130" y="3"/>
                    <a:pt x="128" y="0"/>
                    <a:pt x="125" y="0"/>
                  </a:cubicBezTo>
                  <a:cubicBezTo>
                    <a:pt x="100" y="0"/>
                    <a:pt x="100" y="0"/>
                    <a:pt x="100" y="0"/>
                  </a:cubicBezTo>
                  <a:cubicBezTo>
                    <a:pt x="97" y="0"/>
                    <a:pt x="95" y="2"/>
                    <a:pt x="95" y="5"/>
                  </a:cubicBezTo>
                  <a:close/>
                </a:path>
              </a:pathLst>
            </a:custGeom>
            <a:solidFill>
              <a:srgbClr val="88D5ED"/>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7" name="Freeform 255">
              <a:extLst>
                <a:ext uri="{FF2B5EF4-FFF2-40B4-BE49-F238E27FC236}">
                  <a16:creationId xmlns:a16="http://schemas.microsoft.com/office/drawing/2014/main" id="{8BEF8B3F-BF64-4A2D-AE1C-5EB80648494F}"/>
                </a:ext>
              </a:extLst>
            </p:cNvPr>
            <p:cNvSpPr>
              <a:spLocks/>
            </p:cNvSpPr>
            <p:nvPr/>
          </p:nvSpPr>
          <p:spPr bwMode="auto">
            <a:xfrm>
              <a:off x="8988424" y="6103938"/>
              <a:ext cx="250825" cy="250825"/>
            </a:xfrm>
            <a:custGeom>
              <a:avLst/>
              <a:gdLst>
                <a:gd name="T0" fmla="*/ 126 w 131"/>
                <a:gd name="T1" fmla="*/ 95 h 130"/>
                <a:gd name="T2" fmla="*/ 36 w 131"/>
                <a:gd name="T3" fmla="*/ 5 h 130"/>
                <a:gd name="T4" fmla="*/ 31 w 131"/>
                <a:gd name="T5" fmla="*/ 0 h 130"/>
                <a:gd name="T6" fmla="*/ 6 w 131"/>
                <a:gd name="T7" fmla="*/ 0 h 130"/>
                <a:gd name="T8" fmla="*/ 1 w 131"/>
                <a:gd name="T9" fmla="*/ 6 h 130"/>
                <a:gd name="T10" fmla="*/ 125 w 131"/>
                <a:gd name="T11" fmla="*/ 130 h 130"/>
                <a:gd name="T12" fmla="*/ 131 w 131"/>
                <a:gd name="T13" fmla="*/ 125 h 130"/>
                <a:gd name="T14" fmla="*/ 131 w 131"/>
                <a:gd name="T15" fmla="*/ 100 h 130"/>
                <a:gd name="T16" fmla="*/ 126 w 131"/>
                <a:gd name="T17" fmla="*/ 95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1" h="130">
                  <a:moveTo>
                    <a:pt x="126" y="95"/>
                  </a:moveTo>
                  <a:cubicBezTo>
                    <a:pt x="79" y="90"/>
                    <a:pt x="41" y="52"/>
                    <a:pt x="36" y="5"/>
                  </a:cubicBezTo>
                  <a:cubicBezTo>
                    <a:pt x="36" y="2"/>
                    <a:pt x="34" y="0"/>
                    <a:pt x="31" y="0"/>
                  </a:cubicBezTo>
                  <a:cubicBezTo>
                    <a:pt x="6" y="0"/>
                    <a:pt x="6" y="0"/>
                    <a:pt x="6" y="0"/>
                  </a:cubicBezTo>
                  <a:cubicBezTo>
                    <a:pt x="3" y="0"/>
                    <a:pt x="0" y="3"/>
                    <a:pt x="1" y="6"/>
                  </a:cubicBezTo>
                  <a:cubicBezTo>
                    <a:pt x="6" y="72"/>
                    <a:pt x="59" y="125"/>
                    <a:pt x="125" y="130"/>
                  </a:cubicBezTo>
                  <a:cubicBezTo>
                    <a:pt x="128" y="130"/>
                    <a:pt x="131" y="128"/>
                    <a:pt x="131" y="125"/>
                  </a:cubicBezTo>
                  <a:cubicBezTo>
                    <a:pt x="131" y="100"/>
                    <a:pt x="131" y="100"/>
                    <a:pt x="131" y="100"/>
                  </a:cubicBezTo>
                  <a:cubicBezTo>
                    <a:pt x="131" y="97"/>
                    <a:pt x="129" y="95"/>
                    <a:pt x="126" y="95"/>
                  </a:cubicBezTo>
                  <a:close/>
                </a:path>
              </a:pathLst>
            </a:custGeom>
            <a:solidFill>
              <a:srgbClr val="CD2A80"/>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8" name="Freeform 256">
              <a:extLst>
                <a:ext uri="{FF2B5EF4-FFF2-40B4-BE49-F238E27FC236}">
                  <a16:creationId xmlns:a16="http://schemas.microsoft.com/office/drawing/2014/main" id="{5091ADF6-085B-4229-B958-723A0D6E79EE}"/>
                </a:ext>
              </a:extLst>
            </p:cNvPr>
            <p:cNvSpPr>
              <a:spLocks/>
            </p:cNvSpPr>
            <p:nvPr/>
          </p:nvSpPr>
          <p:spPr bwMode="auto">
            <a:xfrm>
              <a:off x="9101137" y="5942013"/>
              <a:ext cx="142875" cy="139700"/>
            </a:xfrm>
            <a:custGeom>
              <a:avLst/>
              <a:gdLst>
                <a:gd name="T0" fmla="*/ 6 w 74"/>
                <a:gd name="T1" fmla="*/ 72 h 72"/>
                <a:gd name="T2" fmla="*/ 16 w 74"/>
                <a:gd name="T3" fmla="*/ 72 h 72"/>
                <a:gd name="T4" fmla="*/ 21 w 74"/>
                <a:gd name="T5" fmla="*/ 68 h 72"/>
                <a:gd name="T6" fmla="*/ 70 w 74"/>
                <a:gd name="T7" fmla="*/ 21 h 72"/>
                <a:gd name="T8" fmla="*/ 74 w 74"/>
                <a:gd name="T9" fmla="*/ 15 h 72"/>
                <a:gd name="T10" fmla="*/ 74 w 74"/>
                <a:gd name="T11" fmla="*/ 6 h 72"/>
                <a:gd name="T12" fmla="*/ 68 w 74"/>
                <a:gd name="T13" fmla="*/ 0 h 72"/>
                <a:gd name="T14" fmla="*/ 1 w 74"/>
                <a:gd name="T15" fmla="*/ 66 h 72"/>
                <a:gd name="T16" fmla="*/ 6 w 74"/>
                <a:gd name="T17" fmla="*/ 7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4" h="72">
                  <a:moveTo>
                    <a:pt x="6" y="72"/>
                  </a:moveTo>
                  <a:cubicBezTo>
                    <a:pt x="16" y="72"/>
                    <a:pt x="16" y="72"/>
                    <a:pt x="16" y="72"/>
                  </a:cubicBezTo>
                  <a:cubicBezTo>
                    <a:pt x="18" y="72"/>
                    <a:pt x="20" y="70"/>
                    <a:pt x="21" y="68"/>
                  </a:cubicBezTo>
                  <a:cubicBezTo>
                    <a:pt x="25" y="43"/>
                    <a:pt x="45" y="24"/>
                    <a:pt x="70" y="21"/>
                  </a:cubicBezTo>
                  <a:cubicBezTo>
                    <a:pt x="72" y="20"/>
                    <a:pt x="74" y="18"/>
                    <a:pt x="74" y="15"/>
                  </a:cubicBezTo>
                  <a:cubicBezTo>
                    <a:pt x="74" y="6"/>
                    <a:pt x="74" y="6"/>
                    <a:pt x="74" y="6"/>
                  </a:cubicBezTo>
                  <a:cubicBezTo>
                    <a:pt x="74" y="2"/>
                    <a:pt x="71" y="0"/>
                    <a:pt x="68" y="0"/>
                  </a:cubicBezTo>
                  <a:cubicBezTo>
                    <a:pt x="34" y="4"/>
                    <a:pt x="6" y="31"/>
                    <a:pt x="1" y="66"/>
                  </a:cubicBezTo>
                  <a:cubicBezTo>
                    <a:pt x="0" y="69"/>
                    <a:pt x="3" y="72"/>
                    <a:pt x="6" y="72"/>
                  </a:cubicBezTo>
                  <a:close/>
                </a:path>
              </a:pathLst>
            </a:custGeom>
            <a:solidFill>
              <a:srgbClr val="88D5ED"/>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9" name="Freeform 257">
              <a:extLst>
                <a:ext uri="{FF2B5EF4-FFF2-40B4-BE49-F238E27FC236}">
                  <a16:creationId xmlns:a16="http://schemas.microsoft.com/office/drawing/2014/main" id="{DE55DD0A-5882-4764-B7A3-08485A6C8575}"/>
                </a:ext>
              </a:extLst>
            </p:cNvPr>
            <p:cNvSpPr>
              <a:spLocks/>
            </p:cNvSpPr>
            <p:nvPr/>
          </p:nvSpPr>
          <p:spPr bwMode="auto">
            <a:xfrm>
              <a:off x="9101137" y="6103938"/>
              <a:ext cx="138112" cy="138113"/>
            </a:xfrm>
            <a:custGeom>
              <a:avLst/>
              <a:gdLst>
                <a:gd name="T0" fmla="*/ 68 w 72"/>
                <a:gd name="T1" fmla="*/ 51 h 72"/>
                <a:gd name="T2" fmla="*/ 21 w 72"/>
                <a:gd name="T3" fmla="*/ 4 h 72"/>
                <a:gd name="T4" fmla="*/ 16 w 72"/>
                <a:gd name="T5" fmla="*/ 0 h 72"/>
                <a:gd name="T6" fmla="*/ 6 w 72"/>
                <a:gd name="T7" fmla="*/ 0 h 72"/>
                <a:gd name="T8" fmla="*/ 1 w 72"/>
                <a:gd name="T9" fmla="*/ 6 h 72"/>
                <a:gd name="T10" fmla="*/ 66 w 72"/>
                <a:gd name="T11" fmla="*/ 71 h 72"/>
                <a:gd name="T12" fmla="*/ 72 w 72"/>
                <a:gd name="T13" fmla="*/ 66 h 72"/>
                <a:gd name="T14" fmla="*/ 72 w 72"/>
                <a:gd name="T15" fmla="*/ 56 h 72"/>
                <a:gd name="T16" fmla="*/ 68 w 72"/>
                <a:gd name="T17" fmla="*/ 51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2" h="72">
                  <a:moveTo>
                    <a:pt x="68" y="51"/>
                  </a:moveTo>
                  <a:cubicBezTo>
                    <a:pt x="44" y="47"/>
                    <a:pt x="25" y="28"/>
                    <a:pt x="21" y="4"/>
                  </a:cubicBezTo>
                  <a:cubicBezTo>
                    <a:pt x="20" y="2"/>
                    <a:pt x="18" y="0"/>
                    <a:pt x="16" y="0"/>
                  </a:cubicBezTo>
                  <a:cubicBezTo>
                    <a:pt x="6" y="0"/>
                    <a:pt x="6" y="0"/>
                    <a:pt x="6" y="0"/>
                  </a:cubicBezTo>
                  <a:cubicBezTo>
                    <a:pt x="3" y="0"/>
                    <a:pt x="0" y="3"/>
                    <a:pt x="1" y="6"/>
                  </a:cubicBezTo>
                  <a:cubicBezTo>
                    <a:pt x="6" y="40"/>
                    <a:pt x="32" y="66"/>
                    <a:pt x="66" y="71"/>
                  </a:cubicBezTo>
                  <a:cubicBezTo>
                    <a:pt x="69" y="72"/>
                    <a:pt x="72" y="69"/>
                    <a:pt x="72" y="66"/>
                  </a:cubicBezTo>
                  <a:cubicBezTo>
                    <a:pt x="72" y="56"/>
                    <a:pt x="72" y="56"/>
                    <a:pt x="72" y="56"/>
                  </a:cubicBezTo>
                  <a:cubicBezTo>
                    <a:pt x="72" y="54"/>
                    <a:pt x="70" y="51"/>
                    <a:pt x="68" y="51"/>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0" name="Freeform 258">
              <a:extLst>
                <a:ext uri="{FF2B5EF4-FFF2-40B4-BE49-F238E27FC236}">
                  <a16:creationId xmlns:a16="http://schemas.microsoft.com/office/drawing/2014/main" id="{BA2294BF-7D0C-4371-892B-ABDDADD86157}"/>
                </a:ext>
              </a:extLst>
            </p:cNvPr>
            <p:cNvSpPr>
              <a:spLocks/>
            </p:cNvSpPr>
            <p:nvPr/>
          </p:nvSpPr>
          <p:spPr bwMode="auto">
            <a:xfrm>
              <a:off x="9261474" y="6099175"/>
              <a:ext cx="138112" cy="142875"/>
            </a:xfrm>
            <a:custGeom>
              <a:avLst/>
              <a:gdLst>
                <a:gd name="T0" fmla="*/ 51 w 72"/>
                <a:gd name="T1" fmla="*/ 4 h 74"/>
                <a:gd name="T2" fmla="*/ 4 w 72"/>
                <a:gd name="T3" fmla="*/ 53 h 74"/>
                <a:gd name="T4" fmla="*/ 0 w 72"/>
                <a:gd name="T5" fmla="*/ 58 h 74"/>
                <a:gd name="T6" fmla="*/ 0 w 72"/>
                <a:gd name="T7" fmla="*/ 68 h 74"/>
                <a:gd name="T8" fmla="*/ 6 w 72"/>
                <a:gd name="T9" fmla="*/ 73 h 74"/>
                <a:gd name="T10" fmla="*/ 71 w 72"/>
                <a:gd name="T11" fmla="*/ 6 h 74"/>
                <a:gd name="T12" fmla="*/ 66 w 72"/>
                <a:gd name="T13" fmla="*/ 0 h 74"/>
                <a:gd name="T14" fmla="*/ 57 w 72"/>
                <a:gd name="T15" fmla="*/ 0 h 74"/>
                <a:gd name="T16" fmla="*/ 51 w 72"/>
                <a:gd name="T17" fmla="*/ 4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2" h="74">
                  <a:moveTo>
                    <a:pt x="51" y="4"/>
                  </a:moveTo>
                  <a:cubicBezTo>
                    <a:pt x="48" y="29"/>
                    <a:pt x="29" y="49"/>
                    <a:pt x="4" y="53"/>
                  </a:cubicBezTo>
                  <a:cubicBezTo>
                    <a:pt x="2" y="54"/>
                    <a:pt x="0" y="56"/>
                    <a:pt x="0" y="58"/>
                  </a:cubicBezTo>
                  <a:cubicBezTo>
                    <a:pt x="0" y="68"/>
                    <a:pt x="0" y="68"/>
                    <a:pt x="0" y="68"/>
                  </a:cubicBezTo>
                  <a:cubicBezTo>
                    <a:pt x="0" y="71"/>
                    <a:pt x="3" y="74"/>
                    <a:pt x="6" y="73"/>
                  </a:cubicBezTo>
                  <a:cubicBezTo>
                    <a:pt x="40" y="68"/>
                    <a:pt x="67" y="40"/>
                    <a:pt x="71" y="6"/>
                  </a:cubicBezTo>
                  <a:cubicBezTo>
                    <a:pt x="72" y="2"/>
                    <a:pt x="69" y="0"/>
                    <a:pt x="66" y="0"/>
                  </a:cubicBezTo>
                  <a:cubicBezTo>
                    <a:pt x="57" y="0"/>
                    <a:pt x="57" y="0"/>
                    <a:pt x="57" y="0"/>
                  </a:cubicBezTo>
                  <a:cubicBezTo>
                    <a:pt x="54" y="0"/>
                    <a:pt x="52" y="2"/>
                    <a:pt x="51" y="4"/>
                  </a:cubicBezTo>
                  <a:close/>
                </a:path>
              </a:pathLst>
            </a:custGeom>
            <a:solidFill>
              <a:srgbClr val="88D5ED"/>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1" name="Freeform 259">
              <a:extLst>
                <a:ext uri="{FF2B5EF4-FFF2-40B4-BE49-F238E27FC236}">
                  <a16:creationId xmlns:a16="http://schemas.microsoft.com/office/drawing/2014/main" id="{1FF85A87-7803-4550-BCB2-2C0C2FAC5CAA}"/>
                </a:ext>
              </a:extLst>
            </p:cNvPr>
            <p:cNvSpPr>
              <a:spLocks/>
            </p:cNvSpPr>
            <p:nvPr/>
          </p:nvSpPr>
          <p:spPr bwMode="auto">
            <a:xfrm>
              <a:off x="9156699" y="5892800"/>
              <a:ext cx="269875" cy="263525"/>
            </a:xfrm>
            <a:custGeom>
              <a:avLst/>
              <a:gdLst>
                <a:gd name="T0" fmla="*/ 1 w 140"/>
                <a:gd name="T1" fmla="*/ 70 h 136"/>
                <a:gd name="T2" fmla="*/ 48 w 140"/>
                <a:gd name="T3" fmla="*/ 136 h 136"/>
                <a:gd name="T4" fmla="*/ 140 w 140"/>
                <a:gd name="T5" fmla="*/ 0 h 136"/>
                <a:gd name="T6" fmla="*/ 51 w 140"/>
                <a:gd name="T7" fmla="*/ 98 h 136"/>
                <a:gd name="T8" fmla="*/ 4 w 140"/>
                <a:gd name="T9" fmla="*/ 67 h 136"/>
                <a:gd name="T10" fmla="*/ 1 w 140"/>
                <a:gd name="T11" fmla="*/ 70 h 136"/>
              </a:gdLst>
              <a:ahLst/>
              <a:cxnLst>
                <a:cxn ang="0">
                  <a:pos x="T0" y="T1"/>
                </a:cxn>
                <a:cxn ang="0">
                  <a:pos x="T2" y="T3"/>
                </a:cxn>
                <a:cxn ang="0">
                  <a:pos x="T4" y="T5"/>
                </a:cxn>
                <a:cxn ang="0">
                  <a:pos x="T6" y="T7"/>
                </a:cxn>
                <a:cxn ang="0">
                  <a:pos x="T8" y="T9"/>
                </a:cxn>
                <a:cxn ang="0">
                  <a:pos x="T10" y="T11"/>
                </a:cxn>
              </a:cxnLst>
              <a:rect l="0" t="0" r="r" b="b"/>
              <a:pathLst>
                <a:path w="140" h="136">
                  <a:moveTo>
                    <a:pt x="1" y="70"/>
                  </a:moveTo>
                  <a:cubicBezTo>
                    <a:pt x="48" y="136"/>
                    <a:pt x="48" y="136"/>
                    <a:pt x="48" y="136"/>
                  </a:cubicBezTo>
                  <a:cubicBezTo>
                    <a:pt x="140" y="0"/>
                    <a:pt x="140" y="0"/>
                    <a:pt x="140" y="0"/>
                  </a:cubicBezTo>
                  <a:cubicBezTo>
                    <a:pt x="51" y="98"/>
                    <a:pt x="51" y="98"/>
                    <a:pt x="51" y="98"/>
                  </a:cubicBezTo>
                  <a:cubicBezTo>
                    <a:pt x="4" y="67"/>
                    <a:pt x="4" y="67"/>
                    <a:pt x="4" y="67"/>
                  </a:cubicBezTo>
                  <a:cubicBezTo>
                    <a:pt x="2" y="66"/>
                    <a:pt x="0" y="68"/>
                    <a:pt x="1" y="70"/>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dirty="0"/>
            </a:p>
          </p:txBody>
        </p:sp>
      </p:grpSp>
      <p:pic>
        <p:nvPicPr>
          <p:cNvPr id="3" name="Obraz 2">
            <a:extLst>
              <a:ext uri="{FF2B5EF4-FFF2-40B4-BE49-F238E27FC236}">
                <a16:creationId xmlns:a16="http://schemas.microsoft.com/office/drawing/2014/main" id="{B01E39BB-652F-447A-BCC5-F4BB5FA10DA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943934" y="3318145"/>
            <a:ext cx="3744416" cy="1997021"/>
          </a:xfrm>
          <a:prstGeom prst="roundRect">
            <a:avLst>
              <a:gd name="adj" fmla="val 5229"/>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p:spPr>
      </p:pic>
      <p:pic>
        <p:nvPicPr>
          <p:cNvPr id="44" name="Obraz 43">
            <a:extLst>
              <a:ext uri="{FF2B5EF4-FFF2-40B4-BE49-F238E27FC236}">
                <a16:creationId xmlns:a16="http://schemas.microsoft.com/office/drawing/2014/main" id="{E7578ADB-759C-421F-B0B3-47128F2D7F89}"/>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82358" y="3137792"/>
            <a:ext cx="2529265" cy="3369342"/>
          </a:xfrm>
          <a:prstGeom prst="rect">
            <a:avLst/>
          </a:prstGeom>
        </p:spPr>
      </p:pic>
    </p:spTree>
    <p:extLst>
      <p:ext uri="{BB962C8B-B14F-4D97-AF65-F5344CB8AC3E}">
        <p14:creationId xmlns:p14="http://schemas.microsoft.com/office/powerpoint/2010/main" val="2234114860"/>
      </p:ext>
    </p:extLst>
  </p:cSld>
  <p:clrMapOvr>
    <a:masterClrMapping/>
  </p:clrMapOvr>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ytuł 3">
            <a:extLst>
              <a:ext uri="{FF2B5EF4-FFF2-40B4-BE49-F238E27FC236}">
                <a16:creationId xmlns:a16="http://schemas.microsoft.com/office/drawing/2014/main" id="{BE6E47FB-5E55-45DB-B712-E4993D47A776}"/>
              </a:ext>
            </a:extLst>
          </p:cNvPr>
          <p:cNvSpPr>
            <a:spLocks noGrp="1"/>
          </p:cNvSpPr>
          <p:nvPr>
            <p:ph type="title"/>
          </p:nvPr>
        </p:nvSpPr>
        <p:spPr/>
        <p:txBody>
          <a:bodyPr/>
          <a:lstStyle/>
          <a:p>
            <a:r>
              <a:rPr lang="en-US" sz="3200" dirty="0"/>
              <a:t>Default interface members</a:t>
            </a:r>
          </a:p>
        </p:txBody>
      </p:sp>
      <p:sp>
        <p:nvSpPr>
          <p:cNvPr id="5" name="Symbol zastępczy tekstu 4">
            <a:extLst>
              <a:ext uri="{FF2B5EF4-FFF2-40B4-BE49-F238E27FC236}">
                <a16:creationId xmlns:a16="http://schemas.microsoft.com/office/drawing/2014/main" id="{566C6C9B-DE4F-4D57-8491-6FC8D45FC924}"/>
              </a:ext>
            </a:extLst>
          </p:cNvPr>
          <p:cNvSpPr>
            <a:spLocks noGrp="1"/>
          </p:cNvSpPr>
          <p:nvPr>
            <p:ph type="body" sz="quarter" idx="10"/>
          </p:nvPr>
        </p:nvSpPr>
        <p:spPr/>
        <p:txBody>
          <a:bodyPr/>
          <a:lstStyle/>
          <a:p>
            <a:endParaRPr lang="en-US" dirty="0"/>
          </a:p>
        </p:txBody>
      </p:sp>
      <p:sp>
        <p:nvSpPr>
          <p:cNvPr id="6" name="Symbol zastępczy tekstu 5">
            <a:extLst>
              <a:ext uri="{FF2B5EF4-FFF2-40B4-BE49-F238E27FC236}">
                <a16:creationId xmlns:a16="http://schemas.microsoft.com/office/drawing/2014/main" id="{1302AB4B-7554-47F7-BBCD-39BD33559A94}"/>
              </a:ext>
            </a:extLst>
          </p:cNvPr>
          <p:cNvSpPr>
            <a:spLocks noGrp="1"/>
          </p:cNvSpPr>
          <p:nvPr>
            <p:ph type="body" sz="quarter" idx="11"/>
          </p:nvPr>
        </p:nvSpPr>
        <p:spPr/>
        <p:txBody>
          <a:bodyPr/>
          <a:lstStyle/>
          <a:p>
            <a:r>
              <a:rPr lang="en-US" dirty="0"/>
              <a:t>C# 7.3 Abstract classes (new version)</a:t>
            </a:r>
          </a:p>
        </p:txBody>
      </p:sp>
      <p:sp>
        <p:nvSpPr>
          <p:cNvPr id="7" name="Symbol zastępczy tekstu 6">
            <a:extLst>
              <a:ext uri="{FF2B5EF4-FFF2-40B4-BE49-F238E27FC236}">
                <a16:creationId xmlns:a16="http://schemas.microsoft.com/office/drawing/2014/main" id="{5D8A2B1E-A86F-4A25-94A4-5CF446FD2951}"/>
              </a:ext>
            </a:extLst>
          </p:cNvPr>
          <p:cNvSpPr>
            <a:spLocks noGrp="1"/>
          </p:cNvSpPr>
          <p:nvPr>
            <p:ph type="body" sz="quarter" idx="12"/>
          </p:nvPr>
        </p:nvSpPr>
        <p:spPr/>
        <p:txBody>
          <a:bodyPr/>
          <a:lstStyle/>
          <a:p>
            <a:r>
              <a:rPr lang="en-US" dirty="0"/>
              <a:t>6</a:t>
            </a:r>
          </a:p>
        </p:txBody>
      </p:sp>
      <p:pic>
        <p:nvPicPr>
          <p:cNvPr id="9" name="Obraz 8">
            <a:extLst>
              <a:ext uri="{FF2B5EF4-FFF2-40B4-BE49-F238E27FC236}">
                <a16:creationId xmlns:a16="http://schemas.microsoft.com/office/drawing/2014/main" id="{00D69814-8CB4-490D-B53F-7BC763BE358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375600" y="1815351"/>
            <a:ext cx="7440798" cy="4478754"/>
          </a:xfrm>
          <a:prstGeom prst="rect">
            <a:avLst/>
          </a:prstGeom>
        </p:spPr>
      </p:pic>
    </p:spTree>
    <p:extLst>
      <p:ext uri="{BB962C8B-B14F-4D97-AF65-F5344CB8AC3E}">
        <p14:creationId xmlns:p14="http://schemas.microsoft.com/office/powerpoint/2010/main" val="3220792151"/>
      </p:ext>
    </p:extLst>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ytuł 3">
            <a:extLst>
              <a:ext uri="{FF2B5EF4-FFF2-40B4-BE49-F238E27FC236}">
                <a16:creationId xmlns:a16="http://schemas.microsoft.com/office/drawing/2014/main" id="{BE6E47FB-5E55-45DB-B712-E4993D47A776}"/>
              </a:ext>
            </a:extLst>
          </p:cNvPr>
          <p:cNvSpPr>
            <a:spLocks noGrp="1"/>
          </p:cNvSpPr>
          <p:nvPr>
            <p:ph type="title"/>
          </p:nvPr>
        </p:nvSpPr>
        <p:spPr/>
        <p:txBody>
          <a:bodyPr/>
          <a:lstStyle/>
          <a:p>
            <a:r>
              <a:rPr lang="en-US" sz="3200" dirty="0"/>
              <a:t>Default interface members</a:t>
            </a:r>
          </a:p>
        </p:txBody>
      </p:sp>
      <p:sp>
        <p:nvSpPr>
          <p:cNvPr id="5" name="Symbol zastępczy tekstu 4">
            <a:extLst>
              <a:ext uri="{FF2B5EF4-FFF2-40B4-BE49-F238E27FC236}">
                <a16:creationId xmlns:a16="http://schemas.microsoft.com/office/drawing/2014/main" id="{566C6C9B-DE4F-4D57-8491-6FC8D45FC924}"/>
              </a:ext>
            </a:extLst>
          </p:cNvPr>
          <p:cNvSpPr>
            <a:spLocks noGrp="1"/>
          </p:cNvSpPr>
          <p:nvPr>
            <p:ph type="body" sz="quarter" idx="10"/>
          </p:nvPr>
        </p:nvSpPr>
        <p:spPr/>
        <p:txBody>
          <a:bodyPr/>
          <a:lstStyle/>
          <a:p>
            <a:endParaRPr lang="en-US" dirty="0"/>
          </a:p>
        </p:txBody>
      </p:sp>
      <p:sp>
        <p:nvSpPr>
          <p:cNvPr id="6" name="Symbol zastępczy tekstu 5">
            <a:extLst>
              <a:ext uri="{FF2B5EF4-FFF2-40B4-BE49-F238E27FC236}">
                <a16:creationId xmlns:a16="http://schemas.microsoft.com/office/drawing/2014/main" id="{1302AB4B-7554-47F7-BBCD-39BD33559A94}"/>
              </a:ext>
            </a:extLst>
          </p:cNvPr>
          <p:cNvSpPr>
            <a:spLocks noGrp="1"/>
          </p:cNvSpPr>
          <p:nvPr>
            <p:ph type="body" sz="quarter" idx="11"/>
          </p:nvPr>
        </p:nvSpPr>
        <p:spPr/>
        <p:txBody>
          <a:bodyPr/>
          <a:lstStyle/>
          <a:p>
            <a:r>
              <a:rPr lang="en-US" dirty="0"/>
              <a:t>C# 7.3 - interface namespaces (old version)</a:t>
            </a:r>
          </a:p>
        </p:txBody>
      </p:sp>
      <p:sp>
        <p:nvSpPr>
          <p:cNvPr id="7" name="Symbol zastępczy tekstu 6">
            <a:extLst>
              <a:ext uri="{FF2B5EF4-FFF2-40B4-BE49-F238E27FC236}">
                <a16:creationId xmlns:a16="http://schemas.microsoft.com/office/drawing/2014/main" id="{5D8A2B1E-A86F-4A25-94A4-5CF446FD2951}"/>
              </a:ext>
            </a:extLst>
          </p:cNvPr>
          <p:cNvSpPr>
            <a:spLocks noGrp="1"/>
          </p:cNvSpPr>
          <p:nvPr>
            <p:ph type="body" sz="quarter" idx="12"/>
          </p:nvPr>
        </p:nvSpPr>
        <p:spPr/>
        <p:txBody>
          <a:bodyPr/>
          <a:lstStyle/>
          <a:p>
            <a:r>
              <a:rPr lang="en-US" dirty="0"/>
              <a:t>7</a:t>
            </a:r>
          </a:p>
        </p:txBody>
      </p:sp>
      <p:pic>
        <p:nvPicPr>
          <p:cNvPr id="8" name="Obraz 7">
            <a:extLst>
              <a:ext uri="{FF2B5EF4-FFF2-40B4-BE49-F238E27FC236}">
                <a16:creationId xmlns:a16="http://schemas.microsoft.com/office/drawing/2014/main" id="{B170976C-01B1-4FAF-BB03-FB56606B2DAB}"/>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034521" y="1815351"/>
            <a:ext cx="8122957" cy="4478754"/>
          </a:xfrm>
          <a:prstGeom prst="rect">
            <a:avLst/>
          </a:prstGeom>
        </p:spPr>
      </p:pic>
    </p:spTree>
    <p:extLst>
      <p:ext uri="{BB962C8B-B14F-4D97-AF65-F5344CB8AC3E}">
        <p14:creationId xmlns:p14="http://schemas.microsoft.com/office/powerpoint/2010/main" val="3290189516"/>
      </p:ext>
    </p:extLst>
  </p:cSld>
  <p:clrMapOvr>
    <a:masterClrMapping/>
  </p:clrMapOvr>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ytuł 3">
            <a:extLst>
              <a:ext uri="{FF2B5EF4-FFF2-40B4-BE49-F238E27FC236}">
                <a16:creationId xmlns:a16="http://schemas.microsoft.com/office/drawing/2014/main" id="{BE6E47FB-5E55-45DB-B712-E4993D47A776}"/>
              </a:ext>
            </a:extLst>
          </p:cNvPr>
          <p:cNvSpPr>
            <a:spLocks noGrp="1"/>
          </p:cNvSpPr>
          <p:nvPr>
            <p:ph type="title"/>
          </p:nvPr>
        </p:nvSpPr>
        <p:spPr/>
        <p:txBody>
          <a:bodyPr/>
          <a:lstStyle/>
          <a:p>
            <a:r>
              <a:rPr lang="en-US" sz="3200" dirty="0"/>
              <a:t>Default interface members</a:t>
            </a:r>
          </a:p>
        </p:txBody>
      </p:sp>
      <p:sp>
        <p:nvSpPr>
          <p:cNvPr id="5" name="Symbol zastępczy tekstu 4">
            <a:extLst>
              <a:ext uri="{FF2B5EF4-FFF2-40B4-BE49-F238E27FC236}">
                <a16:creationId xmlns:a16="http://schemas.microsoft.com/office/drawing/2014/main" id="{566C6C9B-DE4F-4D57-8491-6FC8D45FC924}"/>
              </a:ext>
            </a:extLst>
          </p:cNvPr>
          <p:cNvSpPr>
            <a:spLocks noGrp="1"/>
          </p:cNvSpPr>
          <p:nvPr>
            <p:ph type="body" sz="quarter" idx="10"/>
          </p:nvPr>
        </p:nvSpPr>
        <p:spPr/>
        <p:txBody>
          <a:bodyPr/>
          <a:lstStyle/>
          <a:p>
            <a:endParaRPr lang="en-US" dirty="0"/>
          </a:p>
        </p:txBody>
      </p:sp>
      <p:sp>
        <p:nvSpPr>
          <p:cNvPr id="6" name="Symbol zastępczy tekstu 5">
            <a:extLst>
              <a:ext uri="{FF2B5EF4-FFF2-40B4-BE49-F238E27FC236}">
                <a16:creationId xmlns:a16="http://schemas.microsoft.com/office/drawing/2014/main" id="{1302AB4B-7554-47F7-BBCD-39BD33559A94}"/>
              </a:ext>
            </a:extLst>
          </p:cNvPr>
          <p:cNvSpPr>
            <a:spLocks noGrp="1"/>
          </p:cNvSpPr>
          <p:nvPr>
            <p:ph type="body" sz="quarter" idx="11"/>
          </p:nvPr>
        </p:nvSpPr>
        <p:spPr/>
        <p:txBody>
          <a:bodyPr/>
          <a:lstStyle/>
          <a:p>
            <a:r>
              <a:rPr lang="en-US" dirty="0"/>
              <a:t>C# 7.3 Interface namespaces (compilation error)</a:t>
            </a:r>
          </a:p>
        </p:txBody>
      </p:sp>
      <p:sp>
        <p:nvSpPr>
          <p:cNvPr id="7" name="Symbol zastępczy tekstu 6">
            <a:extLst>
              <a:ext uri="{FF2B5EF4-FFF2-40B4-BE49-F238E27FC236}">
                <a16:creationId xmlns:a16="http://schemas.microsoft.com/office/drawing/2014/main" id="{5D8A2B1E-A86F-4A25-94A4-5CF446FD2951}"/>
              </a:ext>
            </a:extLst>
          </p:cNvPr>
          <p:cNvSpPr>
            <a:spLocks noGrp="1"/>
          </p:cNvSpPr>
          <p:nvPr>
            <p:ph type="body" sz="quarter" idx="12"/>
          </p:nvPr>
        </p:nvSpPr>
        <p:spPr/>
        <p:txBody>
          <a:bodyPr/>
          <a:lstStyle/>
          <a:p>
            <a:r>
              <a:rPr lang="en-US" dirty="0"/>
              <a:t>8</a:t>
            </a:r>
          </a:p>
        </p:txBody>
      </p:sp>
      <p:pic>
        <p:nvPicPr>
          <p:cNvPr id="8" name="Obraz 7">
            <a:extLst>
              <a:ext uri="{FF2B5EF4-FFF2-40B4-BE49-F238E27FC236}">
                <a16:creationId xmlns:a16="http://schemas.microsoft.com/office/drawing/2014/main" id="{330F2D7F-BB9A-4E48-AC3A-9AEBFCB8F4A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034521" y="1815351"/>
            <a:ext cx="8122957" cy="4478754"/>
          </a:xfrm>
          <a:prstGeom prst="rect">
            <a:avLst/>
          </a:prstGeom>
        </p:spPr>
      </p:pic>
    </p:spTree>
    <p:extLst>
      <p:ext uri="{BB962C8B-B14F-4D97-AF65-F5344CB8AC3E}">
        <p14:creationId xmlns:p14="http://schemas.microsoft.com/office/powerpoint/2010/main" val="742423767"/>
      </p:ext>
    </p:extLst>
  </p:cSld>
  <p:clrMapOvr>
    <a:masterClrMapping/>
  </p:clrMapOvr>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ytuł 3">
            <a:extLst>
              <a:ext uri="{FF2B5EF4-FFF2-40B4-BE49-F238E27FC236}">
                <a16:creationId xmlns:a16="http://schemas.microsoft.com/office/drawing/2014/main" id="{BE6E47FB-5E55-45DB-B712-E4993D47A776}"/>
              </a:ext>
            </a:extLst>
          </p:cNvPr>
          <p:cNvSpPr>
            <a:spLocks noGrp="1"/>
          </p:cNvSpPr>
          <p:nvPr>
            <p:ph type="title"/>
          </p:nvPr>
        </p:nvSpPr>
        <p:spPr/>
        <p:txBody>
          <a:bodyPr/>
          <a:lstStyle/>
          <a:p>
            <a:r>
              <a:rPr lang="en-US" sz="3200" dirty="0"/>
              <a:t>Default interface members</a:t>
            </a:r>
          </a:p>
        </p:txBody>
      </p:sp>
      <p:sp>
        <p:nvSpPr>
          <p:cNvPr id="5" name="Symbol zastępczy tekstu 4">
            <a:extLst>
              <a:ext uri="{FF2B5EF4-FFF2-40B4-BE49-F238E27FC236}">
                <a16:creationId xmlns:a16="http://schemas.microsoft.com/office/drawing/2014/main" id="{566C6C9B-DE4F-4D57-8491-6FC8D45FC924}"/>
              </a:ext>
            </a:extLst>
          </p:cNvPr>
          <p:cNvSpPr>
            <a:spLocks noGrp="1"/>
          </p:cNvSpPr>
          <p:nvPr>
            <p:ph type="body" sz="quarter" idx="10"/>
          </p:nvPr>
        </p:nvSpPr>
        <p:spPr/>
        <p:txBody>
          <a:bodyPr/>
          <a:lstStyle/>
          <a:p>
            <a:endParaRPr lang="en-US" dirty="0"/>
          </a:p>
        </p:txBody>
      </p:sp>
      <p:sp>
        <p:nvSpPr>
          <p:cNvPr id="6" name="Symbol zastępczy tekstu 5">
            <a:extLst>
              <a:ext uri="{FF2B5EF4-FFF2-40B4-BE49-F238E27FC236}">
                <a16:creationId xmlns:a16="http://schemas.microsoft.com/office/drawing/2014/main" id="{1302AB4B-7554-47F7-BBCD-39BD33559A94}"/>
              </a:ext>
            </a:extLst>
          </p:cNvPr>
          <p:cNvSpPr>
            <a:spLocks noGrp="1"/>
          </p:cNvSpPr>
          <p:nvPr>
            <p:ph type="body" sz="quarter" idx="11"/>
          </p:nvPr>
        </p:nvSpPr>
        <p:spPr/>
        <p:txBody>
          <a:bodyPr/>
          <a:lstStyle/>
          <a:p>
            <a:r>
              <a:rPr lang="en-US" dirty="0"/>
              <a:t>C# 7.3 Interface namespaces (persists old version)</a:t>
            </a:r>
          </a:p>
        </p:txBody>
      </p:sp>
      <p:sp>
        <p:nvSpPr>
          <p:cNvPr id="7" name="Symbol zastępczy tekstu 6">
            <a:extLst>
              <a:ext uri="{FF2B5EF4-FFF2-40B4-BE49-F238E27FC236}">
                <a16:creationId xmlns:a16="http://schemas.microsoft.com/office/drawing/2014/main" id="{5D8A2B1E-A86F-4A25-94A4-5CF446FD2951}"/>
              </a:ext>
            </a:extLst>
          </p:cNvPr>
          <p:cNvSpPr>
            <a:spLocks noGrp="1"/>
          </p:cNvSpPr>
          <p:nvPr>
            <p:ph type="body" sz="quarter" idx="12"/>
          </p:nvPr>
        </p:nvSpPr>
        <p:spPr/>
        <p:txBody>
          <a:bodyPr/>
          <a:lstStyle/>
          <a:p>
            <a:r>
              <a:rPr lang="en-US" dirty="0"/>
              <a:t>9</a:t>
            </a:r>
          </a:p>
        </p:txBody>
      </p:sp>
      <p:pic>
        <p:nvPicPr>
          <p:cNvPr id="8" name="Obraz 7">
            <a:extLst>
              <a:ext uri="{FF2B5EF4-FFF2-40B4-BE49-F238E27FC236}">
                <a16:creationId xmlns:a16="http://schemas.microsoft.com/office/drawing/2014/main" id="{E1E911A4-0B25-4CEB-9BEB-647D87911B8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034521" y="1815351"/>
            <a:ext cx="8122957" cy="4478754"/>
          </a:xfrm>
          <a:prstGeom prst="rect">
            <a:avLst/>
          </a:prstGeom>
        </p:spPr>
      </p:pic>
    </p:spTree>
    <p:extLst>
      <p:ext uri="{BB962C8B-B14F-4D97-AF65-F5344CB8AC3E}">
        <p14:creationId xmlns:p14="http://schemas.microsoft.com/office/powerpoint/2010/main" val="424869053"/>
      </p:ext>
    </p:extLst>
  </p:cSld>
  <p:clrMapOvr>
    <a:masterClrMapping/>
  </p:clrMapOvr>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ytuł 3">
            <a:extLst>
              <a:ext uri="{FF2B5EF4-FFF2-40B4-BE49-F238E27FC236}">
                <a16:creationId xmlns:a16="http://schemas.microsoft.com/office/drawing/2014/main" id="{BE6E47FB-5E55-45DB-B712-E4993D47A776}"/>
              </a:ext>
            </a:extLst>
          </p:cNvPr>
          <p:cNvSpPr>
            <a:spLocks noGrp="1"/>
          </p:cNvSpPr>
          <p:nvPr>
            <p:ph type="title"/>
          </p:nvPr>
        </p:nvSpPr>
        <p:spPr/>
        <p:txBody>
          <a:bodyPr/>
          <a:lstStyle/>
          <a:p>
            <a:r>
              <a:rPr lang="en-US" sz="3200" dirty="0"/>
              <a:t>Default interface members</a:t>
            </a:r>
          </a:p>
        </p:txBody>
      </p:sp>
      <p:sp>
        <p:nvSpPr>
          <p:cNvPr id="5" name="Symbol zastępczy tekstu 4">
            <a:extLst>
              <a:ext uri="{FF2B5EF4-FFF2-40B4-BE49-F238E27FC236}">
                <a16:creationId xmlns:a16="http://schemas.microsoft.com/office/drawing/2014/main" id="{566C6C9B-DE4F-4D57-8491-6FC8D45FC924}"/>
              </a:ext>
            </a:extLst>
          </p:cNvPr>
          <p:cNvSpPr>
            <a:spLocks noGrp="1"/>
          </p:cNvSpPr>
          <p:nvPr>
            <p:ph type="body" sz="quarter" idx="10"/>
          </p:nvPr>
        </p:nvSpPr>
        <p:spPr/>
        <p:txBody>
          <a:bodyPr/>
          <a:lstStyle/>
          <a:p>
            <a:endParaRPr lang="en-US" dirty="0"/>
          </a:p>
        </p:txBody>
      </p:sp>
      <p:sp>
        <p:nvSpPr>
          <p:cNvPr id="6" name="Symbol zastępczy tekstu 5">
            <a:extLst>
              <a:ext uri="{FF2B5EF4-FFF2-40B4-BE49-F238E27FC236}">
                <a16:creationId xmlns:a16="http://schemas.microsoft.com/office/drawing/2014/main" id="{1302AB4B-7554-47F7-BBCD-39BD33559A94}"/>
              </a:ext>
            </a:extLst>
          </p:cNvPr>
          <p:cNvSpPr>
            <a:spLocks noGrp="1"/>
          </p:cNvSpPr>
          <p:nvPr>
            <p:ph type="body" sz="quarter" idx="11"/>
          </p:nvPr>
        </p:nvSpPr>
        <p:spPr/>
        <p:txBody>
          <a:bodyPr/>
          <a:lstStyle/>
          <a:p>
            <a:r>
              <a:rPr lang="en-US" dirty="0"/>
              <a:t>C# 7.3 Interface namespaces (new version)</a:t>
            </a:r>
          </a:p>
        </p:txBody>
      </p:sp>
      <p:sp>
        <p:nvSpPr>
          <p:cNvPr id="7" name="Symbol zastępczy tekstu 6">
            <a:extLst>
              <a:ext uri="{FF2B5EF4-FFF2-40B4-BE49-F238E27FC236}">
                <a16:creationId xmlns:a16="http://schemas.microsoft.com/office/drawing/2014/main" id="{5D8A2B1E-A86F-4A25-94A4-5CF446FD2951}"/>
              </a:ext>
            </a:extLst>
          </p:cNvPr>
          <p:cNvSpPr>
            <a:spLocks noGrp="1"/>
          </p:cNvSpPr>
          <p:nvPr>
            <p:ph type="body" sz="quarter" idx="12"/>
          </p:nvPr>
        </p:nvSpPr>
        <p:spPr/>
        <p:txBody>
          <a:bodyPr/>
          <a:lstStyle/>
          <a:p>
            <a:r>
              <a:rPr lang="en-US" dirty="0"/>
              <a:t>10</a:t>
            </a:r>
          </a:p>
        </p:txBody>
      </p:sp>
      <p:pic>
        <p:nvPicPr>
          <p:cNvPr id="8" name="Obraz 7">
            <a:extLst>
              <a:ext uri="{FF2B5EF4-FFF2-40B4-BE49-F238E27FC236}">
                <a16:creationId xmlns:a16="http://schemas.microsoft.com/office/drawing/2014/main" id="{932C44C1-66FF-4C76-89CD-3EACA6C0BE5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034521" y="1815351"/>
            <a:ext cx="8122957" cy="4478754"/>
          </a:xfrm>
          <a:prstGeom prst="rect">
            <a:avLst/>
          </a:prstGeom>
        </p:spPr>
      </p:pic>
    </p:spTree>
    <p:extLst>
      <p:ext uri="{BB962C8B-B14F-4D97-AF65-F5344CB8AC3E}">
        <p14:creationId xmlns:p14="http://schemas.microsoft.com/office/powerpoint/2010/main" val="3556846108"/>
      </p:ext>
    </p:extLst>
  </p:cSld>
  <p:clrMapOvr>
    <a:masterClrMapping/>
  </p:clrMapOvr>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ytuł 3">
            <a:extLst>
              <a:ext uri="{FF2B5EF4-FFF2-40B4-BE49-F238E27FC236}">
                <a16:creationId xmlns:a16="http://schemas.microsoft.com/office/drawing/2014/main" id="{BE6E47FB-5E55-45DB-B712-E4993D47A776}"/>
              </a:ext>
            </a:extLst>
          </p:cNvPr>
          <p:cNvSpPr>
            <a:spLocks noGrp="1"/>
          </p:cNvSpPr>
          <p:nvPr>
            <p:ph type="title"/>
          </p:nvPr>
        </p:nvSpPr>
        <p:spPr/>
        <p:txBody>
          <a:bodyPr/>
          <a:lstStyle/>
          <a:p>
            <a:r>
              <a:rPr lang="en-US" sz="3200" dirty="0"/>
              <a:t>Default interface members</a:t>
            </a:r>
          </a:p>
        </p:txBody>
      </p:sp>
      <p:sp>
        <p:nvSpPr>
          <p:cNvPr id="5" name="Symbol zastępczy tekstu 4">
            <a:extLst>
              <a:ext uri="{FF2B5EF4-FFF2-40B4-BE49-F238E27FC236}">
                <a16:creationId xmlns:a16="http://schemas.microsoft.com/office/drawing/2014/main" id="{566C6C9B-DE4F-4D57-8491-6FC8D45FC924}"/>
              </a:ext>
            </a:extLst>
          </p:cNvPr>
          <p:cNvSpPr>
            <a:spLocks noGrp="1"/>
          </p:cNvSpPr>
          <p:nvPr>
            <p:ph type="body" sz="quarter" idx="10"/>
          </p:nvPr>
        </p:nvSpPr>
        <p:spPr/>
        <p:txBody>
          <a:bodyPr/>
          <a:lstStyle/>
          <a:p>
            <a:endParaRPr lang="en-US" dirty="0"/>
          </a:p>
        </p:txBody>
      </p:sp>
      <p:sp>
        <p:nvSpPr>
          <p:cNvPr id="6" name="Symbol zastępczy tekstu 5">
            <a:extLst>
              <a:ext uri="{FF2B5EF4-FFF2-40B4-BE49-F238E27FC236}">
                <a16:creationId xmlns:a16="http://schemas.microsoft.com/office/drawing/2014/main" id="{1302AB4B-7554-47F7-BBCD-39BD33559A94}"/>
              </a:ext>
            </a:extLst>
          </p:cNvPr>
          <p:cNvSpPr>
            <a:spLocks noGrp="1"/>
          </p:cNvSpPr>
          <p:nvPr>
            <p:ph type="body" sz="quarter" idx="11"/>
          </p:nvPr>
        </p:nvSpPr>
        <p:spPr/>
        <p:txBody>
          <a:bodyPr/>
          <a:lstStyle/>
          <a:p>
            <a:r>
              <a:rPr lang="en-US" dirty="0"/>
              <a:t>C# 8.0 – default interface members implementation (old version)</a:t>
            </a:r>
          </a:p>
        </p:txBody>
      </p:sp>
      <p:sp>
        <p:nvSpPr>
          <p:cNvPr id="7" name="Symbol zastępczy tekstu 6">
            <a:extLst>
              <a:ext uri="{FF2B5EF4-FFF2-40B4-BE49-F238E27FC236}">
                <a16:creationId xmlns:a16="http://schemas.microsoft.com/office/drawing/2014/main" id="{5D8A2B1E-A86F-4A25-94A4-5CF446FD2951}"/>
              </a:ext>
            </a:extLst>
          </p:cNvPr>
          <p:cNvSpPr>
            <a:spLocks noGrp="1"/>
          </p:cNvSpPr>
          <p:nvPr>
            <p:ph type="body" sz="quarter" idx="12"/>
          </p:nvPr>
        </p:nvSpPr>
        <p:spPr/>
        <p:txBody>
          <a:bodyPr/>
          <a:lstStyle/>
          <a:p>
            <a:r>
              <a:rPr lang="en-US" dirty="0"/>
              <a:t>11</a:t>
            </a:r>
          </a:p>
        </p:txBody>
      </p:sp>
      <p:pic>
        <p:nvPicPr>
          <p:cNvPr id="8" name="Obraz 7">
            <a:extLst>
              <a:ext uri="{FF2B5EF4-FFF2-40B4-BE49-F238E27FC236}">
                <a16:creationId xmlns:a16="http://schemas.microsoft.com/office/drawing/2014/main" id="{3EC86275-8829-4887-9D1D-459588B9C8F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742525" y="1815351"/>
            <a:ext cx="8706948" cy="4478754"/>
          </a:xfrm>
          <a:prstGeom prst="rect">
            <a:avLst/>
          </a:prstGeom>
        </p:spPr>
      </p:pic>
    </p:spTree>
    <p:extLst>
      <p:ext uri="{BB962C8B-B14F-4D97-AF65-F5344CB8AC3E}">
        <p14:creationId xmlns:p14="http://schemas.microsoft.com/office/powerpoint/2010/main" val="4049953463"/>
      </p:ext>
    </p:extLst>
  </p:cSld>
  <p:clrMapOvr>
    <a:masterClrMapping/>
  </p:clrMapOvr>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ytuł 3">
            <a:extLst>
              <a:ext uri="{FF2B5EF4-FFF2-40B4-BE49-F238E27FC236}">
                <a16:creationId xmlns:a16="http://schemas.microsoft.com/office/drawing/2014/main" id="{BE6E47FB-5E55-45DB-B712-E4993D47A776}"/>
              </a:ext>
            </a:extLst>
          </p:cNvPr>
          <p:cNvSpPr>
            <a:spLocks noGrp="1"/>
          </p:cNvSpPr>
          <p:nvPr>
            <p:ph type="title"/>
          </p:nvPr>
        </p:nvSpPr>
        <p:spPr/>
        <p:txBody>
          <a:bodyPr/>
          <a:lstStyle/>
          <a:p>
            <a:r>
              <a:rPr lang="en-US" sz="3200" dirty="0"/>
              <a:t>Default interface members</a:t>
            </a:r>
          </a:p>
        </p:txBody>
      </p:sp>
      <p:sp>
        <p:nvSpPr>
          <p:cNvPr id="5" name="Symbol zastępczy tekstu 4">
            <a:extLst>
              <a:ext uri="{FF2B5EF4-FFF2-40B4-BE49-F238E27FC236}">
                <a16:creationId xmlns:a16="http://schemas.microsoft.com/office/drawing/2014/main" id="{566C6C9B-DE4F-4D57-8491-6FC8D45FC924}"/>
              </a:ext>
            </a:extLst>
          </p:cNvPr>
          <p:cNvSpPr>
            <a:spLocks noGrp="1"/>
          </p:cNvSpPr>
          <p:nvPr>
            <p:ph type="body" sz="quarter" idx="10"/>
          </p:nvPr>
        </p:nvSpPr>
        <p:spPr/>
        <p:txBody>
          <a:bodyPr/>
          <a:lstStyle/>
          <a:p>
            <a:endParaRPr lang="en-US" dirty="0"/>
          </a:p>
        </p:txBody>
      </p:sp>
      <p:sp>
        <p:nvSpPr>
          <p:cNvPr id="6" name="Symbol zastępczy tekstu 5">
            <a:extLst>
              <a:ext uri="{FF2B5EF4-FFF2-40B4-BE49-F238E27FC236}">
                <a16:creationId xmlns:a16="http://schemas.microsoft.com/office/drawing/2014/main" id="{1302AB4B-7554-47F7-BBCD-39BD33559A94}"/>
              </a:ext>
            </a:extLst>
          </p:cNvPr>
          <p:cNvSpPr>
            <a:spLocks noGrp="1"/>
          </p:cNvSpPr>
          <p:nvPr>
            <p:ph type="body" sz="quarter" idx="11"/>
          </p:nvPr>
        </p:nvSpPr>
        <p:spPr/>
        <p:txBody>
          <a:bodyPr/>
          <a:lstStyle/>
          <a:p>
            <a:r>
              <a:rPr lang="en-US" dirty="0"/>
              <a:t>C# 8.0 – default interface members implementation (new version)</a:t>
            </a:r>
          </a:p>
        </p:txBody>
      </p:sp>
      <p:sp>
        <p:nvSpPr>
          <p:cNvPr id="7" name="Symbol zastępczy tekstu 6">
            <a:extLst>
              <a:ext uri="{FF2B5EF4-FFF2-40B4-BE49-F238E27FC236}">
                <a16:creationId xmlns:a16="http://schemas.microsoft.com/office/drawing/2014/main" id="{5D8A2B1E-A86F-4A25-94A4-5CF446FD2951}"/>
              </a:ext>
            </a:extLst>
          </p:cNvPr>
          <p:cNvSpPr>
            <a:spLocks noGrp="1"/>
          </p:cNvSpPr>
          <p:nvPr>
            <p:ph type="body" sz="quarter" idx="12"/>
          </p:nvPr>
        </p:nvSpPr>
        <p:spPr/>
        <p:txBody>
          <a:bodyPr/>
          <a:lstStyle/>
          <a:p>
            <a:r>
              <a:rPr lang="en-US" dirty="0"/>
              <a:t>12</a:t>
            </a:r>
          </a:p>
        </p:txBody>
      </p:sp>
      <p:pic>
        <p:nvPicPr>
          <p:cNvPr id="8" name="Obraz 7">
            <a:extLst>
              <a:ext uri="{FF2B5EF4-FFF2-40B4-BE49-F238E27FC236}">
                <a16:creationId xmlns:a16="http://schemas.microsoft.com/office/drawing/2014/main" id="{3EC86275-8829-4887-9D1D-459588B9C8F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742525" y="1815351"/>
            <a:ext cx="8706948" cy="4478754"/>
          </a:xfrm>
          <a:prstGeom prst="rect">
            <a:avLst/>
          </a:prstGeom>
        </p:spPr>
      </p:pic>
    </p:spTree>
    <p:extLst>
      <p:ext uri="{BB962C8B-B14F-4D97-AF65-F5344CB8AC3E}">
        <p14:creationId xmlns:p14="http://schemas.microsoft.com/office/powerpoint/2010/main" val="1840983870"/>
      </p:ext>
    </p:extLst>
  </p:cSld>
  <p:clrMapOvr>
    <a:masterClrMapping/>
  </p:clrMapOvr>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ytuł 3">
            <a:extLst>
              <a:ext uri="{FF2B5EF4-FFF2-40B4-BE49-F238E27FC236}">
                <a16:creationId xmlns:a16="http://schemas.microsoft.com/office/drawing/2014/main" id="{BE6E47FB-5E55-45DB-B712-E4993D47A776}"/>
              </a:ext>
            </a:extLst>
          </p:cNvPr>
          <p:cNvSpPr>
            <a:spLocks noGrp="1"/>
          </p:cNvSpPr>
          <p:nvPr>
            <p:ph type="title"/>
          </p:nvPr>
        </p:nvSpPr>
        <p:spPr/>
        <p:txBody>
          <a:bodyPr/>
          <a:lstStyle/>
          <a:p>
            <a:r>
              <a:rPr lang="en-US" sz="3200" dirty="0"/>
              <a:t>Default interface members</a:t>
            </a:r>
          </a:p>
        </p:txBody>
      </p:sp>
      <p:sp>
        <p:nvSpPr>
          <p:cNvPr id="5" name="Symbol zastępczy tekstu 4">
            <a:extLst>
              <a:ext uri="{FF2B5EF4-FFF2-40B4-BE49-F238E27FC236}">
                <a16:creationId xmlns:a16="http://schemas.microsoft.com/office/drawing/2014/main" id="{566C6C9B-DE4F-4D57-8491-6FC8D45FC924}"/>
              </a:ext>
            </a:extLst>
          </p:cNvPr>
          <p:cNvSpPr>
            <a:spLocks noGrp="1"/>
          </p:cNvSpPr>
          <p:nvPr>
            <p:ph type="body" sz="quarter" idx="10"/>
          </p:nvPr>
        </p:nvSpPr>
        <p:spPr/>
        <p:txBody>
          <a:bodyPr/>
          <a:lstStyle/>
          <a:p>
            <a:endParaRPr lang="en-US" dirty="0"/>
          </a:p>
        </p:txBody>
      </p:sp>
      <p:sp>
        <p:nvSpPr>
          <p:cNvPr id="6" name="Symbol zastępczy tekstu 5">
            <a:extLst>
              <a:ext uri="{FF2B5EF4-FFF2-40B4-BE49-F238E27FC236}">
                <a16:creationId xmlns:a16="http://schemas.microsoft.com/office/drawing/2014/main" id="{1302AB4B-7554-47F7-BBCD-39BD33559A94}"/>
              </a:ext>
            </a:extLst>
          </p:cNvPr>
          <p:cNvSpPr>
            <a:spLocks noGrp="1"/>
          </p:cNvSpPr>
          <p:nvPr>
            <p:ph type="body" sz="quarter" idx="11"/>
          </p:nvPr>
        </p:nvSpPr>
        <p:spPr/>
        <p:txBody>
          <a:bodyPr/>
          <a:lstStyle/>
          <a:p>
            <a:r>
              <a:rPr lang="en-US" dirty="0"/>
              <a:t>C# 8.0 – default interface members implementation (new version)</a:t>
            </a:r>
          </a:p>
        </p:txBody>
      </p:sp>
      <p:sp>
        <p:nvSpPr>
          <p:cNvPr id="7" name="Symbol zastępczy tekstu 6">
            <a:extLst>
              <a:ext uri="{FF2B5EF4-FFF2-40B4-BE49-F238E27FC236}">
                <a16:creationId xmlns:a16="http://schemas.microsoft.com/office/drawing/2014/main" id="{5D8A2B1E-A86F-4A25-94A4-5CF446FD2951}"/>
              </a:ext>
            </a:extLst>
          </p:cNvPr>
          <p:cNvSpPr>
            <a:spLocks noGrp="1"/>
          </p:cNvSpPr>
          <p:nvPr>
            <p:ph type="body" sz="quarter" idx="12"/>
          </p:nvPr>
        </p:nvSpPr>
        <p:spPr/>
        <p:txBody>
          <a:bodyPr/>
          <a:lstStyle/>
          <a:p>
            <a:r>
              <a:rPr lang="en-US" dirty="0"/>
              <a:t>13</a:t>
            </a:r>
          </a:p>
        </p:txBody>
      </p:sp>
      <p:pic>
        <p:nvPicPr>
          <p:cNvPr id="8" name="Obraz 7">
            <a:extLst>
              <a:ext uri="{FF2B5EF4-FFF2-40B4-BE49-F238E27FC236}">
                <a16:creationId xmlns:a16="http://schemas.microsoft.com/office/drawing/2014/main" id="{3EC86275-8829-4887-9D1D-459588B9C8F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732354" y="1815351"/>
            <a:ext cx="8727291" cy="4478753"/>
          </a:xfrm>
          <a:prstGeom prst="rect">
            <a:avLst/>
          </a:prstGeom>
        </p:spPr>
      </p:pic>
    </p:spTree>
    <p:extLst>
      <p:ext uri="{BB962C8B-B14F-4D97-AF65-F5344CB8AC3E}">
        <p14:creationId xmlns:p14="http://schemas.microsoft.com/office/powerpoint/2010/main" val="3088317512"/>
      </p:ext>
    </p:extLst>
  </p:cSld>
  <p:clrMapOvr>
    <a:masterClrMapping/>
  </p:clrMapOvr>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pl-PL" dirty="0"/>
              <a:t>Agenda</a:t>
            </a:r>
            <a:endParaRPr lang="en-GB" dirty="0"/>
          </a:p>
        </p:txBody>
      </p:sp>
      <p:sp>
        <p:nvSpPr>
          <p:cNvPr id="5" name="Text Placeholder 4"/>
          <p:cNvSpPr>
            <a:spLocks noGrp="1"/>
          </p:cNvSpPr>
          <p:nvPr>
            <p:ph type="body" sz="quarter" idx="10"/>
          </p:nvPr>
        </p:nvSpPr>
        <p:spPr/>
        <p:txBody>
          <a:bodyPr/>
          <a:lstStyle/>
          <a:p>
            <a:pPr lvl="1"/>
            <a:r>
              <a:rPr lang="en-US" dirty="0">
                <a:solidFill>
                  <a:schemeClr val="bg1">
                    <a:lumMod val="95000"/>
                  </a:schemeClr>
                </a:solidFill>
              </a:rPr>
              <a:t>What’s new in C# 8.0</a:t>
            </a:r>
          </a:p>
          <a:p>
            <a:pPr lvl="2"/>
            <a:r>
              <a:rPr lang="en-US" dirty="0">
                <a:solidFill>
                  <a:schemeClr val="bg1">
                    <a:lumMod val="95000"/>
                  </a:schemeClr>
                </a:solidFill>
              </a:rPr>
              <a:t>Nullable reference types,</a:t>
            </a:r>
          </a:p>
          <a:p>
            <a:pPr lvl="2"/>
            <a:r>
              <a:rPr lang="en-US" dirty="0">
                <a:solidFill>
                  <a:schemeClr val="bg1">
                    <a:lumMod val="95000"/>
                  </a:schemeClr>
                </a:solidFill>
              </a:rPr>
              <a:t>async streams,</a:t>
            </a:r>
          </a:p>
          <a:p>
            <a:pPr lvl="2"/>
            <a:r>
              <a:rPr lang="en-US" dirty="0">
                <a:solidFill>
                  <a:schemeClr val="bg1">
                    <a:lumMod val="95000"/>
                  </a:schemeClr>
                </a:solidFill>
              </a:rPr>
              <a:t>ranges and indices,</a:t>
            </a:r>
          </a:p>
          <a:p>
            <a:pPr lvl="2"/>
            <a:r>
              <a:rPr lang="en-US" dirty="0">
                <a:solidFill>
                  <a:schemeClr val="bg1">
                    <a:lumMod val="95000"/>
                  </a:schemeClr>
                </a:solidFill>
              </a:rPr>
              <a:t>default interface members,</a:t>
            </a:r>
          </a:p>
          <a:p>
            <a:pPr lvl="2"/>
            <a:r>
              <a:rPr lang="en-US" dirty="0">
                <a:solidFill>
                  <a:schemeClr val="bg1">
                    <a:lumMod val="95000"/>
                  </a:schemeClr>
                </a:solidFill>
              </a:rPr>
              <a:t>recursive patterns,</a:t>
            </a:r>
          </a:p>
          <a:p>
            <a:pPr lvl="2"/>
            <a:r>
              <a:rPr lang="en-US" dirty="0">
                <a:solidFill>
                  <a:schemeClr val="bg1">
                    <a:lumMod val="95000"/>
                  </a:schemeClr>
                </a:solidFill>
              </a:rPr>
              <a:t>switch expressions,</a:t>
            </a:r>
          </a:p>
          <a:p>
            <a:pPr lvl="2"/>
            <a:r>
              <a:rPr lang="en-US" dirty="0">
                <a:solidFill>
                  <a:schemeClr val="bg1">
                    <a:lumMod val="95000"/>
                  </a:schemeClr>
                </a:solidFill>
              </a:rPr>
              <a:t>target-typed new-expressions,</a:t>
            </a:r>
          </a:p>
          <a:p>
            <a:pPr lvl="2"/>
            <a:r>
              <a:rPr lang="en-US" dirty="0">
                <a:solidFill>
                  <a:schemeClr val="bg1">
                    <a:lumMod val="95000"/>
                  </a:schemeClr>
                </a:solidFill>
              </a:rPr>
              <a:t>extension everything,</a:t>
            </a:r>
          </a:p>
          <a:p>
            <a:pPr lvl="2"/>
            <a:r>
              <a:rPr lang="en-US" dirty="0">
                <a:solidFill>
                  <a:schemeClr val="bg1">
                    <a:lumMod val="95000"/>
                  </a:schemeClr>
                </a:solidFill>
              </a:rPr>
              <a:t>using declarations.</a:t>
            </a:r>
            <a:endParaRPr lang="en-GB" dirty="0">
              <a:solidFill>
                <a:schemeClr val="bg1">
                  <a:lumMod val="95000"/>
                </a:schemeClr>
              </a:solidFill>
            </a:endParaRPr>
          </a:p>
          <a:p>
            <a:pPr lvl="2"/>
            <a:endParaRPr lang="en-GB" dirty="0">
              <a:solidFill>
                <a:schemeClr val="bg1">
                  <a:lumMod val="95000"/>
                </a:schemeClr>
              </a:solidFill>
            </a:endParaRPr>
          </a:p>
        </p:txBody>
      </p:sp>
      <p:sp>
        <p:nvSpPr>
          <p:cNvPr id="6" name="Text Placeholder 5"/>
          <p:cNvSpPr>
            <a:spLocks noGrp="1"/>
          </p:cNvSpPr>
          <p:nvPr>
            <p:ph type="body" sz="quarter" idx="11"/>
          </p:nvPr>
        </p:nvSpPr>
        <p:spPr/>
        <p:txBody>
          <a:bodyPr/>
          <a:lstStyle/>
          <a:p>
            <a:r>
              <a:rPr lang="en-US" dirty="0"/>
              <a:t>We are going to talk about…</a:t>
            </a:r>
          </a:p>
        </p:txBody>
      </p:sp>
      <p:sp>
        <p:nvSpPr>
          <p:cNvPr id="7" name="Text Placeholder 4">
            <a:extLst>
              <a:ext uri="{FF2B5EF4-FFF2-40B4-BE49-F238E27FC236}">
                <a16:creationId xmlns:a16="http://schemas.microsoft.com/office/drawing/2014/main" id="{63765791-BF79-472B-ACEA-FA2DB95D860D}"/>
              </a:ext>
            </a:extLst>
          </p:cNvPr>
          <p:cNvSpPr txBox="1">
            <a:spLocks/>
          </p:cNvSpPr>
          <p:nvPr/>
        </p:nvSpPr>
        <p:spPr>
          <a:xfrm>
            <a:off x="227348" y="1815351"/>
            <a:ext cx="11700000" cy="4466201"/>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r>
              <a:rPr lang="en-US" dirty="0"/>
              <a:t>What’s new in C# 8.0</a:t>
            </a:r>
          </a:p>
          <a:p>
            <a:pPr lvl="2"/>
            <a:r>
              <a:rPr lang="en-US" dirty="0"/>
              <a:t>Nullable reference types,</a:t>
            </a:r>
          </a:p>
          <a:p>
            <a:pPr lvl="2"/>
            <a:r>
              <a:rPr lang="en-US" dirty="0"/>
              <a:t>async streams,</a:t>
            </a:r>
          </a:p>
          <a:p>
            <a:pPr lvl="2"/>
            <a:r>
              <a:rPr lang="en-US" dirty="0"/>
              <a:t>ranges and indices,</a:t>
            </a:r>
          </a:p>
          <a:p>
            <a:pPr lvl="2"/>
            <a:r>
              <a:rPr lang="en-US" dirty="0"/>
              <a:t>default interface members,</a:t>
            </a:r>
          </a:p>
          <a:p>
            <a:pPr lvl="2"/>
            <a:r>
              <a:rPr lang="en-US" dirty="0"/>
              <a:t>recursive patterns,</a:t>
            </a:r>
          </a:p>
        </p:txBody>
      </p:sp>
    </p:spTree>
    <p:extLst>
      <p:ext uri="{BB962C8B-B14F-4D97-AF65-F5344CB8AC3E}">
        <p14:creationId xmlns:p14="http://schemas.microsoft.com/office/powerpoint/2010/main" val="202426974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
                                            <p:txEl>
                                              <p:pRg st="5" end="5"/>
                                            </p:txEl>
                                          </p:spTgt>
                                        </p:tgtEl>
                                        <p:attrNameLst>
                                          <p:attrName>style.visibility</p:attrName>
                                        </p:attrNameLst>
                                      </p:cBhvr>
                                      <p:to>
                                        <p:strVal val="visible"/>
                                      </p:to>
                                    </p:set>
                                    <p:animEffect transition="in" filter="fade">
                                      <p:cBhvr>
                                        <p:cTn id="7" dur="500"/>
                                        <p:tgtEl>
                                          <p:spTgt spid="7">
                                            <p:txEl>
                                              <p:pRg st="5" end="5"/>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1">
            <a:extLst>
              <a:ext uri="{FF2B5EF4-FFF2-40B4-BE49-F238E27FC236}">
                <a16:creationId xmlns:a16="http://schemas.microsoft.com/office/drawing/2014/main" id="{D1007795-05AB-4612-8DE8-7B5FC91A6AA5}"/>
              </a:ext>
            </a:extLst>
          </p:cNvPr>
          <p:cNvSpPr>
            <a:spLocks noGrp="1"/>
          </p:cNvSpPr>
          <p:nvPr>
            <p:ph type="pic" sz="quarter" idx="10"/>
          </p:nvPr>
        </p:nvSpPr>
        <p:spPr/>
      </p:sp>
      <p:sp>
        <p:nvSpPr>
          <p:cNvPr id="6" name="Symbol zastępczy tekstu 5">
            <a:extLst>
              <a:ext uri="{FF2B5EF4-FFF2-40B4-BE49-F238E27FC236}">
                <a16:creationId xmlns:a16="http://schemas.microsoft.com/office/drawing/2014/main" id="{EC19D1F0-CA19-48E4-B6B7-FE7D3388EB92}"/>
              </a:ext>
            </a:extLst>
          </p:cNvPr>
          <p:cNvSpPr>
            <a:spLocks noGrp="1"/>
          </p:cNvSpPr>
          <p:nvPr>
            <p:ph type="body" sz="quarter" idx="11"/>
          </p:nvPr>
        </p:nvSpPr>
        <p:spPr/>
        <p:txBody>
          <a:bodyPr/>
          <a:lstStyle/>
          <a:p>
            <a:r>
              <a:rPr lang="en-US" dirty="0"/>
              <a:t>What’s new in C# 8.0</a:t>
            </a:r>
          </a:p>
          <a:p>
            <a:r>
              <a:rPr lang="en-US" sz="2400" dirty="0"/>
              <a:t>Recursive patterns</a:t>
            </a:r>
          </a:p>
        </p:txBody>
      </p:sp>
      <p:sp>
        <p:nvSpPr>
          <p:cNvPr id="7" name="Freeform 37">
            <a:extLst>
              <a:ext uri="{FF2B5EF4-FFF2-40B4-BE49-F238E27FC236}">
                <a16:creationId xmlns:a16="http://schemas.microsoft.com/office/drawing/2014/main" id="{9745EBCE-44DB-449B-9BF1-56D2C53D9B4F}"/>
              </a:ext>
            </a:extLst>
          </p:cNvPr>
          <p:cNvSpPr>
            <a:spLocks/>
          </p:cNvSpPr>
          <p:nvPr/>
        </p:nvSpPr>
        <p:spPr bwMode="auto">
          <a:xfrm>
            <a:off x="8830800" y="3578400"/>
            <a:ext cx="844550" cy="793750"/>
          </a:xfrm>
          <a:custGeom>
            <a:avLst/>
            <a:gdLst>
              <a:gd name="T0" fmla="*/ 51 w 440"/>
              <a:gd name="T1" fmla="*/ 298 h 410"/>
              <a:gd name="T2" fmla="*/ 128 w 440"/>
              <a:gd name="T3" fmla="*/ 48 h 410"/>
              <a:gd name="T4" fmla="*/ 389 w 440"/>
              <a:gd name="T5" fmla="*/ 122 h 410"/>
              <a:gd name="T6" fmla="*/ 307 w 440"/>
              <a:gd name="T7" fmla="*/ 362 h 410"/>
              <a:gd name="T8" fmla="*/ 51 w 440"/>
              <a:gd name="T9" fmla="*/ 298 h 410"/>
            </a:gdLst>
            <a:ahLst/>
            <a:cxnLst>
              <a:cxn ang="0">
                <a:pos x="T0" y="T1"/>
              </a:cxn>
              <a:cxn ang="0">
                <a:pos x="T2" y="T3"/>
              </a:cxn>
              <a:cxn ang="0">
                <a:pos x="T4" y="T5"/>
              </a:cxn>
              <a:cxn ang="0">
                <a:pos x="T6" y="T7"/>
              </a:cxn>
              <a:cxn ang="0">
                <a:pos x="T8" y="T9"/>
              </a:cxn>
            </a:cxnLst>
            <a:rect l="0" t="0" r="r" b="b"/>
            <a:pathLst>
              <a:path w="440" h="410">
                <a:moveTo>
                  <a:pt x="51" y="298"/>
                </a:moveTo>
                <a:cubicBezTo>
                  <a:pt x="0" y="209"/>
                  <a:pt x="34" y="97"/>
                  <a:pt x="128" y="48"/>
                </a:cubicBezTo>
                <a:cubicBezTo>
                  <a:pt x="221" y="0"/>
                  <a:pt x="338" y="33"/>
                  <a:pt x="389" y="122"/>
                </a:cubicBezTo>
                <a:cubicBezTo>
                  <a:pt x="440" y="212"/>
                  <a:pt x="400" y="313"/>
                  <a:pt x="307" y="362"/>
                </a:cubicBezTo>
                <a:cubicBezTo>
                  <a:pt x="214" y="410"/>
                  <a:pt x="102" y="388"/>
                  <a:pt x="51" y="298"/>
                </a:cubicBezTo>
              </a:path>
            </a:pathLst>
          </a:custGeom>
          <a:solidFill>
            <a:srgbClr val="860864"/>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8" name="Oval 20">
            <a:extLst>
              <a:ext uri="{FF2B5EF4-FFF2-40B4-BE49-F238E27FC236}">
                <a16:creationId xmlns:a16="http://schemas.microsoft.com/office/drawing/2014/main" id="{E2C0C437-8315-47EF-BBB6-455EC6CF3953}"/>
              </a:ext>
            </a:extLst>
          </p:cNvPr>
          <p:cNvSpPr/>
          <p:nvPr/>
        </p:nvSpPr>
        <p:spPr>
          <a:xfrm>
            <a:off x="6899617" y="3501008"/>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9" name="Oval 20">
            <a:extLst>
              <a:ext uri="{FF2B5EF4-FFF2-40B4-BE49-F238E27FC236}">
                <a16:creationId xmlns:a16="http://schemas.microsoft.com/office/drawing/2014/main" id="{537199B0-49B3-4E44-9084-C8069C8026BE}"/>
              </a:ext>
            </a:extLst>
          </p:cNvPr>
          <p:cNvSpPr/>
          <p:nvPr/>
        </p:nvSpPr>
        <p:spPr>
          <a:xfrm>
            <a:off x="8904312" y="4263464"/>
            <a:ext cx="1356623" cy="128178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14" name="Group 5">
            <a:extLst>
              <a:ext uri="{FF2B5EF4-FFF2-40B4-BE49-F238E27FC236}">
                <a16:creationId xmlns:a16="http://schemas.microsoft.com/office/drawing/2014/main" id="{1D4B83B9-2708-477A-AA39-D415A376C4BC}"/>
              </a:ext>
            </a:extLst>
          </p:cNvPr>
          <p:cNvGrpSpPr/>
          <p:nvPr/>
        </p:nvGrpSpPr>
        <p:grpSpPr>
          <a:xfrm>
            <a:off x="7304483" y="3778223"/>
            <a:ext cx="1294116" cy="1262444"/>
            <a:chOff x="5354639" y="2595450"/>
            <a:chExt cx="454025" cy="442913"/>
          </a:xfrm>
        </p:grpSpPr>
        <p:sp>
          <p:nvSpPr>
            <p:cNvPr id="16" name="Freeform 55">
              <a:extLst>
                <a:ext uri="{FF2B5EF4-FFF2-40B4-BE49-F238E27FC236}">
                  <a16:creationId xmlns:a16="http://schemas.microsoft.com/office/drawing/2014/main" id="{55FB002D-73DF-4356-815C-002A27E40F6E}"/>
                </a:ext>
              </a:extLst>
            </p:cNvPr>
            <p:cNvSpPr>
              <a:spLocks noEditPoints="1"/>
            </p:cNvSpPr>
            <p:nvPr/>
          </p:nvSpPr>
          <p:spPr bwMode="auto">
            <a:xfrm>
              <a:off x="5354639" y="2595450"/>
              <a:ext cx="454025" cy="442913"/>
            </a:xfrm>
            <a:custGeom>
              <a:avLst/>
              <a:gdLst>
                <a:gd name="T0" fmla="*/ 17 w 237"/>
                <a:gd name="T1" fmla="*/ 220 h 229"/>
                <a:gd name="T2" fmla="*/ 51 w 237"/>
                <a:gd name="T3" fmla="*/ 220 h 229"/>
                <a:gd name="T4" fmla="*/ 122 w 237"/>
                <a:gd name="T5" fmla="*/ 149 h 229"/>
                <a:gd name="T6" fmla="*/ 208 w 237"/>
                <a:gd name="T7" fmla="*/ 135 h 229"/>
                <a:gd name="T8" fmla="*/ 208 w 237"/>
                <a:gd name="T9" fmla="*/ 29 h 229"/>
                <a:gd name="T10" fmla="*/ 103 w 237"/>
                <a:gd name="T11" fmla="*/ 29 h 229"/>
                <a:gd name="T12" fmla="*/ 89 w 237"/>
                <a:gd name="T13" fmla="*/ 116 h 229"/>
                <a:gd name="T14" fmla="*/ 0 w 237"/>
                <a:gd name="T15" fmla="*/ 205 h 229"/>
                <a:gd name="T16" fmla="*/ 116 w 237"/>
                <a:gd name="T17" fmla="*/ 43 h 229"/>
                <a:gd name="T18" fmla="*/ 195 w 237"/>
                <a:gd name="T19" fmla="*/ 43 h 229"/>
                <a:gd name="T20" fmla="*/ 195 w 237"/>
                <a:gd name="T21" fmla="*/ 122 h 229"/>
                <a:gd name="T22" fmla="*/ 116 w 237"/>
                <a:gd name="T23" fmla="*/ 122 h 229"/>
                <a:gd name="T24" fmla="*/ 116 w 237"/>
                <a:gd name="T25" fmla="*/ 43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37" h="229">
                  <a:moveTo>
                    <a:pt x="17" y="220"/>
                  </a:moveTo>
                  <a:cubicBezTo>
                    <a:pt x="27" y="229"/>
                    <a:pt x="41" y="229"/>
                    <a:pt x="51" y="220"/>
                  </a:cubicBezTo>
                  <a:cubicBezTo>
                    <a:pt x="122" y="149"/>
                    <a:pt x="122" y="149"/>
                    <a:pt x="122" y="149"/>
                  </a:cubicBezTo>
                  <a:cubicBezTo>
                    <a:pt x="150" y="163"/>
                    <a:pt x="185" y="158"/>
                    <a:pt x="208" y="135"/>
                  </a:cubicBezTo>
                  <a:cubicBezTo>
                    <a:pt x="237" y="106"/>
                    <a:pt x="237" y="59"/>
                    <a:pt x="208" y="29"/>
                  </a:cubicBezTo>
                  <a:cubicBezTo>
                    <a:pt x="179" y="0"/>
                    <a:pt x="132" y="0"/>
                    <a:pt x="103" y="29"/>
                  </a:cubicBezTo>
                  <a:cubicBezTo>
                    <a:pt x="79" y="53"/>
                    <a:pt x="75" y="88"/>
                    <a:pt x="89" y="116"/>
                  </a:cubicBezTo>
                  <a:cubicBezTo>
                    <a:pt x="0" y="205"/>
                    <a:pt x="0" y="205"/>
                    <a:pt x="0" y="205"/>
                  </a:cubicBezTo>
                  <a:moveTo>
                    <a:pt x="116" y="43"/>
                  </a:moveTo>
                  <a:cubicBezTo>
                    <a:pt x="138" y="21"/>
                    <a:pt x="173" y="21"/>
                    <a:pt x="195" y="43"/>
                  </a:cubicBezTo>
                  <a:cubicBezTo>
                    <a:pt x="217" y="64"/>
                    <a:pt x="217" y="100"/>
                    <a:pt x="195" y="122"/>
                  </a:cubicBezTo>
                  <a:cubicBezTo>
                    <a:pt x="173" y="144"/>
                    <a:pt x="138" y="144"/>
                    <a:pt x="116" y="122"/>
                  </a:cubicBezTo>
                  <a:cubicBezTo>
                    <a:pt x="94" y="100"/>
                    <a:pt x="94" y="64"/>
                    <a:pt x="116" y="43"/>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7" name="Freeform 56">
              <a:extLst>
                <a:ext uri="{FF2B5EF4-FFF2-40B4-BE49-F238E27FC236}">
                  <a16:creationId xmlns:a16="http://schemas.microsoft.com/office/drawing/2014/main" id="{D0A89DAC-8C33-44DA-A744-20F2AC587875}"/>
                </a:ext>
              </a:extLst>
            </p:cNvPr>
            <p:cNvSpPr>
              <a:spLocks/>
            </p:cNvSpPr>
            <p:nvPr/>
          </p:nvSpPr>
          <p:spPr bwMode="auto">
            <a:xfrm>
              <a:off x="5575301" y="2673237"/>
              <a:ext cx="155575" cy="157163"/>
            </a:xfrm>
            <a:custGeom>
              <a:avLst/>
              <a:gdLst>
                <a:gd name="T0" fmla="*/ 11 w 81"/>
                <a:gd name="T1" fmla="*/ 27 h 81"/>
                <a:gd name="T2" fmla="*/ 27 w 81"/>
                <a:gd name="T3" fmla="*/ 27 h 81"/>
                <a:gd name="T4" fmla="*/ 27 w 81"/>
                <a:gd name="T5" fmla="*/ 11 h 81"/>
                <a:gd name="T6" fmla="*/ 37 w 81"/>
                <a:gd name="T7" fmla="*/ 0 h 81"/>
                <a:gd name="T8" fmla="*/ 44 w 81"/>
                <a:gd name="T9" fmla="*/ 0 h 81"/>
                <a:gd name="T10" fmla="*/ 55 w 81"/>
                <a:gd name="T11" fmla="*/ 11 h 81"/>
                <a:gd name="T12" fmla="*/ 55 w 81"/>
                <a:gd name="T13" fmla="*/ 27 h 81"/>
                <a:gd name="T14" fmla="*/ 71 w 81"/>
                <a:gd name="T15" fmla="*/ 27 h 81"/>
                <a:gd name="T16" fmla="*/ 81 w 81"/>
                <a:gd name="T17" fmla="*/ 37 h 81"/>
                <a:gd name="T18" fmla="*/ 81 w 81"/>
                <a:gd name="T19" fmla="*/ 44 h 81"/>
                <a:gd name="T20" fmla="*/ 71 w 81"/>
                <a:gd name="T21" fmla="*/ 55 h 81"/>
                <a:gd name="T22" fmla="*/ 55 w 81"/>
                <a:gd name="T23" fmla="*/ 55 h 81"/>
                <a:gd name="T24" fmla="*/ 55 w 81"/>
                <a:gd name="T25" fmla="*/ 71 h 81"/>
                <a:gd name="T26" fmla="*/ 44 w 81"/>
                <a:gd name="T27" fmla="*/ 81 h 81"/>
                <a:gd name="T28" fmla="*/ 37 w 81"/>
                <a:gd name="T29" fmla="*/ 81 h 81"/>
                <a:gd name="T30" fmla="*/ 27 w 81"/>
                <a:gd name="T31" fmla="*/ 71 h 81"/>
                <a:gd name="T32" fmla="*/ 27 w 81"/>
                <a:gd name="T33" fmla="*/ 55 h 81"/>
                <a:gd name="T34" fmla="*/ 11 w 81"/>
                <a:gd name="T35" fmla="*/ 55 h 81"/>
                <a:gd name="T36" fmla="*/ 0 w 81"/>
                <a:gd name="T37" fmla="*/ 44 h 81"/>
                <a:gd name="T38" fmla="*/ 0 w 81"/>
                <a:gd name="T39" fmla="*/ 37 h 81"/>
                <a:gd name="T40" fmla="*/ 11 w 81"/>
                <a:gd name="T41" fmla="*/ 27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1" h="81">
                  <a:moveTo>
                    <a:pt x="11" y="27"/>
                  </a:moveTo>
                  <a:cubicBezTo>
                    <a:pt x="27" y="27"/>
                    <a:pt x="27" y="27"/>
                    <a:pt x="27" y="27"/>
                  </a:cubicBezTo>
                  <a:cubicBezTo>
                    <a:pt x="27" y="11"/>
                    <a:pt x="27" y="11"/>
                    <a:pt x="27" y="11"/>
                  </a:cubicBezTo>
                  <a:cubicBezTo>
                    <a:pt x="27" y="5"/>
                    <a:pt x="31" y="0"/>
                    <a:pt x="37" y="0"/>
                  </a:cubicBezTo>
                  <a:cubicBezTo>
                    <a:pt x="44" y="0"/>
                    <a:pt x="44" y="0"/>
                    <a:pt x="44" y="0"/>
                  </a:cubicBezTo>
                  <a:cubicBezTo>
                    <a:pt x="50" y="0"/>
                    <a:pt x="55" y="5"/>
                    <a:pt x="55" y="11"/>
                  </a:cubicBezTo>
                  <a:cubicBezTo>
                    <a:pt x="55" y="27"/>
                    <a:pt x="55" y="27"/>
                    <a:pt x="55" y="27"/>
                  </a:cubicBezTo>
                  <a:cubicBezTo>
                    <a:pt x="71" y="27"/>
                    <a:pt x="71" y="27"/>
                    <a:pt x="71" y="27"/>
                  </a:cubicBezTo>
                  <a:cubicBezTo>
                    <a:pt x="77" y="27"/>
                    <a:pt x="81" y="31"/>
                    <a:pt x="81" y="37"/>
                  </a:cubicBezTo>
                  <a:cubicBezTo>
                    <a:pt x="81" y="44"/>
                    <a:pt x="81" y="44"/>
                    <a:pt x="81" y="44"/>
                  </a:cubicBezTo>
                  <a:cubicBezTo>
                    <a:pt x="81" y="50"/>
                    <a:pt x="77" y="55"/>
                    <a:pt x="71" y="55"/>
                  </a:cubicBezTo>
                  <a:cubicBezTo>
                    <a:pt x="55" y="55"/>
                    <a:pt x="55" y="55"/>
                    <a:pt x="55" y="55"/>
                  </a:cubicBezTo>
                  <a:cubicBezTo>
                    <a:pt x="55" y="71"/>
                    <a:pt x="55" y="71"/>
                    <a:pt x="55" y="71"/>
                  </a:cubicBezTo>
                  <a:cubicBezTo>
                    <a:pt x="55" y="77"/>
                    <a:pt x="50" y="81"/>
                    <a:pt x="44" y="81"/>
                  </a:cubicBezTo>
                  <a:cubicBezTo>
                    <a:pt x="37" y="81"/>
                    <a:pt x="37" y="81"/>
                    <a:pt x="37" y="81"/>
                  </a:cubicBezTo>
                  <a:cubicBezTo>
                    <a:pt x="31" y="81"/>
                    <a:pt x="27" y="77"/>
                    <a:pt x="27" y="71"/>
                  </a:cubicBezTo>
                  <a:cubicBezTo>
                    <a:pt x="27" y="55"/>
                    <a:pt x="27" y="55"/>
                    <a:pt x="27" y="55"/>
                  </a:cubicBezTo>
                  <a:cubicBezTo>
                    <a:pt x="11" y="55"/>
                    <a:pt x="11" y="55"/>
                    <a:pt x="11" y="55"/>
                  </a:cubicBezTo>
                  <a:cubicBezTo>
                    <a:pt x="5" y="55"/>
                    <a:pt x="0" y="50"/>
                    <a:pt x="0" y="44"/>
                  </a:cubicBezTo>
                  <a:cubicBezTo>
                    <a:pt x="0" y="37"/>
                    <a:pt x="0" y="37"/>
                    <a:pt x="0" y="37"/>
                  </a:cubicBezTo>
                  <a:cubicBezTo>
                    <a:pt x="0" y="31"/>
                    <a:pt x="5" y="27"/>
                    <a:pt x="11" y="27"/>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303266879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ymbol zastępczy tekstu 5">
            <a:extLst>
              <a:ext uri="{FF2B5EF4-FFF2-40B4-BE49-F238E27FC236}">
                <a16:creationId xmlns:a16="http://schemas.microsoft.com/office/drawing/2014/main" id="{EC19D1F0-CA19-48E4-B6B7-FE7D3388EB92}"/>
              </a:ext>
            </a:extLst>
          </p:cNvPr>
          <p:cNvSpPr>
            <a:spLocks noGrp="1"/>
          </p:cNvSpPr>
          <p:nvPr>
            <p:ph type="body" sz="quarter" idx="11"/>
          </p:nvPr>
        </p:nvSpPr>
        <p:spPr/>
        <p:txBody>
          <a:bodyPr/>
          <a:lstStyle/>
          <a:p>
            <a:r>
              <a:rPr lang="en-US" dirty="0"/>
              <a:t>What’s new </a:t>
            </a:r>
            <a:br>
              <a:rPr lang="en-US" dirty="0"/>
            </a:br>
            <a:r>
              <a:rPr lang="en-US" dirty="0"/>
              <a:t>in C# 7.1</a:t>
            </a:r>
          </a:p>
        </p:txBody>
      </p:sp>
      <p:sp>
        <p:nvSpPr>
          <p:cNvPr id="28" name="Freeform 37">
            <a:extLst>
              <a:ext uri="{FF2B5EF4-FFF2-40B4-BE49-F238E27FC236}">
                <a16:creationId xmlns:a16="http://schemas.microsoft.com/office/drawing/2014/main" id="{C163FEF7-EB42-4298-AED9-19E8D9ACF2E4}"/>
              </a:ext>
            </a:extLst>
          </p:cNvPr>
          <p:cNvSpPr>
            <a:spLocks/>
          </p:cNvSpPr>
          <p:nvPr/>
        </p:nvSpPr>
        <p:spPr bwMode="auto">
          <a:xfrm>
            <a:off x="8472264" y="3933056"/>
            <a:ext cx="844550" cy="793750"/>
          </a:xfrm>
          <a:custGeom>
            <a:avLst/>
            <a:gdLst>
              <a:gd name="T0" fmla="*/ 51 w 440"/>
              <a:gd name="T1" fmla="*/ 298 h 410"/>
              <a:gd name="T2" fmla="*/ 128 w 440"/>
              <a:gd name="T3" fmla="*/ 48 h 410"/>
              <a:gd name="T4" fmla="*/ 389 w 440"/>
              <a:gd name="T5" fmla="*/ 122 h 410"/>
              <a:gd name="T6" fmla="*/ 307 w 440"/>
              <a:gd name="T7" fmla="*/ 362 h 410"/>
              <a:gd name="T8" fmla="*/ 51 w 440"/>
              <a:gd name="T9" fmla="*/ 298 h 410"/>
            </a:gdLst>
            <a:ahLst/>
            <a:cxnLst>
              <a:cxn ang="0">
                <a:pos x="T0" y="T1"/>
              </a:cxn>
              <a:cxn ang="0">
                <a:pos x="T2" y="T3"/>
              </a:cxn>
              <a:cxn ang="0">
                <a:pos x="T4" y="T5"/>
              </a:cxn>
              <a:cxn ang="0">
                <a:pos x="T6" y="T7"/>
              </a:cxn>
              <a:cxn ang="0">
                <a:pos x="T8" y="T9"/>
              </a:cxn>
            </a:cxnLst>
            <a:rect l="0" t="0" r="r" b="b"/>
            <a:pathLst>
              <a:path w="440" h="410">
                <a:moveTo>
                  <a:pt x="51" y="298"/>
                </a:moveTo>
                <a:cubicBezTo>
                  <a:pt x="0" y="209"/>
                  <a:pt x="34" y="97"/>
                  <a:pt x="128" y="48"/>
                </a:cubicBezTo>
                <a:cubicBezTo>
                  <a:pt x="221" y="0"/>
                  <a:pt x="338" y="33"/>
                  <a:pt x="389" y="122"/>
                </a:cubicBezTo>
                <a:cubicBezTo>
                  <a:pt x="440" y="212"/>
                  <a:pt x="400" y="313"/>
                  <a:pt x="307" y="362"/>
                </a:cubicBezTo>
                <a:cubicBezTo>
                  <a:pt x="214" y="410"/>
                  <a:pt x="102" y="388"/>
                  <a:pt x="51" y="298"/>
                </a:cubicBezTo>
              </a:path>
            </a:pathLst>
          </a:custGeom>
          <a:solidFill>
            <a:srgbClr val="860864"/>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3" name="Oval 20">
            <a:extLst>
              <a:ext uri="{FF2B5EF4-FFF2-40B4-BE49-F238E27FC236}">
                <a16:creationId xmlns:a16="http://schemas.microsoft.com/office/drawing/2014/main" id="{EE9B31FA-25FA-4CC1-863F-BB3D69944DF9}"/>
              </a:ext>
            </a:extLst>
          </p:cNvPr>
          <p:cNvSpPr/>
          <p:nvPr/>
        </p:nvSpPr>
        <p:spPr>
          <a:xfrm>
            <a:off x="8897441" y="2431978"/>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42" name="Oval 20">
            <a:extLst>
              <a:ext uri="{FF2B5EF4-FFF2-40B4-BE49-F238E27FC236}">
                <a16:creationId xmlns:a16="http://schemas.microsoft.com/office/drawing/2014/main" id="{9C48F09E-5C3B-4BEA-BD8F-85A5DCB0325B}"/>
              </a:ext>
            </a:extLst>
          </p:cNvPr>
          <p:cNvSpPr/>
          <p:nvPr/>
        </p:nvSpPr>
        <p:spPr>
          <a:xfrm>
            <a:off x="8948712" y="4379462"/>
            <a:ext cx="1356623" cy="128178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2695565153"/>
      </p:ext>
    </p:extLst>
  </p:cSld>
  <p:clrMapOvr>
    <a:masterClrMapping/>
  </p:clrMapOvr>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ytuł 3">
            <a:extLst>
              <a:ext uri="{FF2B5EF4-FFF2-40B4-BE49-F238E27FC236}">
                <a16:creationId xmlns:a16="http://schemas.microsoft.com/office/drawing/2014/main" id="{BE6E47FB-5E55-45DB-B712-E4993D47A776}"/>
              </a:ext>
            </a:extLst>
          </p:cNvPr>
          <p:cNvSpPr>
            <a:spLocks noGrp="1"/>
          </p:cNvSpPr>
          <p:nvPr>
            <p:ph type="title"/>
          </p:nvPr>
        </p:nvSpPr>
        <p:spPr/>
        <p:txBody>
          <a:bodyPr/>
          <a:lstStyle/>
          <a:p>
            <a:r>
              <a:rPr lang="en-US" sz="3200" dirty="0"/>
              <a:t>Pattern matching</a:t>
            </a:r>
          </a:p>
        </p:txBody>
      </p:sp>
      <p:sp>
        <p:nvSpPr>
          <p:cNvPr id="6" name="Symbol zastępczy tekstu 5">
            <a:extLst>
              <a:ext uri="{FF2B5EF4-FFF2-40B4-BE49-F238E27FC236}">
                <a16:creationId xmlns:a16="http://schemas.microsoft.com/office/drawing/2014/main" id="{1302AB4B-7554-47F7-BBCD-39BD33559A94}"/>
              </a:ext>
            </a:extLst>
          </p:cNvPr>
          <p:cNvSpPr>
            <a:spLocks noGrp="1"/>
          </p:cNvSpPr>
          <p:nvPr>
            <p:ph type="body" sz="quarter" idx="11"/>
          </p:nvPr>
        </p:nvSpPr>
        <p:spPr/>
        <p:txBody>
          <a:bodyPr/>
          <a:lstStyle/>
          <a:p>
            <a:r>
              <a:rPr lang="en-US" dirty="0"/>
              <a:t>C# 7.0 – is expression</a:t>
            </a:r>
          </a:p>
        </p:txBody>
      </p:sp>
      <p:sp>
        <p:nvSpPr>
          <p:cNvPr id="7" name="Symbol zastępczy tekstu 6">
            <a:extLst>
              <a:ext uri="{FF2B5EF4-FFF2-40B4-BE49-F238E27FC236}">
                <a16:creationId xmlns:a16="http://schemas.microsoft.com/office/drawing/2014/main" id="{5D8A2B1E-A86F-4A25-94A4-5CF446FD2951}"/>
              </a:ext>
            </a:extLst>
          </p:cNvPr>
          <p:cNvSpPr>
            <a:spLocks noGrp="1"/>
          </p:cNvSpPr>
          <p:nvPr>
            <p:ph type="body" sz="quarter" idx="12"/>
          </p:nvPr>
        </p:nvSpPr>
        <p:spPr/>
        <p:txBody>
          <a:bodyPr/>
          <a:lstStyle/>
          <a:p>
            <a:r>
              <a:rPr lang="en-US" dirty="0"/>
              <a:t>1</a:t>
            </a:r>
          </a:p>
        </p:txBody>
      </p:sp>
      <p:sp>
        <p:nvSpPr>
          <p:cNvPr id="8" name="Rectangle 59">
            <a:extLst>
              <a:ext uri="{FF2B5EF4-FFF2-40B4-BE49-F238E27FC236}">
                <a16:creationId xmlns:a16="http://schemas.microsoft.com/office/drawing/2014/main" id="{9170586B-8360-4322-8F30-6DAE0C4FF5AC}"/>
              </a:ext>
            </a:extLst>
          </p:cNvPr>
          <p:cNvSpPr/>
          <p:nvPr/>
        </p:nvSpPr>
        <p:spPr>
          <a:xfrm>
            <a:off x="5984776" y="2365334"/>
            <a:ext cx="5398008" cy="358346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9" name="Rectangle 59">
            <a:extLst>
              <a:ext uri="{FF2B5EF4-FFF2-40B4-BE49-F238E27FC236}">
                <a16:creationId xmlns:a16="http://schemas.microsoft.com/office/drawing/2014/main" id="{AD29A4CD-0C55-49F8-8BB5-249C81F9E5ED}"/>
              </a:ext>
            </a:extLst>
          </p:cNvPr>
          <p:cNvSpPr/>
          <p:nvPr/>
        </p:nvSpPr>
        <p:spPr>
          <a:xfrm>
            <a:off x="551384" y="2365334"/>
            <a:ext cx="5379818" cy="358346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0" name="Freeform 20">
            <a:extLst>
              <a:ext uri="{FF2B5EF4-FFF2-40B4-BE49-F238E27FC236}">
                <a16:creationId xmlns:a16="http://schemas.microsoft.com/office/drawing/2014/main" id="{27F62311-C154-49C7-8863-079C437DF5CD}"/>
              </a:ext>
            </a:extLst>
          </p:cNvPr>
          <p:cNvSpPr>
            <a:spLocks/>
          </p:cNvSpPr>
          <p:nvPr/>
        </p:nvSpPr>
        <p:spPr bwMode="auto">
          <a:xfrm>
            <a:off x="5591944" y="1702869"/>
            <a:ext cx="1330762" cy="1244311"/>
          </a:xfrm>
          <a:custGeom>
            <a:avLst/>
            <a:gdLst>
              <a:gd name="T0" fmla="*/ 101 w 701"/>
              <a:gd name="T1" fmla="*/ 513 h 655"/>
              <a:gd name="T2" fmla="*/ 168 w 701"/>
              <a:gd name="T3" fmla="*/ 98 h 655"/>
              <a:gd name="T4" fmla="*/ 600 w 701"/>
              <a:gd name="T5" fmla="*/ 159 h 655"/>
              <a:gd name="T6" fmla="*/ 522 w 701"/>
              <a:gd name="T7" fmla="*/ 558 h 655"/>
              <a:gd name="T8" fmla="*/ 101 w 701"/>
              <a:gd name="T9" fmla="*/ 513 h 655"/>
            </a:gdLst>
            <a:ahLst/>
            <a:cxnLst>
              <a:cxn ang="0">
                <a:pos x="T0" y="T1"/>
              </a:cxn>
              <a:cxn ang="0">
                <a:pos x="T2" y="T3"/>
              </a:cxn>
              <a:cxn ang="0">
                <a:pos x="T4" y="T5"/>
              </a:cxn>
              <a:cxn ang="0">
                <a:pos x="T6" y="T7"/>
              </a:cxn>
              <a:cxn ang="0">
                <a:pos x="T8" y="T9"/>
              </a:cxn>
            </a:cxnLst>
            <a:rect l="0" t="0" r="r" b="b"/>
            <a:pathLst>
              <a:path w="701" h="655">
                <a:moveTo>
                  <a:pt x="101" y="513"/>
                </a:moveTo>
                <a:cubicBezTo>
                  <a:pt x="0" y="381"/>
                  <a:pt x="30" y="196"/>
                  <a:pt x="168" y="98"/>
                </a:cubicBezTo>
                <a:cubicBezTo>
                  <a:pt x="306" y="0"/>
                  <a:pt x="500" y="28"/>
                  <a:pt x="600" y="159"/>
                </a:cubicBezTo>
                <a:cubicBezTo>
                  <a:pt x="701" y="290"/>
                  <a:pt x="660" y="460"/>
                  <a:pt x="522" y="558"/>
                </a:cubicBezTo>
                <a:cubicBezTo>
                  <a:pt x="384" y="655"/>
                  <a:pt x="202" y="644"/>
                  <a:pt x="101" y="513"/>
                </a:cubicBezTo>
              </a:path>
            </a:pathLst>
          </a:custGeom>
          <a:solidFill>
            <a:srgbClr val="86086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algn="ctr"/>
            <a:endParaRPr lang="pt-PT" b="1" dirty="0">
              <a:solidFill>
                <a:schemeClr val="bg1"/>
              </a:solidFill>
            </a:endParaRPr>
          </a:p>
        </p:txBody>
      </p:sp>
      <p:sp>
        <p:nvSpPr>
          <p:cNvPr id="11" name="Freeform 31">
            <a:extLst>
              <a:ext uri="{FF2B5EF4-FFF2-40B4-BE49-F238E27FC236}">
                <a16:creationId xmlns:a16="http://schemas.microsoft.com/office/drawing/2014/main" id="{68B6E052-FBF9-4AEB-A4DD-99CA87EF649D}"/>
              </a:ext>
            </a:extLst>
          </p:cNvPr>
          <p:cNvSpPr>
            <a:spLocks/>
          </p:cNvSpPr>
          <p:nvPr/>
        </p:nvSpPr>
        <p:spPr bwMode="auto">
          <a:xfrm>
            <a:off x="353137" y="1675813"/>
            <a:ext cx="1359985" cy="1271367"/>
          </a:xfrm>
          <a:custGeom>
            <a:avLst/>
            <a:gdLst>
              <a:gd name="T0" fmla="*/ 207 w 1442"/>
              <a:gd name="T1" fmla="*/ 1053 h 1347"/>
              <a:gd name="T2" fmla="*/ 346 w 1442"/>
              <a:gd name="T3" fmla="*/ 201 h 1347"/>
              <a:gd name="T4" fmla="*/ 1235 w 1442"/>
              <a:gd name="T5" fmla="*/ 326 h 1347"/>
              <a:gd name="T6" fmla="*/ 1073 w 1442"/>
              <a:gd name="T7" fmla="*/ 1147 h 1347"/>
              <a:gd name="T8" fmla="*/ 207 w 1442"/>
              <a:gd name="T9" fmla="*/ 1053 h 1347"/>
            </a:gdLst>
            <a:ahLst/>
            <a:cxnLst>
              <a:cxn ang="0">
                <a:pos x="T0" y="T1"/>
              </a:cxn>
              <a:cxn ang="0">
                <a:pos x="T2" y="T3"/>
              </a:cxn>
              <a:cxn ang="0">
                <a:pos x="T4" y="T5"/>
              </a:cxn>
              <a:cxn ang="0">
                <a:pos x="T6" y="T7"/>
              </a:cxn>
              <a:cxn ang="0">
                <a:pos x="T8" y="T9"/>
              </a:cxn>
            </a:cxnLst>
            <a:rect l="0" t="0" r="r" b="b"/>
            <a:pathLst>
              <a:path w="1442" h="1347">
                <a:moveTo>
                  <a:pt x="207" y="1053"/>
                </a:moveTo>
                <a:cubicBezTo>
                  <a:pt x="0" y="783"/>
                  <a:pt x="62" y="401"/>
                  <a:pt x="346" y="201"/>
                </a:cubicBezTo>
                <a:cubicBezTo>
                  <a:pt x="629" y="0"/>
                  <a:pt x="1028" y="56"/>
                  <a:pt x="1235" y="326"/>
                </a:cubicBezTo>
                <a:cubicBezTo>
                  <a:pt x="1442" y="596"/>
                  <a:pt x="1357" y="946"/>
                  <a:pt x="1073" y="1147"/>
                </a:cubicBezTo>
                <a:cubicBezTo>
                  <a:pt x="790" y="1347"/>
                  <a:pt x="415" y="1324"/>
                  <a:pt x="207" y="1053"/>
                </a:cubicBezTo>
              </a:path>
            </a:pathLst>
          </a:custGeom>
          <a:solidFill>
            <a:srgbClr val="00206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algn="ctr"/>
            <a:endParaRPr lang="pt-PT" b="1" dirty="0">
              <a:solidFill>
                <a:schemeClr val="bg1"/>
              </a:solidFill>
            </a:endParaRPr>
          </a:p>
        </p:txBody>
      </p:sp>
      <p:sp>
        <p:nvSpPr>
          <p:cNvPr id="12" name="Text Placeholder 9">
            <a:extLst>
              <a:ext uri="{FF2B5EF4-FFF2-40B4-BE49-F238E27FC236}">
                <a16:creationId xmlns:a16="http://schemas.microsoft.com/office/drawing/2014/main" id="{47FF76BE-F8D6-4015-A199-2EEBA4274A45}"/>
              </a:ext>
            </a:extLst>
          </p:cNvPr>
          <p:cNvSpPr txBox="1">
            <a:spLocks/>
          </p:cNvSpPr>
          <p:nvPr/>
        </p:nvSpPr>
        <p:spPr>
          <a:xfrm>
            <a:off x="862790" y="3037919"/>
            <a:ext cx="4873170" cy="645047"/>
          </a:xfrm>
          <a:prstGeom prst="rect">
            <a:avLst/>
          </a:prstGeom>
          <a:noFill/>
        </p:spPr>
        <p:txBody>
          <a:bodyPr vert="horz" lIns="0" tIns="0" rIns="0" bIns="0" rtlCol="0" anchor="ctr">
            <a:noAutofit/>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pt-PT" b="1" dirty="0">
                <a:solidFill>
                  <a:srgbClr val="002060"/>
                </a:solidFill>
                <a:latin typeface="Verdana" panose="020B0604030504040204" pitchFamily="34" charset="0"/>
                <a:ea typeface="Verdana" panose="020B0604030504040204" pitchFamily="34" charset="0"/>
                <a:cs typeface="Verdana" panose="020B0604030504040204" pitchFamily="34" charset="0"/>
              </a:rPr>
              <a:t>&lt;type&gt;.Equals(&lt;type&gt;)</a:t>
            </a:r>
            <a:endParaRPr kumimoji="0" lang="pt-PT" b="1" i="0" u="none" strike="noStrike" kern="1200" cap="none" spc="0" normalizeH="0" baseline="0" noProof="0" dirty="0">
              <a:ln>
                <a:noFill/>
              </a:ln>
              <a:solidFill>
                <a:srgbClr val="002060"/>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13" name="Text Placeholder 10">
            <a:extLst>
              <a:ext uri="{FF2B5EF4-FFF2-40B4-BE49-F238E27FC236}">
                <a16:creationId xmlns:a16="http://schemas.microsoft.com/office/drawing/2014/main" id="{AA224A2D-D45D-4B63-A54C-7690B2B97176}"/>
              </a:ext>
            </a:extLst>
          </p:cNvPr>
          <p:cNvSpPr txBox="1">
            <a:spLocks/>
          </p:cNvSpPr>
          <p:nvPr/>
        </p:nvSpPr>
        <p:spPr>
          <a:xfrm>
            <a:off x="862792" y="3709289"/>
            <a:ext cx="2330861" cy="1711208"/>
          </a:xfrm>
          <a:prstGeom prst="rect">
            <a:avLst/>
          </a:prstGeom>
        </p:spPr>
        <p:txBody>
          <a:bodyPr vert="horz" lIns="0" tIns="0" rIns="0" bIns="0" rtlCol="0">
            <a:noAutofit/>
          </a:bodyPr>
          <a:lstStyle/>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  </a:t>
            </a:r>
            <a:b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br>
            <a:r>
              <a:rPr lang="en-US" sz="2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 </a:t>
            </a: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 </a:t>
            </a:r>
            <a:b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br>
            <a:r>
              <a:rPr lang="en-US" sz="2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 </a:t>
            </a:r>
            <a:endPar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endParaRPr>
          </a:p>
        </p:txBody>
      </p:sp>
      <p:sp>
        <p:nvSpPr>
          <p:cNvPr id="14" name="Text Placeholder 9">
            <a:extLst>
              <a:ext uri="{FF2B5EF4-FFF2-40B4-BE49-F238E27FC236}">
                <a16:creationId xmlns:a16="http://schemas.microsoft.com/office/drawing/2014/main" id="{99EB591F-D916-47E2-BD63-50C8FF1C7CF2}"/>
              </a:ext>
            </a:extLst>
          </p:cNvPr>
          <p:cNvSpPr txBox="1">
            <a:spLocks/>
          </p:cNvSpPr>
          <p:nvPr/>
        </p:nvSpPr>
        <p:spPr>
          <a:xfrm>
            <a:off x="6223901" y="3037919"/>
            <a:ext cx="5105309" cy="645047"/>
          </a:xfrm>
          <a:prstGeom prst="rect">
            <a:avLst/>
          </a:prstGeom>
          <a:noFill/>
        </p:spPr>
        <p:txBody>
          <a:bodyPr vert="horz" lIns="0" tIns="0" rIns="0" bIns="0" rtlCol="0" anchor="ctr">
            <a:noAutofit/>
          </a:bodyPr>
          <a:lstStyle/>
          <a:p>
            <a:pPr lvl="0">
              <a:lnSpc>
                <a:spcPct val="90000"/>
              </a:lnSpc>
              <a:spcBef>
                <a:spcPts val="1000"/>
              </a:spcBef>
              <a:defRPr/>
            </a:pPr>
            <a:r>
              <a:rPr lang="pt-PT" b="1" dirty="0">
                <a:solidFill>
                  <a:srgbClr val="860864"/>
                </a:solidFill>
                <a:latin typeface="Verdana" panose="020B0604030504040204" pitchFamily="34" charset="0"/>
                <a:ea typeface="Verdana" panose="020B0604030504040204" pitchFamily="34" charset="0"/>
                <a:cs typeface="Verdana" panose="020B0604030504040204" pitchFamily="34" charset="0"/>
              </a:rPr>
              <a:t>instance is &lt;type&gt;</a:t>
            </a:r>
          </a:p>
        </p:txBody>
      </p:sp>
      <p:sp>
        <p:nvSpPr>
          <p:cNvPr id="15" name="Text Placeholder 10">
            <a:extLst>
              <a:ext uri="{FF2B5EF4-FFF2-40B4-BE49-F238E27FC236}">
                <a16:creationId xmlns:a16="http://schemas.microsoft.com/office/drawing/2014/main" id="{1B7F343D-CB38-4B74-99B2-6289243CF331}"/>
              </a:ext>
            </a:extLst>
          </p:cNvPr>
          <p:cNvSpPr txBox="1">
            <a:spLocks/>
          </p:cNvSpPr>
          <p:nvPr/>
        </p:nvSpPr>
        <p:spPr>
          <a:xfrm>
            <a:off x="6223903" y="3709289"/>
            <a:ext cx="2422578" cy="1711208"/>
          </a:xfrm>
          <a:prstGeom prst="rect">
            <a:avLst/>
          </a:prstGeom>
        </p:spPr>
        <p:txBody>
          <a:bodyPr vert="horz" lIns="0" tIns="0" rIns="0" bIns="0" rtlCol="0">
            <a:noAutofit/>
          </a:bodyPr>
          <a:lstStyle/>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   </a:t>
            </a:r>
          </a:p>
        </p:txBody>
      </p:sp>
      <p:pic>
        <p:nvPicPr>
          <p:cNvPr id="3" name="Obraz 2">
            <a:extLst>
              <a:ext uri="{FF2B5EF4-FFF2-40B4-BE49-F238E27FC236}">
                <a16:creationId xmlns:a16="http://schemas.microsoft.com/office/drawing/2014/main" id="{6174674C-5664-4962-B2A5-75B20E4CA76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407290" y="3709289"/>
            <a:ext cx="3677950" cy="2035468"/>
          </a:xfrm>
          <a:prstGeom prst="rect">
            <a:avLst/>
          </a:prstGeom>
        </p:spPr>
      </p:pic>
      <p:pic>
        <p:nvPicPr>
          <p:cNvPr id="23" name="Obraz 22">
            <a:extLst>
              <a:ext uri="{FF2B5EF4-FFF2-40B4-BE49-F238E27FC236}">
                <a16:creationId xmlns:a16="http://schemas.microsoft.com/office/drawing/2014/main" id="{EF7B0055-47D6-4EA3-BE37-30DAB5867182}"/>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27472" y="3709289"/>
            <a:ext cx="3677950" cy="2035468"/>
          </a:xfrm>
          <a:prstGeom prst="rect">
            <a:avLst/>
          </a:prstGeom>
        </p:spPr>
      </p:pic>
    </p:spTree>
    <p:extLst>
      <p:ext uri="{BB962C8B-B14F-4D97-AF65-F5344CB8AC3E}">
        <p14:creationId xmlns:p14="http://schemas.microsoft.com/office/powerpoint/2010/main" val="337845868"/>
      </p:ext>
    </p:extLst>
  </p:cSld>
  <p:clrMapOvr>
    <a:masterClrMapping/>
  </p:clrMapOvr>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ytuł 3">
            <a:extLst>
              <a:ext uri="{FF2B5EF4-FFF2-40B4-BE49-F238E27FC236}">
                <a16:creationId xmlns:a16="http://schemas.microsoft.com/office/drawing/2014/main" id="{BE6E47FB-5E55-45DB-B712-E4993D47A776}"/>
              </a:ext>
            </a:extLst>
          </p:cNvPr>
          <p:cNvSpPr>
            <a:spLocks noGrp="1"/>
          </p:cNvSpPr>
          <p:nvPr>
            <p:ph type="title"/>
          </p:nvPr>
        </p:nvSpPr>
        <p:spPr/>
        <p:txBody>
          <a:bodyPr/>
          <a:lstStyle/>
          <a:p>
            <a:r>
              <a:rPr lang="en-US" sz="3200" dirty="0"/>
              <a:t>Pattern matching</a:t>
            </a:r>
          </a:p>
        </p:txBody>
      </p:sp>
      <p:sp>
        <p:nvSpPr>
          <p:cNvPr id="6" name="Symbol zastępczy tekstu 5">
            <a:extLst>
              <a:ext uri="{FF2B5EF4-FFF2-40B4-BE49-F238E27FC236}">
                <a16:creationId xmlns:a16="http://schemas.microsoft.com/office/drawing/2014/main" id="{1302AB4B-7554-47F7-BBCD-39BD33559A94}"/>
              </a:ext>
            </a:extLst>
          </p:cNvPr>
          <p:cNvSpPr>
            <a:spLocks noGrp="1"/>
          </p:cNvSpPr>
          <p:nvPr>
            <p:ph type="body" sz="quarter" idx="11"/>
          </p:nvPr>
        </p:nvSpPr>
        <p:spPr/>
        <p:txBody>
          <a:bodyPr/>
          <a:lstStyle/>
          <a:p>
            <a:r>
              <a:rPr lang="en-US" dirty="0"/>
              <a:t>C# 7.0 – is expression</a:t>
            </a:r>
          </a:p>
        </p:txBody>
      </p:sp>
      <p:sp>
        <p:nvSpPr>
          <p:cNvPr id="7" name="Symbol zastępczy tekstu 6">
            <a:extLst>
              <a:ext uri="{FF2B5EF4-FFF2-40B4-BE49-F238E27FC236}">
                <a16:creationId xmlns:a16="http://schemas.microsoft.com/office/drawing/2014/main" id="{5D8A2B1E-A86F-4A25-94A4-5CF446FD2951}"/>
              </a:ext>
            </a:extLst>
          </p:cNvPr>
          <p:cNvSpPr>
            <a:spLocks noGrp="1"/>
          </p:cNvSpPr>
          <p:nvPr>
            <p:ph type="body" sz="quarter" idx="12"/>
          </p:nvPr>
        </p:nvSpPr>
        <p:spPr/>
        <p:txBody>
          <a:bodyPr/>
          <a:lstStyle/>
          <a:p>
            <a:r>
              <a:rPr lang="en-US" dirty="0"/>
              <a:t>2</a:t>
            </a:r>
          </a:p>
        </p:txBody>
      </p:sp>
      <p:sp>
        <p:nvSpPr>
          <p:cNvPr id="8" name="Rectangle 59">
            <a:extLst>
              <a:ext uri="{FF2B5EF4-FFF2-40B4-BE49-F238E27FC236}">
                <a16:creationId xmlns:a16="http://schemas.microsoft.com/office/drawing/2014/main" id="{9170586B-8360-4322-8F30-6DAE0C4FF5AC}"/>
              </a:ext>
            </a:extLst>
          </p:cNvPr>
          <p:cNvSpPr/>
          <p:nvPr/>
        </p:nvSpPr>
        <p:spPr>
          <a:xfrm>
            <a:off x="5984776" y="2365334"/>
            <a:ext cx="5398008" cy="358346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9" name="Rectangle 59">
            <a:extLst>
              <a:ext uri="{FF2B5EF4-FFF2-40B4-BE49-F238E27FC236}">
                <a16:creationId xmlns:a16="http://schemas.microsoft.com/office/drawing/2014/main" id="{AD29A4CD-0C55-49F8-8BB5-249C81F9E5ED}"/>
              </a:ext>
            </a:extLst>
          </p:cNvPr>
          <p:cNvSpPr/>
          <p:nvPr/>
        </p:nvSpPr>
        <p:spPr>
          <a:xfrm>
            <a:off x="551384" y="2365334"/>
            <a:ext cx="5379818" cy="358346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0" name="Freeform 20">
            <a:extLst>
              <a:ext uri="{FF2B5EF4-FFF2-40B4-BE49-F238E27FC236}">
                <a16:creationId xmlns:a16="http://schemas.microsoft.com/office/drawing/2014/main" id="{27F62311-C154-49C7-8863-079C437DF5CD}"/>
              </a:ext>
            </a:extLst>
          </p:cNvPr>
          <p:cNvSpPr>
            <a:spLocks/>
          </p:cNvSpPr>
          <p:nvPr/>
        </p:nvSpPr>
        <p:spPr bwMode="auto">
          <a:xfrm>
            <a:off x="5591944" y="1702869"/>
            <a:ext cx="1330762" cy="1244311"/>
          </a:xfrm>
          <a:custGeom>
            <a:avLst/>
            <a:gdLst>
              <a:gd name="T0" fmla="*/ 101 w 701"/>
              <a:gd name="T1" fmla="*/ 513 h 655"/>
              <a:gd name="T2" fmla="*/ 168 w 701"/>
              <a:gd name="T3" fmla="*/ 98 h 655"/>
              <a:gd name="T4" fmla="*/ 600 w 701"/>
              <a:gd name="T5" fmla="*/ 159 h 655"/>
              <a:gd name="T6" fmla="*/ 522 w 701"/>
              <a:gd name="T7" fmla="*/ 558 h 655"/>
              <a:gd name="T8" fmla="*/ 101 w 701"/>
              <a:gd name="T9" fmla="*/ 513 h 655"/>
            </a:gdLst>
            <a:ahLst/>
            <a:cxnLst>
              <a:cxn ang="0">
                <a:pos x="T0" y="T1"/>
              </a:cxn>
              <a:cxn ang="0">
                <a:pos x="T2" y="T3"/>
              </a:cxn>
              <a:cxn ang="0">
                <a:pos x="T4" y="T5"/>
              </a:cxn>
              <a:cxn ang="0">
                <a:pos x="T6" y="T7"/>
              </a:cxn>
              <a:cxn ang="0">
                <a:pos x="T8" y="T9"/>
              </a:cxn>
            </a:cxnLst>
            <a:rect l="0" t="0" r="r" b="b"/>
            <a:pathLst>
              <a:path w="701" h="655">
                <a:moveTo>
                  <a:pt x="101" y="513"/>
                </a:moveTo>
                <a:cubicBezTo>
                  <a:pt x="0" y="381"/>
                  <a:pt x="30" y="196"/>
                  <a:pt x="168" y="98"/>
                </a:cubicBezTo>
                <a:cubicBezTo>
                  <a:pt x="306" y="0"/>
                  <a:pt x="500" y="28"/>
                  <a:pt x="600" y="159"/>
                </a:cubicBezTo>
                <a:cubicBezTo>
                  <a:pt x="701" y="290"/>
                  <a:pt x="660" y="460"/>
                  <a:pt x="522" y="558"/>
                </a:cubicBezTo>
                <a:cubicBezTo>
                  <a:pt x="384" y="655"/>
                  <a:pt x="202" y="644"/>
                  <a:pt x="101" y="513"/>
                </a:cubicBezTo>
              </a:path>
            </a:pathLst>
          </a:custGeom>
          <a:solidFill>
            <a:srgbClr val="86086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algn="ctr"/>
            <a:endParaRPr lang="pt-PT" b="1" dirty="0">
              <a:solidFill>
                <a:schemeClr val="bg1"/>
              </a:solidFill>
            </a:endParaRPr>
          </a:p>
        </p:txBody>
      </p:sp>
      <p:sp>
        <p:nvSpPr>
          <p:cNvPr id="11" name="Freeform 31">
            <a:extLst>
              <a:ext uri="{FF2B5EF4-FFF2-40B4-BE49-F238E27FC236}">
                <a16:creationId xmlns:a16="http://schemas.microsoft.com/office/drawing/2014/main" id="{68B6E052-FBF9-4AEB-A4DD-99CA87EF649D}"/>
              </a:ext>
            </a:extLst>
          </p:cNvPr>
          <p:cNvSpPr>
            <a:spLocks/>
          </p:cNvSpPr>
          <p:nvPr/>
        </p:nvSpPr>
        <p:spPr bwMode="auto">
          <a:xfrm>
            <a:off x="353137" y="1675813"/>
            <a:ext cx="1359985" cy="1271367"/>
          </a:xfrm>
          <a:custGeom>
            <a:avLst/>
            <a:gdLst>
              <a:gd name="T0" fmla="*/ 207 w 1442"/>
              <a:gd name="T1" fmla="*/ 1053 h 1347"/>
              <a:gd name="T2" fmla="*/ 346 w 1442"/>
              <a:gd name="T3" fmla="*/ 201 h 1347"/>
              <a:gd name="T4" fmla="*/ 1235 w 1442"/>
              <a:gd name="T5" fmla="*/ 326 h 1347"/>
              <a:gd name="T6" fmla="*/ 1073 w 1442"/>
              <a:gd name="T7" fmla="*/ 1147 h 1347"/>
              <a:gd name="T8" fmla="*/ 207 w 1442"/>
              <a:gd name="T9" fmla="*/ 1053 h 1347"/>
            </a:gdLst>
            <a:ahLst/>
            <a:cxnLst>
              <a:cxn ang="0">
                <a:pos x="T0" y="T1"/>
              </a:cxn>
              <a:cxn ang="0">
                <a:pos x="T2" y="T3"/>
              </a:cxn>
              <a:cxn ang="0">
                <a:pos x="T4" y="T5"/>
              </a:cxn>
              <a:cxn ang="0">
                <a:pos x="T6" y="T7"/>
              </a:cxn>
              <a:cxn ang="0">
                <a:pos x="T8" y="T9"/>
              </a:cxn>
            </a:cxnLst>
            <a:rect l="0" t="0" r="r" b="b"/>
            <a:pathLst>
              <a:path w="1442" h="1347">
                <a:moveTo>
                  <a:pt x="207" y="1053"/>
                </a:moveTo>
                <a:cubicBezTo>
                  <a:pt x="0" y="783"/>
                  <a:pt x="62" y="401"/>
                  <a:pt x="346" y="201"/>
                </a:cubicBezTo>
                <a:cubicBezTo>
                  <a:pt x="629" y="0"/>
                  <a:pt x="1028" y="56"/>
                  <a:pt x="1235" y="326"/>
                </a:cubicBezTo>
                <a:cubicBezTo>
                  <a:pt x="1442" y="596"/>
                  <a:pt x="1357" y="946"/>
                  <a:pt x="1073" y="1147"/>
                </a:cubicBezTo>
                <a:cubicBezTo>
                  <a:pt x="790" y="1347"/>
                  <a:pt x="415" y="1324"/>
                  <a:pt x="207" y="1053"/>
                </a:cubicBezTo>
              </a:path>
            </a:pathLst>
          </a:custGeom>
          <a:solidFill>
            <a:srgbClr val="00206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algn="ctr"/>
            <a:endParaRPr lang="pt-PT" b="1" dirty="0">
              <a:solidFill>
                <a:schemeClr val="bg1"/>
              </a:solidFill>
            </a:endParaRPr>
          </a:p>
        </p:txBody>
      </p:sp>
      <p:sp>
        <p:nvSpPr>
          <p:cNvPr id="12" name="Text Placeholder 9">
            <a:extLst>
              <a:ext uri="{FF2B5EF4-FFF2-40B4-BE49-F238E27FC236}">
                <a16:creationId xmlns:a16="http://schemas.microsoft.com/office/drawing/2014/main" id="{47FF76BE-F8D6-4015-A199-2EEBA4274A45}"/>
              </a:ext>
            </a:extLst>
          </p:cNvPr>
          <p:cNvSpPr txBox="1">
            <a:spLocks/>
          </p:cNvSpPr>
          <p:nvPr/>
        </p:nvSpPr>
        <p:spPr>
          <a:xfrm>
            <a:off x="862790" y="3037919"/>
            <a:ext cx="4873170" cy="645047"/>
          </a:xfrm>
          <a:prstGeom prst="rect">
            <a:avLst/>
          </a:prstGeom>
          <a:noFill/>
        </p:spPr>
        <p:txBody>
          <a:bodyPr vert="horz" lIns="0" tIns="0" rIns="0" bIns="0" rtlCol="0" anchor="ctr">
            <a:noAutofit/>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pt-PT" b="1" dirty="0">
                <a:solidFill>
                  <a:srgbClr val="002060"/>
                </a:solidFill>
                <a:latin typeface="Verdana" panose="020B0604030504040204" pitchFamily="34" charset="0"/>
                <a:ea typeface="Verdana" panose="020B0604030504040204" pitchFamily="34" charset="0"/>
                <a:cs typeface="Verdana" panose="020B0604030504040204" pitchFamily="34" charset="0"/>
              </a:rPr>
              <a:t>instance is &lt;type&gt;</a:t>
            </a:r>
            <a:endParaRPr kumimoji="0" lang="pt-PT" b="1" i="0" u="none" strike="noStrike" kern="1200" cap="none" spc="0" normalizeH="0" baseline="0" noProof="0" dirty="0">
              <a:ln>
                <a:noFill/>
              </a:ln>
              <a:solidFill>
                <a:srgbClr val="002060"/>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13" name="Text Placeholder 10">
            <a:extLst>
              <a:ext uri="{FF2B5EF4-FFF2-40B4-BE49-F238E27FC236}">
                <a16:creationId xmlns:a16="http://schemas.microsoft.com/office/drawing/2014/main" id="{AA224A2D-D45D-4B63-A54C-7690B2B97176}"/>
              </a:ext>
            </a:extLst>
          </p:cNvPr>
          <p:cNvSpPr txBox="1">
            <a:spLocks/>
          </p:cNvSpPr>
          <p:nvPr/>
        </p:nvSpPr>
        <p:spPr>
          <a:xfrm>
            <a:off x="862792" y="3709289"/>
            <a:ext cx="2330861" cy="1711208"/>
          </a:xfrm>
          <a:prstGeom prst="rect">
            <a:avLst/>
          </a:prstGeom>
        </p:spPr>
        <p:txBody>
          <a:bodyPr vert="horz" lIns="0" tIns="0" rIns="0" bIns="0" rtlCol="0">
            <a:noAutofit/>
          </a:bodyPr>
          <a:lstStyle/>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  </a:t>
            </a:r>
            <a:b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br>
            <a:r>
              <a:rPr lang="en-US" sz="2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 </a:t>
            </a: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 </a:t>
            </a:r>
            <a:b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br>
            <a:r>
              <a:rPr lang="en-US" sz="2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 </a:t>
            </a:r>
            <a:endPar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endParaRPr>
          </a:p>
        </p:txBody>
      </p:sp>
      <p:sp>
        <p:nvSpPr>
          <p:cNvPr id="14" name="Text Placeholder 9">
            <a:extLst>
              <a:ext uri="{FF2B5EF4-FFF2-40B4-BE49-F238E27FC236}">
                <a16:creationId xmlns:a16="http://schemas.microsoft.com/office/drawing/2014/main" id="{99EB591F-D916-47E2-BD63-50C8FF1C7CF2}"/>
              </a:ext>
            </a:extLst>
          </p:cNvPr>
          <p:cNvSpPr txBox="1">
            <a:spLocks/>
          </p:cNvSpPr>
          <p:nvPr/>
        </p:nvSpPr>
        <p:spPr>
          <a:xfrm>
            <a:off x="6223901" y="3037919"/>
            <a:ext cx="5105309" cy="645047"/>
          </a:xfrm>
          <a:prstGeom prst="rect">
            <a:avLst/>
          </a:prstGeom>
          <a:noFill/>
        </p:spPr>
        <p:txBody>
          <a:bodyPr vert="horz" lIns="0" tIns="0" rIns="0" bIns="0" rtlCol="0" anchor="ctr">
            <a:noAutofit/>
          </a:bodyPr>
          <a:lstStyle/>
          <a:p>
            <a:pPr lvl="0">
              <a:lnSpc>
                <a:spcPct val="90000"/>
              </a:lnSpc>
              <a:spcBef>
                <a:spcPts val="1000"/>
              </a:spcBef>
              <a:defRPr/>
            </a:pPr>
            <a:r>
              <a:rPr lang="pt-PT" b="1" dirty="0">
                <a:solidFill>
                  <a:srgbClr val="860864"/>
                </a:solidFill>
                <a:latin typeface="Verdana" panose="020B0604030504040204" pitchFamily="34" charset="0"/>
                <a:ea typeface="Verdana" panose="020B0604030504040204" pitchFamily="34" charset="0"/>
                <a:cs typeface="Verdana" panose="020B0604030504040204" pitchFamily="34" charset="0"/>
              </a:rPr>
              <a:t>instance is &lt;type&gt; cast</a:t>
            </a:r>
          </a:p>
        </p:txBody>
      </p:sp>
      <p:sp>
        <p:nvSpPr>
          <p:cNvPr id="15" name="Text Placeholder 10">
            <a:extLst>
              <a:ext uri="{FF2B5EF4-FFF2-40B4-BE49-F238E27FC236}">
                <a16:creationId xmlns:a16="http://schemas.microsoft.com/office/drawing/2014/main" id="{1B7F343D-CB38-4B74-99B2-6289243CF331}"/>
              </a:ext>
            </a:extLst>
          </p:cNvPr>
          <p:cNvSpPr txBox="1">
            <a:spLocks/>
          </p:cNvSpPr>
          <p:nvPr/>
        </p:nvSpPr>
        <p:spPr>
          <a:xfrm>
            <a:off x="6223903" y="3709289"/>
            <a:ext cx="2422578" cy="1711208"/>
          </a:xfrm>
          <a:prstGeom prst="rect">
            <a:avLst/>
          </a:prstGeom>
        </p:spPr>
        <p:txBody>
          <a:bodyPr vert="horz" lIns="0" tIns="0" rIns="0" bIns="0" rtlCol="0">
            <a:noAutofit/>
          </a:bodyPr>
          <a:lstStyle/>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   </a:t>
            </a:r>
          </a:p>
        </p:txBody>
      </p:sp>
      <p:pic>
        <p:nvPicPr>
          <p:cNvPr id="3" name="Obraz 2">
            <a:extLst>
              <a:ext uri="{FF2B5EF4-FFF2-40B4-BE49-F238E27FC236}">
                <a16:creationId xmlns:a16="http://schemas.microsoft.com/office/drawing/2014/main" id="{6174674C-5664-4962-B2A5-75B20E4CA76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354690" y="3694418"/>
            <a:ext cx="3483295" cy="2254376"/>
          </a:xfrm>
          <a:prstGeom prst="rect">
            <a:avLst/>
          </a:prstGeom>
        </p:spPr>
      </p:pic>
      <p:pic>
        <p:nvPicPr>
          <p:cNvPr id="23" name="Obraz 22">
            <a:extLst>
              <a:ext uri="{FF2B5EF4-FFF2-40B4-BE49-F238E27FC236}">
                <a16:creationId xmlns:a16="http://schemas.microsoft.com/office/drawing/2014/main" id="{EF7B0055-47D6-4EA3-BE37-30DAB5867182}"/>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74871" y="3688124"/>
            <a:ext cx="3496779" cy="2263102"/>
          </a:xfrm>
          <a:prstGeom prst="rect">
            <a:avLst/>
          </a:prstGeom>
        </p:spPr>
      </p:pic>
    </p:spTree>
    <p:extLst>
      <p:ext uri="{BB962C8B-B14F-4D97-AF65-F5344CB8AC3E}">
        <p14:creationId xmlns:p14="http://schemas.microsoft.com/office/powerpoint/2010/main" val="225809798"/>
      </p:ext>
    </p:extLst>
  </p:cSld>
  <p:clrMapOvr>
    <a:masterClrMapping/>
  </p:clrMapOvr>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ytuł 3">
            <a:extLst>
              <a:ext uri="{FF2B5EF4-FFF2-40B4-BE49-F238E27FC236}">
                <a16:creationId xmlns:a16="http://schemas.microsoft.com/office/drawing/2014/main" id="{BE6E47FB-5E55-45DB-B712-E4993D47A776}"/>
              </a:ext>
            </a:extLst>
          </p:cNvPr>
          <p:cNvSpPr>
            <a:spLocks noGrp="1"/>
          </p:cNvSpPr>
          <p:nvPr>
            <p:ph type="title"/>
          </p:nvPr>
        </p:nvSpPr>
        <p:spPr/>
        <p:txBody>
          <a:bodyPr/>
          <a:lstStyle/>
          <a:p>
            <a:r>
              <a:rPr lang="en-US" sz="3200" dirty="0"/>
              <a:t>Recursive patterns</a:t>
            </a:r>
          </a:p>
        </p:txBody>
      </p:sp>
      <p:sp>
        <p:nvSpPr>
          <p:cNvPr id="6" name="Symbol zastępczy tekstu 5">
            <a:extLst>
              <a:ext uri="{FF2B5EF4-FFF2-40B4-BE49-F238E27FC236}">
                <a16:creationId xmlns:a16="http://schemas.microsoft.com/office/drawing/2014/main" id="{1302AB4B-7554-47F7-BBCD-39BD33559A94}"/>
              </a:ext>
            </a:extLst>
          </p:cNvPr>
          <p:cNvSpPr>
            <a:spLocks noGrp="1"/>
          </p:cNvSpPr>
          <p:nvPr>
            <p:ph type="body" sz="quarter" idx="11"/>
          </p:nvPr>
        </p:nvSpPr>
        <p:spPr/>
        <p:txBody>
          <a:bodyPr/>
          <a:lstStyle/>
          <a:p>
            <a:r>
              <a:rPr lang="en-US" dirty="0"/>
              <a:t>C# 8.0 – declaration/property/constant pattern</a:t>
            </a:r>
          </a:p>
        </p:txBody>
      </p:sp>
      <p:sp>
        <p:nvSpPr>
          <p:cNvPr id="7" name="Symbol zastępczy tekstu 6">
            <a:extLst>
              <a:ext uri="{FF2B5EF4-FFF2-40B4-BE49-F238E27FC236}">
                <a16:creationId xmlns:a16="http://schemas.microsoft.com/office/drawing/2014/main" id="{5D8A2B1E-A86F-4A25-94A4-5CF446FD2951}"/>
              </a:ext>
            </a:extLst>
          </p:cNvPr>
          <p:cNvSpPr>
            <a:spLocks noGrp="1"/>
          </p:cNvSpPr>
          <p:nvPr>
            <p:ph type="body" sz="quarter" idx="12"/>
          </p:nvPr>
        </p:nvSpPr>
        <p:spPr/>
        <p:txBody>
          <a:bodyPr/>
          <a:lstStyle/>
          <a:p>
            <a:r>
              <a:rPr lang="en-US" dirty="0"/>
              <a:t>3</a:t>
            </a:r>
          </a:p>
        </p:txBody>
      </p:sp>
      <p:sp>
        <p:nvSpPr>
          <p:cNvPr id="8" name="Rectangle 59">
            <a:extLst>
              <a:ext uri="{FF2B5EF4-FFF2-40B4-BE49-F238E27FC236}">
                <a16:creationId xmlns:a16="http://schemas.microsoft.com/office/drawing/2014/main" id="{9170586B-8360-4322-8F30-6DAE0C4FF5AC}"/>
              </a:ext>
            </a:extLst>
          </p:cNvPr>
          <p:cNvSpPr/>
          <p:nvPr/>
        </p:nvSpPr>
        <p:spPr>
          <a:xfrm>
            <a:off x="5984776" y="2365334"/>
            <a:ext cx="5398008" cy="358346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9" name="Rectangle 59">
            <a:extLst>
              <a:ext uri="{FF2B5EF4-FFF2-40B4-BE49-F238E27FC236}">
                <a16:creationId xmlns:a16="http://schemas.microsoft.com/office/drawing/2014/main" id="{AD29A4CD-0C55-49F8-8BB5-249C81F9E5ED}"/>
              </a:ext>
            </a:extLst>
          </p:cNvPr>
          <p:cNvSpPr/>
          <p:nvPr/>
        </p:nvSpPr>
        <p:spPr>
          <a:xfrm>
            <a:off x="551384" y="2365334"/>
            <a:ext cx="5379818" cy="358346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0" name="Freeform 20">
            <a:extLst>
              <a:ext uri="{FF2B5EF4-FFF2-40B4-BE49-F238E27FC236}">
                <a16:creationId xmlns:a16="http://schemas.microsoft.com/office/drawing/2014/main" id="{27F62311-C154-49C7-8863-079C437DF5CD}"/>
              </a:ext>
            </a:extLst>
          </p:cNvPr>
          <p:cNvSpPr>
            <a:spLocks/>
          </p:cNvSpPr>
          <p:nvPr/>
        </p:nvSpPr>
        <p:spPr bwMode="auto">
          <a:xfrm>
            <a:off x="5591944" y="1702869"/>
            <a:ext cx="1330762" cy="1244311"/>
          </a:xfrm>
          <a:custGeom>
            <a:avLst/>
            <a:gdLst>
              <a:gd name="T0" fmla="*/ 101 w 701"/>
              <a:gd name="T1" fmla="*/ 513 h 655"/>
              <a:gd name="T2" fmla="*/ 168 w 701"/>
              <a:gd name="T3" fmla="*/ 98 h 655"/>
              <a:gd name="T4" fmla="*/ 600 w 701"/>
              <a:gd name="T5" fmla="*/ 159 h 655"/>
              <a:gd name="T6" fmla="*/ 522 w 701"/>
              <a:gd name="T7" fmla="*/ 558 h 655"/>
              <a:gd name="T8" fmla="*/ 101 w 701"/>
              <a:gd name="T9" fmla="*/ 513 h 655"/>
            </a:gdLst>
            <a:ahLst/>
            <a:cxnLst>
              <a:cxn ang="0">
                <a:pos x="T0" y="T1"/>
              </a:cxn>
              <a:cxn ang="0">
                <a:pos x="T2" y="T3"/>
              </a:cxn>
              <a:cxn ang="0">
                <a:pos x="T4" y="T5"/>
              </a:cxn>
              <a:cxn ang="0">
                <a:pos x="T6" y="T7"/>
              </a:cxn>
              <a:cxn ang="0">
                <a:pos x="T8" y="T9"/>
              </a:cxn>
            </a:cxnLst>
            <a:rect l="0" t="0" r="r" b="b"/>
            <a:pathLst>
              <a:path w="701" h="655">
                <a:moveTo>
                  <a:pt x="101" y="513"/>
                </a:moveTo>
                <a:cubicBezTo>
                  <a:pt x="0" y="381"/>
                  <a:pt x="30" y="196"/>
                  <a:pt x="168" y="98"/>
                </a:cubicBezTo>
                <a:cubicBezTo>
                  <a:pt x="306" y="0"/>
                  <a:pt x="500" y="28"/>
                  <a:pt x="600" y="159"/>
                </a:cubicBezTo>
                <a:cubicBezTo>
                  <a:pt x="701" y="290"/>
                  <a:pt x="660" y="460"/>
                  <a:pt x="522" y="558"/>
                </a:cubicBezTo>
                <a:cubicBezTo>
                  <a:pt x="384" y="655"/>
                  <a:pt x="202" y="644"/>
                  <a:pt x="101" y="513"/>
                </a:cubicBezTo>
              </a:path>
            </a:pathLst>
          </a:custGeom>
          <a:solidFill>
            <a:srgbClr val="86086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algn="ctr"/>
            <a:endParaRPr lang="pt-PT" b="1" dirty="0">
              <a:solidFill>
                <a:schemeClr val="bg1"/>
              </a:solidFill>
            </a:endParaRPr>
          </a:p>
        </p:txBody>
      </p:sp>
      <p:sp>
        <p:nvSpPr>
          <p:cNvPr id="11" name="Freeform 31">
            <a:extLst>
              <a:ext uri="{FF2B5EF4-FFF2-40B4-BE49-F238E27FC236}">
                <a16:creationId xmlns:a16="http://schemas.microsoft.com/office/drawing/2014/main" id="{68B6E052-FBF9-4AEB-A4DD-99CA87EF649D}"/>
              </a:ext>
            </a:extLst>
          </p:cNvPr>
          <p:cNvSpPr>
            <a:spLocks/>
          </p:cNvSpPr>
          <p:nvPr/>
        </p:nvSpPr>
        <p:spPr bwMode="auto">
          <a:xfrm>
            <a:off x="353137" y="1675813"/>
            <a:ext cx="1359985" cy="1271367"/>
          </a:xfrm>
          <a:custGeom>
            <a:avLst/>
            <a:gdLst>
              <a:gd name="T0" fmla="*/ 207 w 1442"/>
              <a:gd name="T1" fmla="*/ 1053 h 1347"/>
              <a:gd name="T2" fmla="*/ 346 w 1442"/>
              <a:gd name="T3" fmla="*/ 201 h 1347"/>
              <a:gd name="T4" fmla="*/ 1235 w 1442"/>
              <a:gd name="T5" fmla="*/ 326 h 1347"/>
              <a:gd name="T6" fmla="*/ 1073 w 1442"/>
              <a:gd name="T7" fmla="*/ 1147 h 1347"/>
              <a:gd name="T8" fmla="*/ 207 w 1442"/>
              <a:gd name="T9" fmla="*/ 1053 h 1347"/>
            </a:gdLst>
            <a:ahLst/>
            <a:cxnLst>
              <a:cxn ang="0">
                <a:pos x="T0" y="T1"/>
              </a:cxn>
              <a:cxn ang="0">
                <a:pos x="T2" y="T3"/>
              </a:cxn>
              <a:cxn ang="0">
                <a:pos x="T4" y="T5"/>
              </a:cxn>
              <a:cxn ang="0">
                <a:pos x="T6" y="T7"/>
              </a:cxn>
              <a:cxn ang="0">
                <a:pos x="T8" y="T9"/>
              </a:cxn>
            </a:cxnLst>
            <a:rect l="0" t="0" r="r" b="b"/>
            <a:pathLst>
              <a:path w="1442" h="1347">
                <a:moveTo>
                  <a:pt x="207" y="1053"/>
                </a:moveTo>
                <a:cubicBezTo>
                  <a:pt x="0" y="783"/>
                  <a:pt x="62" y="401"/>
                  <a:pt x="346" y="201"/>
                </a:cubicBezTo>
                <a:cubicBezTo>
                  <a:pt x="629" y="0"/>
                  <a:pt x="1028" y="56"/>
                  <a:pt x="1235" y="326"/>
                </a:cubicBezTo>
                <a:cubicBezTo>
                  <a:pt x="1442" y="596"/>
                  <a:pt x="1357" y="946"/>
                  <a:pt x="1073" y="1147"/>
                </a:cubicBezTo>
                <a:cubicBezTo>
                  <a:pt x="790" y="1347"/>
                  <a:pt x="415" y="1324"/>
                  <a:pt x="207" y="1053"/>
                </a:cubicBezTo>
              </a:path>
            </a:pathLst>
          </a:custGeom>
          <a:solidFill>
            <a:srgbClr val="00206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algn="ctr"/>
            <a:endParaRPr lang="pt-PT" b="1" dirty="0">
              <a:solidFill>
                <a:schemeClr val="bg1"/>
              </a:solidFill>
            </a:endParaRPr>
          </a:p>
        </p:txBody>
      </p:sp>
      <p:sp>
        <p:nvSpPr>
          <p:cNvPr id="12" name="Text Placeholder 9">
            <a:extLst>
              <a:ext uri="{FF2B5EF4-FFF2-40B4-BE49-F238E27FC236}">
                <a16:creationId xmlns:a16="http://schemas.microsoft.com/office/drawing/2014/main" id="{47FF76BE-F8D6-4015-A199-2EEBA4274A45}"/>
              </a:ext>
            </a:extLst>
          </p:cNvPr>
          <p:cNvSpPr txBox="1">
            <a:spLocks/>
          </p:cNvSpPr>
          <p:nvPr/>
        </p:nvSpPr>
        <p:spPr>
          <a:xfrm>
            <a:off x="862790" y="3037919"/>
            <a:ext cx="4873170" cy="645047"/>
          </a:xfrm>
          <a:prstGeom prst="rect">
            <a:avLst/>
          </a:prstGeom>
          <a:noFill/>
        </p:spPr>
        <p:txBody>
          <a:bodyPr vert="horz" lIns="0" tIns="0" rIns="0" bIns="0" rtlCol="0" anchor="ctr">
            <a:noAutofit/>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pt-PT" b="1" dirty="0">
                <a:solidFill>
                  <a:srgbClr val="002060"/>
                </a:solidFill>
                <a:latin typeface="Verdana" panose="020B0604030504040204" pitchFamily="34" charset="0"/>
                <a:ea typeface="Verdana" panose="020B0604030504040204" pitchFamily="34" charset="0"/>
                <a:cs typeface="Verdana" panose="020B0604030504040204" pitchFamily="34" charset="0"/>
              </a:rPr>
              <a:t>declaration + property pattern</a:t>
            </a:r>
            <a:endParaRPr kumimoji="0" lang="pt-PT" b="1" i="0" u="none" strike="noStrike" kern="1200" cap="none" spc="0" normalizeH="0" baseline="0" noProof="0" dirty="0">
              <a:ln>
                <a:noFill/>
              </a:ln>
              <a:solidFill>
                <a:srgbClr val="002060"/>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13" name="Text Placeholder 10">
            <a:extLst>
              <a:ext uri="{FF2B5EF4-FFF2-40B4-BE49-F238E27FC236}">
                <a16:creationId xmlns:a16="http://schemas.microsoft.com/office/drawing/2014/main" id="{AA224A2D-D45D-4B63-A54C-7690B2B97176}"/>
              </a:ext>
            </a:extLst>
          </p:cNvPr>
          <p:cNvSpPr txBox="1">
            <a:spLocks/>
          </p:cNvSpPr>
          <p:nvPr/>
        </p:nvSpPr>
        <p:spPr>
          <a:xfrm>
            <a:off x="862792" y="3709289"/>
            <a:ext cx="2330861" cy="1711208"/>
          </a:xfrm>
          <a:prstGeom prst="rect">
            <a:avLst/>
          </a:prstGeom>
        </p:spPr>
        <p:txBody>
          <a:bodyPr vert="horz" lIns="0" tIns="0" rIns="0" bIns="0" rtlCol="0">
            <a:noAutofit/>
          </a:bodyPr>
          <a:lstStyle/>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  </a:t>
            </a:r>
            <a:b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br>
            <a:r>
              <a:rPr lang="en-US" sz="2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 </a:t>
            </a: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 </a:t>
            </a:r>
            <a:b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br>
            <a:r>
              <a:rPr lang="en-US" sz="2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 </a:t>
            </a:r>
            <a:endPar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endParaRPr>
          </a:p>
        </p:txBody>
      </p:sp>
      <p:sp>
        <p:nvSpPr>
          <p:cNvPr id="14" name="Text Placeholder 9">
            <a:extLst>
              <a:ext uri="{FF2B5EF4-FFF2-40B4-BE49-F238E27FC236}">
                <a16:creationId xmlns:a16="http://schemas.microsoft.com/office/drawing/2014/main" id="{99EB591F-D916-47E2-BD63-50C8FF1C7CF2}"/>
              </a:ext>
            </a:extLst>
          </p:cNvPr>
          <p:cNvSpPr txBox="1">
            <a:spLocks/>
          </p:cNvSpPr>
          <p:nvPr/>
        </p:nvSpPr>
        <p:spPr>
          <a:xfrm>
            <a:off x="6223901" y="3037919"/>
            <a:ext cx="5105309" cy="645047"/>
          </a:xfrm>
          <a:prstGeom prst="rect">
            <a:avLst/>
          </a:prstGeom>
          <a:noFill/>
        </p:spPr>
        <p:txBody>
          <a:bodyPr vert="horz" lIns="0" tIns="0" rIns="0" bIns="0" rtlCol="0" anchor="ctr">
            <a:noAutofit/>
          </a:bodyPr>
          <a:lstStyle/>
          <a:p>
            <a:pPr lvl="0">
              <a:lnSpc>
                <a:spcPct val="90000"/>
              </a:lnSpc>
              <a:spcBef>
                <a:spcPts val="1000"/>
              </a:spcBef>
              <a:defRPr/>
            </a:pPr>
            <a:r>
              <a:rPr lang="pt-PT" b="1" dirty="0">
                <a:solidFill>
                  <a:srgbClr val="860864"/>
                </a:solidFill>
                <a:latin typeface="Verdana" panose="020B0604030504040204" pitchFamily="34" charset="0"/>
                <a:ea typeface="Verdana" panose="020B0604030504040204" pitchFamily="34" charset="0"/>
                <a:cs typeface="Verdana" panose="020B0604030504040204" pitchFamily="34" charset="0"/>
              </a:rPr>
              <a:t>recursive property + constant pattern</a:t>
            </a:r>
          </a:p>
        </p:txBody>
      </p:sp>
      <p:sp>
        <p:nvSpPr>
          <p:cNvPr id="15" name="Text Placeholder 10">
            <a:extLst>
              <a:ext uri="{FF2B5EF4-FFF2-40B4-BE49-F238E27FC236}">
                <a16:creationId xmlns:a16="http://schemas.microsoft.com/office/drawing/2014/main" id="{1B7F343D-CB38-4B74-99B2-6289243CF331}"/>
              </a:ext>
            </a:extLst>
          </p:cNvPr>
          <p:cNvSpPr txBox="1">
            <a:spLocks/>
          </p:cNvSpPr>
          <p:nvPr/>
        </p:nvSpPr>
        <p:spPr>
          <a:xfrm>
            <a:off x="6223903" y="3709289"/>
            <a:ext cx="2422578" cy="1711208"/>
          </a:xfrm>
          <a:prstGeom prst="rect">
            <a:avLst/>
          </a:prstGeom>
        </p:spPr>
        <p:txBody>
          <a:bodyPr vert="horz" lIns="0" tIns="0" rIns="0" bIns="0" rtlCol="0">
            <a:noAutofit/>
          </a:bodyPr>
          <a:lstStyle/>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   </a:t>
            </a:r>
          </a:p>
        </p:txBody>
      </p:sp>
      <p:pic>
        <p:nvPicPr>
          <p:cNvPr id="3" name="Obraz 2">
            <a:extLst>
              <a:ext uri="{FF2B5EF4-FFF2-40B4-BE49-F238E27FC236}">
                <a16:creationId xmlns:a16="http://schemas.microsoft.com/office/drawing/2014/main" id="{6174674C-5664-4962-B2A5-75B20E4CA76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345373" y="3706523"/>
            <a:ext cx="3483295" cy="1947554"/>
          </a:xfrm>
          <a:prstGeom prst="rect">
            <a:avLst/>
          </a:prstGeom>
        </p:spPr>
      </p:pic>
      <p:pic>
        <p:nvPicPr>
          <p:cNvPr id="23" name="Obraz 22">
            <a:extLst>
              <a:ext uri="{FF2B5EF4-FFF2-40B4-BE49-F238E27FC236}">
                <a16:creationId xmlns:a16="http://schemas.microsoft.com/office/drawing/2014/main" id="{EF7B0055-47D6-4EA3-BE37-30DAB5867182}"/>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74872" y="3706523"/>
            <a:ext cx="3496779" cy="1896556"/>
          </a:xfrm>
          <a:prstGeom prst="rect">
            <a:avLst/>
          </a:prstGeom>
        </p:spPr>
      </p:pic>
    </p:spTree>
    <p:extLst>
      <p:ext uri="{BB962C8B-B14F-4D97-AF65-F5344CB8AC3E}">
        <p14:creationId xmlns:p14="http://schemas.microsoft.com/office/powerpoint/2010/main" val="2805467970"/>
      </p:ext>
    </p:extLst>
  </p:cSld>
  <p:clrMapOvr>
    <a:masterClrMapping/>
  </p:clrMapOvr>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ytuł 3">
            <a:extLst>
              <a:ext uri="{FF2B5EF4-FFF2-40B4-BE49-F238E27FC236}">
                <a16:creationId xmlns:a16="http://schemas.microsoft.com/office/drawing/2014/main" id="{BE6E47FB-5E55-45DB-B712-E4993D47A776}"/>
              </a:ext>
            </a:extLst>
          </p:cNvPr>
          <p:cNvSpPr>
            <a:spLocks noGrp="1"/>
          </p:cNvSpPr>
          <p:nvPr>
            <p:ph type="title"/>
          </p:nvPr>
        </p:nvSpPr>
        <p:spPr/>
        <p:txBody>
          <a:bodyPr/>
          <a:lstStyle/>
          <a:p>
            <a:r>
              <a:rPr lang="en-US" sz="3200" dirty="0"/>
              <a:t>Recursive patterns</a:t>
            </a:r>
          </a:p>
        </p:txBody>
      </p:sp>
      <p:sp>
        <p:nvSpPr>
          <p:cNvPr id="6" name="Symbol zastępczy tekstu 5">
            <a:extLst>
              <a:ext uri="{FF2B5EF4-FFF2-40B4-BE49-F238E27FC236}">
                <a16:creationId xmlns:a16="http://schemas.microsoft.com/office/drawing/2014/main" id="{1302AB4B-7554-47F7-BBCD-39BD33559A94}"/>
              </a:ext>
            </a:extLst>
          </p:cNvPr>
          <p:cNvSpPr>
            <a:spLocks noGrp="1"/>
          </p:cNvSpPr>
          <p:nvPr>
            <p:ph type="body" sz="quarter" idx="11"/>
          </p:nvPr>
        </p:nvSpPr>
        <p:spPr/>
        <p:txBody>
          <a:bodyPr/>
          <a:lstStyle/>
          <a:p>
            <a:r>
              <a:rPr lang="en-US" dirty="0"/>
              <a:t>C# 8.0 – property/designation/positional/discard pattern</a:t>
            </a:r>
          </a:p>
        </p:txBody>
      </p:sp>
      <p:sp>
        <p:nvSpPr>
          <p:cNvPr id="7" name="Symbol zastępczy tekstu 6">
            <a:extLst>
              <a:ext uri="{FF2B5EF4-FFF2-40B4-BE49-F238E27FC236}">
                <a16:creationId xmlns:a16="http://schemas.microsoft.com/office/drawing/2014/main" id="{5D8A2B1E-A86F-4A25-94A4-5CF446FD2951}"/>
              </a:ext>
            </a:extLst>
          </p:cNvPr>
          <p:cNvSpPr>
            <a:spLocks noGrp="1"/>
          </p:cNvSpPr>
          <p:nvPr>
            <p:ph type="body" sz="quarter" idx="12"/>
          </p:nvPr>
        </p:nvSpPr>
        <p:spPr/>
        <p:txBody>
          <a:bodyPr/>
          <a:lstStyle/>
          <a:p>
            <a:r>
              <a:rPr lang="en-US" dirty="0"/>
              <a:t>4</a:t>
            </a:r>
          </a:p>
        </p:txBody>
      </p:sp>
      <p:sp>
        <p:nvSpPr>
          <p:cNvPr id="8" name="Rectangle 59">
            <a:extLst>
              <a:ext uri="{FF2B5EF4-FFF2-40B4-BE49-F238E27FC236}">
                <a16:creationId xmlns:a16="http://schemas.microsoft.com/office/drawing/2014/main" id="{9170586B-8360-4322-8F30-6DAE0C4FF5AC}"/>
              </a:ext>
            </a:extLst>
          </p:cNvPr>
          <p:cNvSpPr/>
          <p:nvPr/>
        </p:nvSpPr>
        <p:spPr>
          <a:xfrm>
            <a:off x="5984776" y="2365334"/>
            <a:ext cx="5398008" cy="358346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9" name="Rectangle 59">
            <a:extLst>
              <a:ext uri="{FF2B5EF4-FFF2-40B4-BE49-F238E27FC236}">
                <a16:creationId xmlns:a16="http://schemas.microsoft.com/office/drawing/2014/main" id="{AD29A4CD-0C55-49F8-8BB5-249C81F9E5ED}"/>
              </a:ext>
            </a:extLst>
          </p:cNvPr>
          <p:cNvSpPr/>
          <p:nvPr/>
        </p:nvSpPr>
        <p:spPr>
          <a:xfrm>
            <a:off x="551384" y="2365334"/>
            <a:ext cx="5379818" cy="358346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0" name="Freeform 20">
            <a:extLst>
              <a:ext uri="{FF2B5EF4-FFF2-40B4-BE49-F238E27FC236}">
                <a16:creationId xmlns:a16="http://schemas.microsoft.com/office/drawing/2014/main" id="{27F62311-C154-49C7-8863-079C437DF5CD}"/>
              </a:ext>
            </a:extLst>
          </p:cNvPr>
          <p:cNvSpPr>
            <a:spLocks/>
          </p:cNvSpPr>
          <p:nvPr/>
        </p:nvSpPr>
        <p:spPr bwMode="auto">
          <a:xfrm>
            <a:off x="5591944" y="1702869"/>
            <a:ext cx="1330762" cy="1244311"/>
          </a:xfrm>
          <a:custGeom>
            <a:avLst/>
            <a:gdLst>
              <a:gd name="T0" fmla="*/ 101 w 701"/>
              <a:gd name="T1" fmla="*/ 513 h 655"/>
              <a:gd name="T2" fmla="*/ 168 w 701"/>
              <a:gd name="T3" fmla="*/ 98 h 655"/>
              <a:gd name="T4" fmla="*/ 600 w 701"/>
              <a:gd name="T5" fmla="*/ 159 h 655"/>
              <a:gd name="T6" fmla="*/ 522 w 701"/>
              <a:gd name="T7" fmla="*/ 558 h 655"/>
              <a:gd name="T8" fmla="*/ 101 w 701"/>
              <a:gd name="T9" fmla="*/ 513 h 655"/>
            </a:gdLst>
            <a:ahLst/>
            <a:cxnLst>
              <a:cxn ang="0">
                <a:pos x="T0" y="T1"/>
              </a:cxn>
              <a:cxn ang="0">
                <a:pos x="T2" y="T3"/>
              </a:cxn>
              <a:cxn ang="0">
                <a:pos x="T4" y="T5"/>
              </a:cxn>
              <a:cxn ang="0">
                <a:pos x="T6" y="T7"/>
              </a:cxn>
              <a:cxn ang="0">
                <a:pos x="T8" y="T9"/>
              </a:cxn>
            </a:cxnLst>
            <a:rect l="0" t="0" r="r" b="b"/>
            <a:pathLst>
              <a:path w="701" h="655">
                <a:moveTo>
                  <a:pt x="101" y="513"/>
                </a:moveTo>
                <a:cubicBezTo>
                  <a:pt x="0" y="381"/>
                  <a:pt x="30" y="196"/>
                  <a:pt x="168" y="98"/>
                </a:cubicBezTo>
                <a:cubicBezTo>
                  <a:pt x="306" y="0"/>
                  <a:pt x="500" y="28"/>
                  <a:pt x="600" y="159"/>
                </a:cubicBezTo>
                <a:cubicBezTo>
                  <a:pt x="701" y="290"/>
                  <a:pt x="660" y="460"/>
                  <a:pt x="522" y="558"/>
                </a:cubicBezTo>
                <a:cubicBezTo>
                  <a:pt x="384" y="655"/>
                  <a:pt x="202" y="644"/>
                  <a:pt x="101" y="513"/>
                </a:cubicBezTo>
              </a:path>
            </a:pathLst>
          </a:custGeom>
          <a:solidFill>
            <a:srgbClr val="86086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algn="ctr"/>
            <a:endParaRPr lang="pt-PT" b="1" dirty="0">
              <a:solidFill>
                <a:schemeClr val="bg1"/>
              </a:solidFill>
            </a:endParaRPr>
          </a:p>
        </p:txBody>
      </p:sp>
      <p:sp>
        <p:nvSpPr>
          <p:cNvPr id="11" name="Freeform 31">
            <a:extLst>
              <a:ext uri="{FF2B5EF4-FFF2-40B4-BE49-F238E27FC236}">
                <a16:creationId xmlns:a16="http://schemas.microsoft.com/office/drawing/2014/main" id="{68B6E052-FBF9-4AEB-A4DD-99CA87EF649D}"/>
              </a:ext>
            </a:extLst>
          </p:cNvPr>
          <p:cNvSpPr>
            <a:spLocks/>
          </p:cNvSpPr>
          <p:nvPr/>
        </p:nvSpPr>
        <p:spPr bwMode="auto">
          <a:xfrm>
            <a:off x="353137" y="1675813"/>
            <a:ext cx="1359985" cy="1271367"/>
          </a:xfrm>
          <a:custGeom>
            <a:avLst/>
            <a:gdLst>
              <a:gd name="T0" fmla="*/ 207 w 1442"/>
              <a:gd name="T1" fmla="*/ 1053 h 1347"/>
              <a:gd name="T2" fmla="*/ 346 w 1442"/>
              <a:gd name="T3" fmla="*/ 201 h 1347"/>
              <a:gd name="T4" fmla="*/ 1235 w 1442"/>
              <a:gd name="T5" fmla="*/ 326 h 1347"/>
              <a:gd name="T6" fmla="*/ 1073 w 1442"/>
              <a:gd name="T7" fmla="*/ 1147 h 1347"/>
              <a:gd name="T8" fmla="*/ 207 w 1442"/>
              <a:gd name="T9" fmla="*/ 1053 h 1347"/>
            </a:gdLst>
            <a:ahLst/>
            <a:cxnLst>
              <a:cxn ang="0">
                <a:pos x="T0" y="T1"/>
              </a:cxn>
              <a:cxn ang="0">
                <a:pos x="T2" y="T3"/>
              </a:cxn>
              <a:cxn ang="0">
                <a:pos x="T4" y="T5"/>
              </a:cxn>
              <a:cxn ang="0">
                <a:pos x="T6" y="T7"/>
              </a:cxn>
              <a:cxn ang="0">
                <a:pos x="T8" y="T9"/>
              </a:cxn>
            </a:cxnLst>
            <a:rect l="0" t="0" r="r" b="b"/>
            <a:pathLst>
              <a:path w="1442" h="1347">
                <a:moveTo>
                  <a:pt x="207" y="1053"/>
                </a:moveTo>
                <a:cubicBezTo>
                  <a:pt x="0" y="783"/>
                  <a:pt x="62" y="401"/>
                  <a:pt x="346" y="201"/>
                </a:cubicBezTo>
                <a:cubicBezTo>
                  <a:pt x="629" y="0"/>
                  <a:pt x="1028" y="56"/>
                  <a:pt x="1235" y="326"/>
                </a:cubicBezTo>
                <a:cubicBezTo>
                  <a:pt x="1442" y="596"/>
                  <a:pt x="1357" y="946"/>
                  <a:pt x="1073" y="1147"/>
                </a:cubicBezTo>
                <a:cubicBezTo>
                  <a:pt x="790" y="1347"/>
                  <a:pt x="415" y="1324"/>
                  <a:pt x="207" y="1053"/>
                </a:cubicBezTo>
              </a:path>
            </a:pathLst>
          </a:custGeom>
          <a:solidFill>
            <a:srgbClr val="00206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algn="ctr"/>
            <a:endParaRPr lang="pt-PT" b="1" dirty="0">
              <a:solidFill>
                <a:schemeClr val="bg1"/>
              </a:solidFill>
            </a:endParaRPr>
          </a:p>
        </p:txBody>
      </p:sp>
      <p:sp>
        <p:nvSpPr>
          <p:cNvPr id="12" name="Text Placeholder 9">
            <a:extLst>
              <a:ext uri="{FF2B5EF4-FFF2-40B4-BE49-F238E27FC236}">
                <a16:creationId xmlns:a16="http://schemas.microsoft.com/office/drawing/2014/main" id="{47FF76BE-F8D6-4015-A199-2EEBA4274A45}"/>
              </a:ext>
            </a:extLst>
          </p:cNvPr>
          <p:cNvSpPr txBox="1">
            <a:spLocks/>
          </p:cNvSpPr>
          <p:nvPr/>
        </p:nvSpPr>
        <p:spPr>
          <a:xfrm>
            <a:off x="862790" y="3037919"/>
            <a:ext cx="4873170" cy="645047"/>
          </a:xfrm>
          <a:prstGeom prst="rect">
            <a:avLst/>
          </a:prstGeom>
          <a:noFill/>
        </p:spPr>
        <p:txBody>
          <a:bodyPr vert="horz" lIns="0" tIns="0" rIns="0" bIns="0" rtlCol="0" anchor="ctr">
            <a:noAutofit/>
          </a:bodyPr>
          <a:lstStyle/>
          <a:p>
            <a:pPr lvl="0">
              <a:lnSpc>
                <a:spcPct val="90000"/>
              </a:lnSpc>
              <a:spcBef>
                <a:spcPts val="1000"/>
              </a:spcBef>
              <a:defRPr/>
            </a:pPr>
            <a:r>
              <a:rPr lang="pt-PT" b="1" dirty="0">
                <a:solidFill>
                  <a:srgbClr val="002060"/>
                </a:solidFill>
                <a:latin typeface="Verdana" panose="020B0604030504040204" pitchFamily="34" charset="0"/>
                <a:ea typeface="Verdana" panose="020B0604030504040204" pitchFamily="34" charset="0"/>
                <a:cs typeface="Verdana" panose="020B0604030504040204" pitchFamily="34" charset="0"/>
              </a:rPr>
              <a:t>null +empty (property) pattern</a:t>
            </a:r>
            <a:endParaRPr kumimoji="0" lang="pt-PT" b="1" i="0" u="none" strike="noStrike" kern="1200" cap="none" spc="0" normalizeH="0" baseline="0" noProof="0" dirty="0">
              <a:ln>
                <a:noFill/>
              </a:ln>
              <a:solidFill>
                <a:srgbClr val="002060"/>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13" name="Text Placeholder 10">
            <a:extLst>
              <a:ext uri="{FF2B5EF4-FFF2-40B4-BE49-F238E27FC236}">
                <a16:creationId xmlns:a16="http://schemas.microsoft.com/office/drawing/2014/main" id="{AA224A2D-D45D-4B63-A54C-7690B2B97176}"/>
              </a:ext>
            </a:extLst>
          </p:cNvPr>
          <p:cNvSpPr txBox="1">
            <a:spLocks/>
          </p:cNvSpPr>
          <p:nvPr/>
        </p:nvSpPr>
        <p:spPr>
          <a:xfrm>
            <a:off x="862792" y="3709289"/>
            <a:ext cx="2330861" cy="1711208"/>
          </a:xfrm>
          <a:prstGeom prst="rect">
            <a:avLst/>
          </a:prstGeom>
        </p:spPr>
        <p:txBody>
          <a:bodyPr vert="horz" lIns="0" tIns="0" rIns="0" bIns="0" rtlCol="0">
            <a:noAutofit/>
          </a:bodyPr>
          <a:lstStyle/>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  </a:t>
            </a:r>
            <a:b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br>
            <a:r>
              <a:rPr lang="en-US" sz="2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 </a:t>
            </a: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 </a:t>
            </a:r>
            <a:b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br>
            <a:r>
              <a:rPr lang="en-US" sz="2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 </a:t>
            </a:r>
            <a:endPar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endParaRPr>
          </a:p>
        </p:txBody>
      </p:sp>
      <p:sp>
        <p:nvSpPr>
          <p:cNvPr id="14" name="Text Placeholder 9">
            <a:extLst>
              <a:ext uri="{FF2B5EF4-FFF2-40B4-BE49-F238E27FC236}">
                <a16:creationId xmlns:a16="http://schemas.microsoft.com/office/drawing/2014/main" id="{99EB591F-D916-47E2-BD63-50C8FF1C7CF2}"/>
              </a:ext>
            </a:extLst>
          </p:cNvPr>
          <p:cNvSpPr txBox="1">
            <a:spLocks/>
          </p:cNvSpPr>
          <p:nvPr/>
        </p:nvSpPr>
        <p:spPr>
          <a:xfrm>
            <a:off x="6223901" y="3037919"/>
            <a:ext cx="5105309" cy="645047"/>
          </a:xfrm>
          <a:prstGeom prst="rect">
            <a:avLst/>
          </a:prstGeom>
          <a:noFill/>
        </p:spPr>
        <p:txBody>
          <a:bodyPr vert="horz" lIns="0" tIns="0" rIns="0" bIns="0" rtlCol="0" anchor="ctr">
            <a:noAutofit/>
          </a:bodyPr>
          <a:lstStyle/>
          <a:p>
            <a:pPr lvl="0">
              <a:lnSpc>
                <a:spcPct val="90000"/>
              </a:lnSpc>
              <a:spcBef>
                <a:spcPts val="1000"/>
              </a:spcBef>
              <a:defRPr/>
            </a:pPr>
            <a:r>
              <a:rPr lang="pt-PT" b="1" dirty="0">
                <a:solidFill>
                  <a:srgbClr val="860864"/>
                </a:solidFill>
                <a:latin typeface="Verdana" panose="020B0604030504040204" pitchFamily="34" charset="0"/>
                <a:ea typeface="Verdana" panose="020B0604030504040204" pitchFamily="34" charset="0"/>
                <a:cs typeface="Verdana" panose="020B0604030504040204" pitchFamily="34" charset="0"/>
              </a:rPr>
              <a:t>positional + discard pattern</a:t>
            </a:r>
          </a:p>
        </p:txBody>
      </p:sp>
      <p:sp>
        <p:nvSpPr>
          <p:cNvPr id="15" name="Text Placeholder 10">
            <a:extLst>
              <a:ext uri="{FF2B5EF4-FFF2-40B4-BE49-F238E27FC236}">
                <a16:creationId xmlns:a16="http://schemas.microsoft.com/office/drawing/2014/main" id="{1B7F343D-CB38-4B74-99B2-6289243CF331}"/>
              </a:ext>
            </a:extLst>
          </p:cNvPr>
          <p:cNvSpPr txBox="1">
            <a:spLocks/>
          </p:cNvSpPr>
          <p:nvPr/>
        </p:nvSpPr>
        <p:spPr>
          <a:xfrm>
            <a:off x="6223903" y="3709289"/>
            <a:ext cx="2422578" cy="1711208"/>
          </a:xfrm>
          <a:prstGeom prst="rect">
            <a:avLst/>
          </a:prstGeom>
        </p:spPr>
        <p:txBody>
          <a:bodyPr vert="horz" lIns="0" tIns="0" rIns="0" bIns="0" rtlCol="0">
            <a:noAutofit/>
          </a:bodyPr>
          <a:lstStyle/>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   </a:t>
            </a:r>
          </a:p>
        </p:txBody>
      </p:sp>
      <p:pic>
        <p:nvPicPr>
          <p:cNvPr id="3" name="Obraz 2">
            <a:extLst>
              <a:ext uri="{FF2B5EF4-FFF2-40B4-BE49-F238E27FC236}">
                <a16:creationId xmlns:a16="http://schemas.microsoft.com/office/drawing/2014/main" id="{6174674C-5664-4962-B2A5-75B20E4CA76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347112" y="3709289"/>
            <a:ext cx="4141376" cy="2049339"/>
          </a:xfrm>
          <a:prstGeom prst="rect">
            <a:avLst/>
          </a:prstGeom>
        </p:spPr>
      </p:pic>
      <p:pic>
        <p:nvPicPr>
          <p:cNvPr id="16" name="Obraz 15">
            <a:extLst>
              <a:ext uri="{FF2B5EF4-FFF2-40B4-BE49-F238E27FC236}">
                <a16:creationId xmlns:a16="http://schemas.microsoft.com/office/drawing/2014/main" id="{FEEE5EEF-CF70-4443-B548-82102AD36FFC}"/>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74873" y="3708007"/>
            <a:ext cx="3531541" cy="1885772"/>
          </a:xfrm>
          <a:prstGeom prst="rect">
            <a:avLst/>
          </a:prstGeom>
        </p:spPr>
      </p:pic>
    </p:spTree>
    <p:extLst>
      <p:ext uri="{BB962C8B-B14F-4D97-AF65-F5344CB8AC3E}">
        <p14:creationId xmlns:p14="http://schemas.microsoft.com/office/powerpoint/2010/main" val="2397305099"/>
      </p:ext>
    </p:extLst>
  </p:cSld>
  <p:clrMapOvr>
    <a:masterClrMapping/>
  </p:clrMapOvr>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pl-PL" dirty="0"/>
              <a:t>Agenda</a:t>
            </a:r>
            <a:endParaRPr lang="en-GB" dirty="0"/>
          </a:p>
        </p:txBody>
      </p:sp>
      <p:sp>
        <p:nvSpPr>
          <p:cNvPr id="5" name="Text Placeholder 4"/>
          <p:cNvSpPr>
            <a:spLocks noGrp="1"/>
          </p:cNvSpPr>
          <p:nvPr>
            <p:ph type="body" sz="quarter" idx="10"/>
          </p:nvPr>
        </p:nvSpPr>
        <p:spPr/>
        <p:txBody>
          <a:bodyPr/>
          <a:lstStyle/>
          <a:p>
            <a:pPr lvl="1"/>
            <a:r>
              <a:rPr lang="en-US" dirty="0">
                <a:solidFill>
                  <a:schemeClr val="bg1">
                    <a:lumMod val="95000"/>
                  </a:schemeClr>
                </a:solidFill>
              </a:rPr>
              <a:t>What’s new in C# 8.0</a:t>
            </a:r>
          </a:p>
          <a:p>
            <a:pPr lvl="2"/>
            <a:r>
              <a:rPr lang="en-US" dirty="0">
                <a:solidFill>
                  <a:schemeClr val="bg1">
                    <a:lumMod val="95000"/>
                  </a:schemeClr>
                </a:solidFill>
              </a:rPr>
              <a:t>Nullable reference types,</a:t>
            </a:r>
          </a:p>
          <a:p>
            <a:pPr lvl="2"/>
            <a:r>
              <a:rPr lang="en-US" dirty="0">
                <a:solidFill>
                  <a:schemeClr val="bg1">
                    <a:lumMod val="95000"/>
                  </a:schemeClr>
                </a:solidFill>
              </a:rPr>
              <a:t>async streams,</a:t>
            </a:r>
          </a:p>
          <a:p>
            <a:pPr lvl="2"/>
            <a:r>
              <a:rPr lang="en-US" dirty="0">
                <a:solidFill>
                  <a:schemeClr val="bg1">
                    <a:lumMod val="95000"/>
                  </a:schemeClr>
                </a:solidFill>
              </a:rPr>
              <a:t>ranges and indices,</a:t>
            </a:r>
          </a:p>
          <a:p>
            <a:pPr lvl="2"/>
            <a:r>
              <a:rPr lang="en-US" dirty="0">
                <a:solidFill>
                  <a:schemeClr val="bg1">
                    <a:lumMod val="95000"/>
                  </a:schemeClr>
                </a:solidFill>
              </a:rPr>
              <a:t>default interface members,</a:t>
            </a:r>
          </a:p>
          <a:p>
            <a:pPr lvl="2"/>
            <a:r>
              <a:rPr lang="en-US" dirty="0">
                <a:solidFill>
                  <a:schemeClr val="bg1">
                    <a:lumMod val="95000"/>
                  </a:schemeClr>
                </a:solidFill>
              </a:rPr>
              <a:t>recursive patterns,</a:t>
            </a:r>
          </a:p>
          <a:p>
            <a:pPr lvl="2"/>
            <a:r>
              <a:rPr lang="en-US" dirty="0">
                <a:solidFill>
                  <a:schemeClr val="bg1">
                    <a:lumMod val="95000"/>
                  </a:schemeClr>
                </a:solidFill>
              </a:rPr>
              <a:t>switch expressions,</a:t>
            </a:r>
          </a:p>
          <a:p>
            <a:pPr lvl="2"/>
            <a:r>
              <a:rPr lang="en-US" dirty="0">
                <a:solidFill>
                  <a:schemeClr val="bg1">
                    <a:lumMod val="95000"/>
                  </a:schemeClr>
                </a:solidFill>
              </a:rPr>
              <a:t>target-typed new-expressions,</a:t>
            </a:r>
          </a:p>
          <a:p>
            <a:pPr lvl="2"/>
            <a:r>
              <a:rPr lang="en-US" dirty="0">
                <a:solidFill>
                  <a:schemeClr val="bg1">
                    <a:lumMod val="95000"/>
                  </a:schemeClr>
                </a:solidFill>
              </a:rPr>
              <a:t>extension everything,</a:t>
            </a:r>
          </a:p>
          <a:p>
            <a:pPr lvl="2"/>
            <a:r>
              <a:rPr lang="en-US" dirty="0">
                <a:solidFill>
                  <a:schemeClr val="bg1">
                    <a:lumMod val="95000"/>
                  </a:schemeClr>
                </a:solidFill>
              </a:rPr>
              <a:t>using declarations.</a:t>
            </a:r>
            <a:endParaRPr lang="en-GB" dirty="0">
              <a:solidFill>
                <a:schemeClr val="bg1">
                  <a:lumMod val="95000"/>
                </a:schemeClr>
              </a:solidFill>
            </a:endParaRPr>
          </a:p>
          <a:p>
            <a:pPr lvl="2"/>
            <a:endParaRPr lang="en-GB" dirty="0">
              <a:solidFill>
                <a:schemeClr val="bg1">
                  <a:lumMod val="95000"/>
                </a:schemeClr>
              </a:solidFill>
            </a:endParaRPr>
          </a:p>
        </p:txBody>
      </p:sp>
      <p:sp>
        <p:nvSpPr>
          <p:cNvPr id="6" name="Text Placeholder 5"/>
          <p:cNvSpPr>
            <a:spLocks noGrp="1"/>
          </p:cNvSpPr>
          <p:nvPr>
            <p:ph type="body" sz="quarter" idx="11"/>
          </p:nvPr>
        </p:nvSpPr>
        <p:spPr/>
        <p:txBody>
          <a:bodyPr/>
          <a:lstStyle/>
          <a:p>
            <a:r>
              <a:rPr lang="en-US" dirty="0"/>
              <a:t>We are going to talk about…</a:t>
            </a:r>
          </a:p>
        </p:txBody>
      </p:sp>
      <p:sp>
        <p:nvSpPr>
          <p:cNvPr id="7" name="Text Placeholder 4">
            <a:extLst>
              <a:ext uri="{FF2B5EF4-FFF2-40B4-BE49-F238E27FC236}">
                <a16:creationId xmlns:a16="http://schemas.microsoft.com/office/drawing/2014/main" id="{63765791-BF79-472B-ACEA-FA2DB95D860D}"/>
              </a:ext>
            </a:extLst>
          </p:cNvPr>
          <p:cNvSpPr txBox="1">
            <a:spLocks/>
          </p:cNvSpPr>
          <p:nvPr/>
        </p:nvSpPr>
        <p:spPr>
          <a:xfrm>
            <a:off x="227348" y="1815351"/>
            <a:ext cx="11700000" cy="4466201"/>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r>
              <a:rPr lang="en-US" dirty="0"/>
              <a:t>What’s new in C# 8.0</a:t>
            </a:r>
          </a:p>
          <a:p>
            <a:pPr lvl="2"/>
            <a:r>
              <a:rPr lang="en-US" dirty="0"/>
              <a:t>Nullable reference types,</a:t>
            </a:r>
          </a:p>
          <a:p>
            <a:pPr lvl="2"/>
            <a:r>
              <a:rPr lang="en-US" dirty="0"/>
              <a:t>async streams,</a:t>
            </a:r>
          </a:p>
          <a:p>
            <a:pPr lvl="2"/>
            <a:r>
              <a:rPr lang="en-US" dirty="0"/>
              <a:t>ranges and indices,</a:t>
            </a:r>
          </a:p>
          <a:p>
            <a:pPr lvl="2"/>
            <a:r>
              <a:rPr lang="en-US" dirty="0"/>
              <a:t>default interface members,</a:t>
            </a:r>
          </a:p>
          <a:p>
            <a:pPr lvl="2"/>
            <a:r>
              <a:rPr lang="en-US" dirty="0"/>
              <a:t>recursive patterns,</a:t>
            </a:r>
          </a:p>
          <a:p>
            <a:pPr lvl="2"/>
            <a:r>
              <a:rPr lang="en-US" dirty="0"/>
              <a:t>switch expressions,</a:t>
            </a:r>
          </a:p>
        </p:txBody>
      </p:sp>
    </p:spTree>
    <p:extLst>
      <p:ext uri="{BB962C8B-B14F-4D97-AF65-F5344CB8AC3E}">
        <p14:creationId xmlns:p14="http://schemas.microsoft.com/office/powerpoint/2010/main" val="364742290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
                                            <p:txEl>
                                              <p:pRg st="6" end="6"/>
                                            </p:txEl>
                                          </p:spTgt>
                                        </p:tgtEl>
                                        <p:attrNameLst>
                                          <p:attrName>style.visibility</p:attrName>
                                        </p:attrNameLst>
                                      </p:cBhvr>
                                      <p:to>
                                        <p:strVal val="visible"/>
                                      </p:to>
                                    </p:set>
                                    <p:animEffect transition="in" filter="fade">
                                      <p:cBhvr>
                                        <p:cTn id="7" dur="500"/>
                                        <p:tgtEl>
                                          <p:spTgt spid="7">
                                            <p:txEl>
                                              <p:pRg st="6" end="6"/>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1">
            <a:extLst>
              <a:ext uri="{FF2B5EF4-FFF2-40B4-BE49-F238E27FC236}">
                <a16:creationId xmlns:a16="http://schemas.microsoft.com/office/drawing/2014/main" id="{5C0F07BE-AD1C-4D50-AB61-17963F03AB2F}"/>
              </a:ext>
            </a:extLst>
          </p:cNvPr>
          <p:cNvSpPr>
            <a:spLocks noGrp="1"/>
          </p:cNvSpPr>
          <p:nvPr>
            <p:ph type="pic" sz="quarter" idx="10"/>
          </p:nvPr>
        </p:nvSpPr>
        <p:spPr/>
      </p:sp>
      <p:sp>
        <p:nvSpPr>
          <p:cNvPr id="6" name="Symbol zastępczy tekstu 5">
            <a:extLst>
              <a:ext uri="{FF2B5EF4-FFF2-40B4-BE49-F238E27FC236}">
                <a16:creationId xmlns:a16="http://schemas.microsoft.com/office/drawing/2014/main" id="{EC19D1F0-CA19-48E4-B6B7-FE7D3388EB92}"/>
              </a:ext>
            </a:extLst>
          </p:cNvPr>
          <p:cNvSpPr>
            <a:spLocks noGrp="1"/>
          </p:cNvSpPr>
          <p:nvPr>
            <p:ph type="body" sz="quarter" idx="11"/>
          </p:nvPr>
        </p:nvSpPr>
        <p:spPr/>
        <p:txBody>
          <a:bodyPr/>
          <a:lstStyle/>
          <a:p>
            <a:r>
              <a:rPr lang="en-US" dirty="0"/>
              <a:t>What’s new in C# 8.0</a:t>
            </a:r>
          </a:p>
          <a:p>
            <a:r>
              <a:rPr lang="en-US" sz="2400" dirty="0"/>
              <a:t>Switch expressions</a:t>
            </a:r>
          </a:p>
        </p:txBody>
      </p:sp>
      <p:sp>
        <p:nvSpPr>
          <p:cNvPr id="7" name="Freeform 37">
            <a:extLst>
              <a:ext uri="{FF2B5EF4-FFF2-40B4-BE49-F238E27FC236}">
                <a16:creationId xmlns:a16="http://schemas.microsoft.com/office/drawing/2014/main" id="{1166029C-7EF4-4F28-BD2B-A07D11D4CAC0}"/>
              </a:ext>
            </a:extLst>
          </p:cNvPr>
          <p:cNvSpPr>
            <a:spLocks/>
          </p:cNvSpPr>
          <p:nvPr/>
        </p:nvSpPr>
        <p:spPr bwMode="auto">
          <a:xfrm>
            <a:off x="8830800" y="3578400"/>
            <a:ext cx="844550" cy="793750"/>
          </a:xfrm>
          <a:custGeom>
            <a:avLst/>
            <a:gdLst>
              <a:gd name="T0" fmla="*/ 51 w 440"/>
              <a:gd name="T1" fmla="*/ 298 h 410"/>
              <a:gd name="T2" fmla="*/ 128 w 440"/>
              <a:gd name="T3" fmla="*/ 48 h 410"/>
              <a:gd name="T4" fmla="*/ 389 w 440"/>
              <a:gd name="T5" fmla="*/ 122 h 410"/>
              <a:gd name="T6" fmla="*/ 307 w 440"/>
              <a:gd name="T7" fmla="*/ 362 h 410"/>
              <a:gd name="T8" fmla="*/ 51 w 440"/>
              <a:gd name="T9" fmla="*/ 298 h 410"/>
            </a:gdLst>
            <a:ahLst/>
            <a:cxnLst>
              <a:cxn ang="0">
                <a:pos x="T0" y="T1"/>
              </a:cxn>
              <a:cxn ang="0">
                <a:pos x="T2" y="T3"/>
              </a:cxn>
              <a:cxn ang="0">
                <a:pos x="T4" y="T5"/>
              </a:cxn>
              <a:cxn ang="0">
                <a:pos x="T6" y="T7"/>
              </a:cxn>
              <a:cxn ang="0">
                <a:pos x="T8" y="T9"/>
              </a:cxn>
            </a:cxnLst>
            <a:rect l="0" t="0" r="r" b="b"/>
            <a:pathLst>
              <a:path w="440" h="410">
                <a:moveTo>
                  <a:pt x="51" y="298"/>
                </a:moveTo>
                <a:cubicBezTo>
                  <a:pt x="0" y="209"/>
                  <a:pt x="34" y="97"/>
                  <a:pt x="128" y="48"/>
                </a:cubicBezTo>
                <a:cubicBezTo>
                  <a:pt x="221" y="0"/>
                  <a:pt x="338" y="33"/>
                  <a:pt x="389" y="122"/>
                </a:cubicBezTo>
                <a:cubicBezTo>
                  <a:pt x="440" y="212"/>
                  <a:pt x="400" y="313"/>
                  <a:pt x="307" y="362"/>
                </a:cubicBezTo>
                <a:cubicBezTo>
                  <a:pt x="214" y="410"/>
                  <a:pt x="102" y="388"/>
                  <a:pt x="51" y="298"/>
                </a:cubicBezTo>
              </a:path>
            </a:pathLst>
          </a:custGeom>
          <a:solidFill>
            <a:srgbClr val="860864"/>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8" name="Oval 20">
            <a:extLst>
              <a:ext uri="{FF2B5EF4-FFF2-40B4-BE49-F238E27FC236}">
                <a16:creationId xmlns:a16="http://schemas.microsoft.com/office/drawing/2014/main" id="{EC48305A-DFD8-4DF2-870C-DD156ECDA204}"/>
              </a:ext>
            </a:extLst>
          </p:cNvPr>
          <p:cNvSpPr/>
          <p:nvPr/>
        </p:nvSpPr>
        <p:spPr>
          <a:xfrm>
            <a:off x="6899617" y="3501008"/>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9" name="Oval 20">
            <a:extLst>
              <a:ext uri="{FF2B5EF4-FFF2-40B4-BE49-F238E27FC236}">
                <a16:creationId xmlns:a16="http://schemas.microsoft.com/office/drawing/2014/main" id="{F89E79E9-7A36-4337-B7AE-47CB648775D6}"/>
              </a:ext>
            </a:extLst>
          </p:cNvPr>
          <p:cNvSpPr/>
          <p:nvPr/>
        </p:nvSpPr>
        <p:spPr>
          <a:xfrm>
            <a:off x="8904312" y="4263464"/>
            <a:ext cx="1356623" cy="128178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10" name="Group 594">
            <a:extLst>
              <a:ext uri="{FF2B5EF4-FFF2-40B4-BE49-F238E27FC236}">
                <a16:creationId xmlns:a16="http://schemas.microsoft.com/office/drawing/2014/main" id="{823FA1A2-05A8-46D6-80AD-06E0958E2B89}"/>
              </a:ext>
            </a:extLst>
          </p:cNvPr>
          <p:cNvGrpSpPr/>
          <p:nvPr/>
        </p:nvGrpSpPr>
        <p:grpSpPr>
          <a:xfrm>
            <a:off x="7134860" y="3971271"/>
            <a:ext cx="1597312" cy="932510"/>
            <a:chOff x="10145713" y="4802190"/>
            <a:chExt cx="568325" cy="331788"/>
          </a:xfrm>
        </p:grpSpPr>
        <p:sp>
          <p:nvSpPr>
            <p:cNvPr id="12" name="Oval 191">
              <a:extLst>
                <a:ext uri="{FF2B5EF4-FFF2-40B4-BE49-F238E27FC236}">
                  <a16:creationId xmlns:a16="http://schemas.microsoft.com/office/drawing/2014/main" id="{60DB035B-4362-4496-A553-F899E8C6E8F1}"/>
                </a:ext>
              </a:extLst>
            </p:cNvPr>
            <p:cNvSpPr>
              <a:spLocks noChangeArrowheads="1"/>
            </p:cNvSpPr>
            <p:nvPr/>
          </p:nvSpPr>
          <p:spPr bwMode="auto">
            <a:xfrm>
              <a:off x="10490200" y="4908553"/>
              <a:ext cx="195262" cy="195263"/>
            </a:xfrm>
            <a:prstGeom prst="ellipse">
              <a:avLst/>
            </a:pr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Oval 192">
              <a:extLst>
                <a:ext uri="{FF2B5EF4-FFF2-40B4-BE49-F238E27FC236}">
                  <a16:creationId xmlns:a16="http://schemas.microsoft.com/office/drawing/2014/main" id="{8B714E93-6145-4C28-82EC-CE31A548C362}"/>
                </a:ext>
              </a:extLst>
            </p:cNvPr>
            <p:cNvSpPr>
              <a:spLocks noChangeArrowheads="1"/>
            </p:cNvSpPr>
            <p:nvPr/>
          </p:nvSpPr>
          <p:spPr bwMode="auto">
            <a:xfrm>
              <a:off x="10174288" y="4908553"/>
              <a:ext cx="193675" cy="195263"/>
            </a:xfrm>
            <a:prstGeom prst="ellipse">
              <a:avLst/>
            </a:pr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 name="Freeform 193">
              <a:extLst>
                <a:ext uri="{FF2B5EF4-FFF2-40B4-BE49-F238E27FC236}">
                  <a16:creationId xmlns:a16="http://schemas.microsoft.com/office/drawing/2014/main" id="{3B270E4B-9AAC-4CAF-A5CB-E402B0AB2D40}"/>
                </a:ext>
              </a:extLst>
            </p:cNvPr>
            <p:cNvSpPr>
              <a:spLocks noEditPoints="1"/>
            </p:cNvSpPr>
            <p:nvPr/>
          </p:nvSpPr>
          <p:spPr bwMode="auto">
            <a:xfrm>
              <a:off x="10145713" y="4841878"/>
              <a:ext cx="568325" cy="292100"/>
            </a:xfrm>
            <a:custGeom>
              <a:avLst/>
              <a:gdLst>
                <a:gd name="T0" fmla="*/ 276 w 296"/>
                <a:gd name="T1" fmla="*/ 38 h 151"/>
                <a:gd name="T2" fmla="*/ 270 w 296"/>
                <a:gd name="T3" fmla="*/ 33 h 151"/>
                <a:gd name="T4" fmla="*/ 246 w 296"/>
                <a:gd name="T5" fmla="*/ 12 h 151"/>
                <a:gd name="T6" fmla="*/ 213 w 296"/>
                <a:gd name="T7" fmla="*/ 0 h 151"/>
                <a:gd name="T8" fmla="*/ 213 w 296"/>
                <a:gd name="T9" fmla="*/ 0 h 151"/>
                <a:gd name="T10" fmla="*/ 83 w 296"/>
                <a:gd name="T11" fmla="*/ 0 h 151"/>
                <a:gd name="T12" fmla="*/ 83 w 296"/>
                <a:gd name="T13" fmla="*/ 0 h 151"/>
                <a:gd name="T14" fmla="*/ 50 w 296"/>
                <a:gd name="T15" fmla="*/ 12 h 151"/>
                <a:gd name="T16" fmla="*/ 25 w 296"/>
                <a:gd name="T17" fmla="*/ 33 h 151"/>
                <a:gd name="T18" fmla="*/ 20 w 296"/>
                <a:gd name="T19" fmla="*/ 38 h 151"/>
                <a:gd name="T20" fmla="*/ 0 w 296"/>
                <a:gd name="T21" fmla="*/ 85 h 151"/>
                <a:gd name="T22" fmla="*/ 66 w 296"/>
                <a:gd name="T23" fmla="*/ 151 h 151"/>
                <a:gd name="T24" fmla="*/ 131 w 296"/>
                <a:gd name="T25" fmla="*/ 93 h 151"/>
                <a:gd name="T26" fmla="*/ 148 w 296"/>
                <a:gd name="T27" fmla="*/ 98 h 151"/>
                <a:gd name="T28" fmla="*/ 164 w 296"/>
                <a:gd name="T29" fmla="*/ 93 h 151"/>
                <a:gd name="T30" fmla="*/ 230 w 296"/>
                <a:gd name="T31" fmla="*/ 151 h 151"/>
                <a:gd name="T32" fmla="*/ 296 w 296"/>
                <a:gd name="T33" fmla="*/ 85 h 151"/>
                <a:gd name="T34" fmla="*/ 276 w 296"/>
                <a:gd name="T35" fmla="*/ 38 h 151"/>
                <a:gd name="T36" fmla="*/ 66 w 296"/>
                <a:gd name="T37" fmla="*/ 130 h 151"/>
                <a:gd name="T38" fmla="*/ 21 w 296"/>
                <a:gd name="T39" fmla="*/ 85 h 151"/>
                <a:gd name="T40" fmla="*/ 66 w 296"/>
                <a:gd name="T41" fmla="*/ 40 h 151"/>
                <a:gd name="T42" fmla="*/ 111 w 296"/>
                <a:gd name="T43" fmla="*/ 85 h 151"/>
                <a:gd name="T44" fmla="*/ 66 w 296"/>
                <a:gd name="T45" fmla="*/ 130 h 151"/>
                <a:gd name="T46" fmla="*/ 148 w 296"/>
                <a:gd name="T47" fmla="*/ 79 h 151"/>
                <a:gd name="T48" fmla="*/ 133 w 296"/>
                <a:gd name="T49" fmla="*/ 64 h 151"/>
                <a:gd name="T50" fmla="*/ 148 w 296"/>
                <a:gd name="T51" fmla="*/ 50 h 151"/>
                <a:gd name="T52" fmla="*/ 163 w 296"/>
                <a:gd name="T53" fmla="*/ 64 h 151"/>
                <a:gd name="T54" fmla="*/ 148 w 296"/>
                <a:gd name="T55" fmla="*/ 79 h 151"/>
                <a:gd name="T56" fmla="*/ 230 w 296"/>
                <a:gd name="T57" fmla="*/ 130 h 151"/>
                <a:gd name="T58" fmla="*/ 185 w 296"/>
                <a:gd name="T59" fmla="*/ 85 h 151"/>
                <a:gd name="T60" fmla="*/ 230 w 296"/>
                <a:gd name="T61" fmla="*/ 40 h 151"/>
                <a:gd name="T62" fmla="*/ 275 w 296"/>
                <a:gd name="T63" fmla="*/ 85 h 151"/>
                <a:gd name="T64" fmla="*/ 230 w 296"/>
                <a:gd name="T65" fmla="*/ 130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96" h="151">
                  <a:moveTo>
                    <a:pt x="276" y="38"/>
                  </a:moveTo>
                  <a:cubicBezTo>
                    <a:pt x="274" y="36"/>
                    <a:pt x="272" y="35"/>
                    <a:pt x="270" y="33"/>
                  </a:cubicBezTo>
                  <a:cubicBezTo>
                    <a:pt x="246" y="12"/>
                    <a:pt x="246" y="12"/>
                    <a:pt x="246" y="12"/>
                  </a:cubicBezTo>
                  <a:cubicBezTo>
                    <a:pt x="236" y="5"/>
                    <a:pt x="225" y="1"/>
                    <a:pt x="213" y="0"/>
                  </a:cubicBezTo>
                  <a:cubicBezTo>
                    <a:pt x="213" y="0"/>
                    <a:pt x="213" y="0"/>
                    <a:pt x="213" y="0"/>
                  </a:cubicBezTo>
                  <a:cubicBezTo>
                    <a:pt x="83" y="0"/>
                    <a:pt x="83" y="0"/>
                    <a:pt x="83" y="0"/>
                  </a:cubicBezTo>
                  <a:cubicBezTo>
                    <a:pt x="83" y="0"/>
                    <a:pt x="83" y="0"/>
                    <a:pt x="83" y="0"/>
                  </a:cubicBezTo>
                  <a:cubicBezTo>
                    <a:pt x="71" y="1"/>
                    <a:pt x="60" y="5"/>
                    <a:pt x="50" y="12"/>
                  </a:cubicBezTo>
                  <a:cubicBezTo>
                    <a:pt x="25" y="33"/>
                    <a:pt x="25" y="33"/>
                    <a:pt x="25" y="33"/>
                  </a:cubicBezTo>
                  <a:cubicBezTo>
                    <a:pt x="23" y="35"/>
                    <a:pt x="22" y="36"/>
                    <a:pt x="20" y="38"/>
                  </a:cubicBezTo>
                  <a:cubicBezTo>
                    <a:pt x="8" y="50"/>
                    <a:pt x="0" y="67"/>
                    <a:pt x="0" y="85"/>
                  </a:cubicBezTo>
                  <a:cubicBezTo>
                    <a:pt x="0" y="122"/>
                    <a:pt x="29" y="151"/>
                    <a:pt x="66" y="151"/>
                  </a:cubicBezTo>
                  <a:cubicBezTo>
                    <a:pt x="100" y="151"/>
                    <a:pt x="127" y="126"/>
                    <a:pt x="131" y="93"/>
                  </a:cubicBezTo>
                  <a:cubicBezTo>
                    <a:pt x="136" y="96"/>
                    <a:pt x="142" y="98"/>
                    <a:pt x="148" y="98"/>
                  </a:cubicBezTo>
                  <a:cubicBezTo>
                    <a:pt x="154" y="98"/>
                    <a:pt x="159" y="96"/>
                    <a:pt x="164" y="93"/>
                  </a:cubicBezTo>
                  <a:cubicBezTo>
                    <a:pt x="168" y="126"/>
                    <a:pt x="196" y="151"/>
                    <a:pt x="230" y="151"/>
                  </a:cubicBezTo>
                  <a:cubicBezTo>
                    <a:pt x="266" y="151"/>
                    <a:pt x="296" y="122"/>
                    <a:pt x="296" y="85"/>
                  </a:cubicBezTo>
                  <a:cubicBezTo>
                    <a:pt x="296" y="67"/>
                    <a:pt x="288" y="50"/>
                    <a:pt x="276" y="38"/>
                  </a:cubicBezTo>
                  <a:close/>
                  <a:moveTo>
                    <a:pt x="66" y="130"/>
                  </a:moveTo>
                  <a:cubicBezTo>
                    <a:pt x="41" y="130"/>
                    <a:pt x="21" y="110"/>
                    <a:pt x="21" y="85"/>
                  </a:cubicBezTo>
                  <a:cubicBezTo>
                    <a:pt x="21" y="60"/>
                    <a:pt x="41" y="40"/>
                    <a:pt x="66" y="40"/>
                  </a:cubicBezTo>
                  <a:cubicBezTo>
                    <a:pt x="91" y="40"/>
                    <a:pt x="111" y="60"/>
                    <a:pt x="111" y="85"/>
                  </a:cubicBezTo>
                  <a:cubicBezTo>
                    <a:pt x="111" y="110"/>
                    <a:pt x="91" y="130"/>
                    <a:pt x="66" y="130"/>
                  </a:cubicBezTo>
                  <a:close/>
                  <a:moveTo>
                    <a:pt x="148" y="79"/>
                  </a:moveTo>
                  <a:cubicBezTo>
                    <a:pt x="140" y="79"/>
                    <a:pt x="133" y="73"/>
                    <a:pt x="133" y="64"/>
                  </a:cubicBezTo>
                  <a:cubicBezTo>
                    <a:pt x="133" y="56"/>
                    <a:pt x="140" y="50"/>
                    <a:pt x="148" y="50"/>
                  </a:cubicBezTo>
                  <a:cubicBezTo>
                    <a:pt x="156" y="50"/>
                    <a:pt x="163" y="56"/>
                    <a:pt x="163" y="64"/>
                  </a:cubicBezTo>
                  <a:cubicBezTo>
                    <a:pt x="163" y="73"/>
                    <a:pt x="156" y="79"/>
                    <a:pt x="148" y="79"/>
                  </a:cubicBezTo>
                  <a:close/>
                  <a:moveTo>
                    <a:pt x="230" y="130"/>
                  </a:moveTo>
                  <a:cubicBezTo>
                    <a:pt x="205" y="130"/>
                    <a:pt x="185" y="110"/>
                    <a:pt x="185" y="85"/>
                  </a:cubicBezTo>
                  <a:cubicBezTo>
                    <a:pt x="185" y="60"/>
                    <a:pt x="205" y="40"/>
                    <a:pt x="230" y="40"/>
                  </a:cubicBezTo>
                  <a:cubicBezTo>
                    <a:pt x="255" y="40"/>
                    <a:pt x="275" y="60"/>
                    <a:pt x="275" y="85"/>
                  </a:cubicBezTo>
                  <a:cubicBezTo>
                    <a:pt x="275" y="110"/>
                    <a:pt x="255" y="130"/>
                    <a:pt x="230" y="130"/>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5" name="Freeform 194">
              <a:extLst>
                <a:ext uri="{FF2B5EF4-FFF2-40B4-BE49-F238E27FC236}">
                  <a16:creationId xmlns:a16="http://schemas.microsoft.com/office/drawing/2014/main" id="{C119B199-2AAF-42CC-BAFC-F9F0CB8458B6}"/>
                </a:ext>
              </a:extLst>
            </p:cNvPr>
            <p:cNvSpPr>
              <a:spLocks/>
            </p:cNvSpPr>
            <p:nvPr/>
          </p:nvSpPr>
          <p:spPr bwMode="auto">
            <a:xfrm>
              <a:off x="10221913" y="4951415"/>
              <a:ext cx="63500" cy="63500"/>
            </a:xfrm>
            <a:custGeom>
              <a:avLst/>
              <a:gdLst>
                <a:gd name="T0" fmla="*/ 5 w 33"/>
                <a:gd name="T1" fmla="*/ 33 h 33"/>
                <a:gd name="T2" fmla="*/ 0 w 33"/>
                <a:gd name="T3" fmla="*/ 28 h 33"/>
                <a:gd name="T4" fmla="*/ 28 w 33"/>
                <a:gd name="T5" fmla="*/ 0 h 33"/>
                <a:gd name="T6" fmla="*/ 33 w 33"/>
                <a:gd name="T7" fmla="*/ 5 h 33"/>
                <a:gd name="T8" fmla="*/ 28 w 33"/>
                <a:gd name="T9" fmla="*/ 11 h 33"/>
                <a:gd name="T10" fmla="*/ 11 w 33"/>
                <a:gd name="T11" fmla="*/ 28 h 33"/>
                <a:gd name="T12" fmla="*/ 5 w 33"/>
                <a:gd name="T13" fmla="*/ 33 h 33"/>
              </a:gdLst>
              <a:ahLst/>
              <a:cxnLst>
                <a:cxn ang="0">
                  <a:pos x="T0" y="T1"/>
                </a:cxn>
                <a:cxn ang="0">
                  <a:pos x="T2" y="T3"/>
                </a:cxn>
                <a:cxn ang="0">
                  <a:pos x="T4" y="T5"/>
                </a:cxn>
                <a:cxn ang="0">
                  <a:pos x="T6" y="T7"/>
                </a:cxn>
                <a:cxn ang="0">
                  <a:pos x="T8" y="T9"/>
                </a:cxn>
                <a:cxn ang="0">
                  <a:pos x="T10" y="T11"/>
                </a:cxn>
                <a:cxn ang="0">
                  <a:pos x="T12" y="T13"/>
                </a:cxn>
              </a:cxnLst>
              <a:rect l="0" t="0" r="r" b="b"/>
              <a:pathLst>
                <a:path w="33" h="33">
                  <a:moveTo>
                    <a:pt x="5" y="33"/>
                  </a:moveTo>
                  <a:cubicBezTo>
                    <a:pt x="3" y="33"/>
                    <a:pt x="0" y="31"/>
                    <a:pt x="0" y="28"/>
                  </a:cubicBezTo>
                  <a:cubicBezTo>
                    <a:pt x="0" y="13"/>
                    <a:pt x="13" y="0"/>
                    <a:pt x="28" y="0"/>
                  </a:cubicBezTo>
                  <a:cubicBezTo>
                    <a:pt x="31" y="0"/>
                    <a:pt x="33" y="2"/>
                    <a:pt x="33" y="5"/>
                  </a:cubicBezTo>
                  <a:cubicBezTo>
                    <a:pt x="33" y="8"/>
                    <a:pt x="31" y="11"/>
                    <a:pt x="28" y="11"/>
                  </a:cubicBezTo>
                  <a:cubicBezTo>
                    <a:pt x="19" y="11"/>
                    <a:pt x="11" y="18"/>
                    <a:pt x="11" y="28"/>
                  </a:cubicBezTo>
                  <a:cubicBezTo>
                    <a:pt x="11" y="31"/>
                    <a:pt x="8" y="33"/>
                    <a:pt x="5" y="33"/>
                  </a:cubicBezTo>
                  <a:close/>
                </a:path>
              </a:pathLst>
            </a:custGeom>
            <a:solidFill>
              <a:srgbClr val="2B0F3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 name="Freeform 195">
              <a:extLst>
                <a:ext uri="{FF2B5EF4-FFF2-40B4-BE49-F238E27FC236}">
                  <a16:creationId xmlns:a16="http://schemas.microsoft.com/office/drawing/2014/main" id="{3793A709-2D8E-4BD9-9FAC-9F66FF744B2F}"/>
                </a:ext>
              </a:extLst>
            </p:cNvPr>
            <p:cNvSpPr>
              <a:spLocks/>
            </p:cNvSpPr>
            <p:nvPr/>
          </p:nvSpPr>
          <p:spPr bwMode="auto">
            <a:xfrm>
              <a:off x="10534650" y="4951415"/>
              <a:ext cx="63500" cy="63500"/>
            </a:xfrm>
            <a:custGeom>
              <a:avLst/>
              <a:gdLst>
                <a:gd name="T0" fmla="*/ 5 w 33"/>
                <a:gd name="T1" fmla="*/ 33 h 33"/>
                <a:gd name="T2" fmla="*/ 0 w 33"/>
                <a:gd name="T3" fmla="*/ 28 h 33"/>
                <a:gd name="T4" fmla="*/ 28 w 33"/>
                <a:gd name="T5" fmla="*/ 0 h 33"/>
                <a:gd name="T6" fmla="*/ 33 w 33"/>
                <a:gd name="T7" fmla="*/ 5 h 33"/>
                <a:gd name="T8" fmla="*/ 28 w 33"/>
                <a:gd name="T9" fmla="*/ 11 h 33"/>
                <a:gd name="T10" fmla="*/ 10 w 33"/>
                <a:gd name="T11" fmla="*/ 28 h 33"/>
                <a:gd name="T12" fmla="*/ 5 w 33"/>
                <a:gd name="T13" fmla="*/ 33 h 33"/>
              </a:gdLst>
              <a:ahLst/>
              <a:cxnLst>
                <a:cxn ang="0">
                  <a:pos x="T0" y="T1"/>
                </a:cxn>
                <a:cxn ang="0">
                  <a:pos x="T2" y="T3"/>
                </a:cxn>
                <a:cxn ang="0">
                  <a:pos x="T4" y="T5"/>
                </a:cxn>
                <a:cxn ang="0">
                  <a:pos x="T6" y="T7"/>
                </a:cxn>
                <a:cxn ang="0">
                  <a:pos x="T8" y="T9"/>
                </a:cxn>
                <a:cxn ang="0">
                  <a:pos x="T10" y="T11"/>
                </a:cxn>
                <a:cxn ang="0">
                  <a:pos x="T12" y="T13"/>
                </a:cxn>
              </a:cxnLst>
              <a:rect l="0" t="0" r="r" b="b"/>
              <a:pathLst>
                <a:path w="33" h="33">
                  <a:moveTo>
                    <a:pt x="5" y="33"/>
                  </a:moveTo>
                  <a:cubicBezTo>
                    <a:pt x="2" y="33"/>
                    <a:pt x="0" y="31"/>
                    <a:pt x="0" y="28"/>
                  </a:cubicBezTo>
                  <a:cubicBezTo>
                    <a:pt x="0" y="13"/>
                    <a:pt x="12" y="0"/>
                    <a:pt x="28" y="0"/>
                  </a:cubicBezTo>
                  <a:cubicBezTo>
                    <a:pt x="31" y="0"/>
                    <a:pt x="33" y="2"/>
                    <a:pt x="33" y="5"/>
                  </a:cubicBezTo>
                  <a:cubicBezTo>
                    <a:pt x="33" y="8"/>
                    <a:pt x="31" y="11"/>
                    <a:pt x="28" y="11"/>
                  </a:cubicBezTo>
                  <a:cubicBezTo>
                    <a:pt x="18" y="11"/>
                    <a:pt x="10" y="18"/>
                    <a:pt x="10" y="28"/>
                  </a:cubicBezTo>
                  <a:cubicBezTo>
                    <a:pt x="10" y="31"/>
                    <a:pt x="8" y="33"/>
                    <a:pt x="5" y="33"/>
                  </a:cubicBezTo>
                  <a:close/>
                </a:path>
              </a:pathLst>
            </a:custGeom>
            <a:solidFill>
              <a:srgbClr val="2B0F3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 name="Freeform 196">
              <a:extLst>
                <a:ext uri="{FF2B5EF4-FFF2-40B4-BE49-F238E27FC236}">
                  <a16:creationId xmlns:a16="http://schemas.microsoft.com/office/drawing/2014/main" id="{EB0A47EC-EEE5-46E9-A764-3DD540BBEB14}"/>
                </a:ext>
              </a:extLst>
            </p:cNvPr>
            <p:cNvSpPr>
              <a:spLocks/>
            </p:cNvSpPr>
            <p:nvPr/>
          </p:nvSpPr>
          <p:spPr bwMode="auto">
            <a:xfrm>
              <a:off x="10304463" y="4802190"/>
              <a:ext cx="249237" cy="39688"/>
            </a:xfrm>
            <a:custGeom>
              <a:avLst/>
              <a:gdLst>
                <a:gd name="T0" fmla="*/ 0 w 130"/>
                <a:gd name="T1" fmla="*/ 20 h 20"/>
                <a:gd name="T2" fmla="*/ 130 w 130"/>
                <a:gd name="T3" fmla="*/ 20 h 20"/>
                <a:gd name="T4" fmla="*/ 129 w 130"/>
                <a:gd name="T5" fmla="*/ 20 h 20"/>
                <a:gd name="T6" fmla="*/ 115 w 130"/>
                <a:gd name="T7" fmla="*/ 6 h 20"/>
                <a:gd name="T8" fmla="*/ 115 w 130"/>
                <a:gd name="T9" fmla="*/ 6 h 20"/>
                <a:gd name="T10" fmla="*/ 99 w 130"/>
                <a:gd name="T11" fmla="*/ 0 h 20"/>
                <a:gd name="T12" fmla="*/ 77 w 130"/>
                <a:gd name="T13" fmla="*/ 17 h 20"/>
                <a:gd name="T14" fmla="*/ 66 w 130"/>
                <a:gd name="T15" fmla="*/ 13 h 20"/>
                <a:gd name="T16" fmla="*/ 65 w 130"/>
                <a:gd name="T17" fmla="*/ 13 h 20"/>
                <a:gd name="T18" fmla="*/ 53 w 130"/>
                <a:gd name="T19" fmla="*/ 17 h 20"/>
                <a:gd name="T20" fmla="*/ 30 w 130"/>
                <a:gd name="T21" fmla="*/ 0 h 20"/>
                <a:gd name="T22" fmla="*/ 14 w 130"/>
                <a:gd name="T23" fmla="*/ 6 h 20"/>
                <a:gd name="T24" fmla="*/ 14 w 130"/>
                <a:gd name="T25" fmla="*/ 6 h 20"/>
                <a:gd name="T26" fmla="*/ 0 w 130"/>
                <a:gd name="T27" fmla="*/ 20 h 20"/>
                <a:gd name="T28" fmla="*/ 0 w 130"/>
                <a:gd name="T29" fmla="*/ 2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30" h="20">
                  <a:moveTo>
                    <a:pt x="0" y="20"/>
                  </a:moveTo>
                  <a:cubicBezTo>
                    <a:pt x="130" y="20"/>
                    <a:pt x="130" y="20"/>
                    <a:pt x="130" y="20"/>
                  </a:cubicBezTo>
                  <a:cubicBezTo>
                    <a:pt x="130" y="20"/>
                    <a:pt x="129" y="20"/>
                    <a:pt x="129" y="20"/>
                  </a:cubicBezTo>
                  <a:cubicBezTo>
                    <a:pt x="115" y="6"/>
                    <a:pt x="115" y="6"/>
                    <a:pt x="115" y="6"/>
                  </a:cubicBezTo>
                  <a:cubicBezTo>
                    <a:pt x="115" y="6"/>
                    <a:pt x="115" y="6"/>
                    <a:pt x="115" y="6"/>
                  </a:cubicBezTo>
                  <a:cubicBezTo>
                    <a:pt x="111" y="3"/>
                    <a:pt x="105" y="0"/>
                    <a:pt x="99" y="0"/>
                  </a:cubicBezTo>
                  <a:cubicBezTo>
                    <a:pt x="89" y="0"/>
                    <a:pt x="80" y="7"/>
                    <a:pt x="77" y="17"/>
                  </a:cubicBezTo>
                  <a:cubicBezTo>
                    <a:pt x="74" y="15"/>
                    <a:pt x="70" y="13"/>
                    <a:pt x="66" y="13"/>
                  </a:cubicBezTo>
                  <a:cubicBezTo>
                    <a:pt x="66" y="13"/>
                    <a:pt x="65" y="13"/>
                    <a:pt x="65" y="13"/>
                  </a:cubicBezTo>
                  <a:cubicBezTo>
                    <a:pt x="60" y="13"/>
                    <a:pt x="56" y="14"/>
                    <a:pt x="53" y="17"/>
                  </a:cubicBezTo>
                  <a:cubicBezTo>
                    <a:pt x="50" y="7"/>
                    <a:pt x="41" y="0"/>
                    <a:pt x="30" y="0"/>
                  </a:cubicBezTo>
                  <a:cubicBezTo>
                    <a:pt x="24" y="0"/>
                    <a:pt x="19" y="3"/>
                    <a:pt x="14" y="6"/>
                  </a:cubicBezTo>
                  <a:cubicBezTo>
                    <a:pt x="14" y="6"/>
                    <a:pt x="14" y="6"/>
                    <a:pt x="14" y="6"/>
                  </a:cubicBezTo>
                  <a:cubicBezTo>
                    <a:pt x="0" y="20"/>
                    <a:pt x="0" y="20"/>
                    <a:pt x="0" y="20"/>
                  </a:cubicBezTo>
                  <a:cubicBezTo>
                    <a:pt x="0" y="20"/>
                    <a:pt x="0" y="20"/>
                    <a:pt x="0" y="20"/>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1367693685"/>
      </p:ext>
    </p:extLst>
  </p:cSld>
  <p:clrMapOvr>
    <a:masterClrMapping/>
  </p:clrMapOvr>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ytuł 3">
            <a:extLst>
              <a:ext uri="{FF2B5EF4-FFF2-40B4-BE49-F238E27FC236}">
                <a16:creationId xmlns:a16="http://schemas.microsoft.com/office/drawing/2014/main" id="{BE6E47FB-5E55-45DB-B712-E4993D47A776}"/>
              </a:ext>
            </a:extLst>
          </p:cNvPr>
          <p:cNvSpPr>
            <a:spLocks noGrp="1"/>
          </p:cNvSpPr>
          <p:nvPr>
            <p:ph type="title"/>
          </p:nvPr>
        </p:nvSpPr>
        <p:spPr/>
        <p:txBody>
          <a:bodyPr/>
          <a:lstStyle/>
          <a:p>
            <a:r>
              <a:rPr lang="en-US" sz="3200" dirty="0"/>
              <a:t>Switch statements</a:t>
            </a:r>
          </a:p>
        </p:txBody>
      </p:sp>
      <p:sp>
        <p:nvSpPr>
          <p:cNvPr id="6" name="Symbol zastępczy tekstu 5">
            <a:extLst>
              <a:ext uri="{FF2B5EF4-FFF2-40B4-BE49-F238E27FC236}">
                <a16:creationId xmlns:a16="http://schemas.microsoft.com/office/drawing/2014/main" id="{1302AB4B-7554-47F7-BBCD-39BD33559A94}"/>
              </a:ext>
            </a:extLst>
          </p:cNvPr>
          <p:cNvSpPr>
            <a:spLocks noGrp="1"/>
          </p:cNvSpPr>
          <p:nvPr>
            <p:ph type="body" sz="quarter" idx="11"/>
          </p:nvPr>
        </p:nvSpPr>
        <p:spPr/>
        <p:txBody>
          <a:bodyPr/>
          <a:lstStyle/>
          <a:p>
            <a:r>
              <a:rPr lang="en-US" dirty="0"/>
              <a:t>C# 7.0</a:t>
            </a:r>
          </a:p>
        </p:txBody>
      </p:sp>
      <p:sp>
        <p:nvSpPr>
          <p:cNvPr id="7" name="Symbol zastępczy tekstu 6">
            <a:extLst>
              <a:ext uri="{FF2B5EF4-FFF2-40B4-BE49-F238E27FC236}">
                <a16:creationId xmlns:a16="http://schemas.microsoft.com/office/drawing/2014/main" id="{5D8A2B1E-A86F-4A25-94A4-5CF446FD2951}"/>
              </a:ext>
            </a:extLst>
          </p:cNvPr>
          <p:cNvSpPr>
            <a:spLocks noGrp="1"/>
          </p:cNvSpPr>
          <p:nvPr>
            <p:ph type="body" sz="quarter" idx="12"/>
          </p:nvPr>
        </p:nvSpPr>
        <p:spPr/>
        <p:txBody>
          <a:bodyPr/>
          <a:lstStyle/>
          <a:p>
            <a:r>
              <a:rPr lang="en-US" dirty="0"/>
              <a:t>1</a:t>
            </a:r>
          </a:p>
        </p:txBody>
      </p:sp>
      <p:sp>
        <p:nvSpPr>
          <p:cNvPr id="8" name="Rectangle 59">
            <a:extLst>
              <a:ext uri="{FF2B5EF4-FFF2-40B4-BE49-F238E27FC236}">
                <a16:creationId xmlns:a16="http://schemas.microsoft.com/office/drawing/2014/main" id="{1F67BB42-1697-411E-900C-908E20D4A75B}"/>
              </a:ext>
            </a:extLst>
          </p:cNvPr>
          <p:cNvSpPr/>
          <p:nvPr/>
        </p:nvSpPr>
        <p:spPr>
          <a:xfrm>
            <a:off x="7855929" y="2365334"/>
            <a:ext cx="3538545" cy="358346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9" name="Rectangle 59">
            <a:extLst>
              <a:ext uri="{FF2B5EF4-FFF2-40B4-BE49-F238E27FC236}">
                <a16:creationId xmlns:a16="http://schemas.microsoft.com/office/drawing/2014/main" id="{688066BD-2AD8-4B3D-B238-905A511C772F}"/>
              </a:ext>
            </a:extLst>
          </p:cNvPr>
          <p:cNvSpPr/>
          <p:nvPr/>
        </p:nvSpPr>
        <p:spPr>
          <a:xfrm>
            <a:off x="566400" y="2365334"/>
            <a:ext cx="3538545" cy="358346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0" name="Rectangle 59">
            <a:extLst>
              <a:ext uri="{FF2B5EF4-FFF2-40B4-BE49-F238E27FC236}">
                <a16:creationId xmlns:a16="http://schemas.microsoft.com/office/drawing/2014/main" id="{75E18D79-DBEC-4435-89C6-511CDA8EB9A7}"/>
              </a:ext>
            </a:extLst>
          </p:cNvPr>
          <p:cNvSpPr/>
          <p:nvPr/>
        </p:nvSpPr>
        <p:spPr>
          <a:xfrm>
            <a:off x="4213639" y="2365334"/>
            <a:ext cx="3538545" cy="358346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1" name="Freeform 26">
            <a:extLst>
              <a:ext uri="{FF2B5EF4-FFF2-40B4-BE49-F238E27FC236}">
                <a16:creationId xmlns:a16="http://schemas.microsoft.com/office/drawing/2014/main" id="{B73185F3-98FF-4BB7-BA02-7F91790B94E8}"/>
              </a:ext>
            </a:extLst>
          </p:cNvPr>
          <p:cNvSpPr>
            <a:spLocks/>
          </p:cNvSpPr>
          <p:nvPr/>
        </p:nvSpPr>
        <p:spPr bwMode="auto">
          <a:xfrm>
            <a:off x="3791744" y="1699811"/>
            <a:ext cx="1330762" cy="1247369"/>
          </a:xfrm>
          <a:custGeom>
            <a:avLst/>
            <a:gdLst>
              <a:gd name="T0" fmla="*/ 60 w 422"/>
              <a:gd name="T1" fmla="*/ 309 h 395"/>
              <a:gd name="T2" fmla="*/ 101 w 422"/>
              <a:gd name="T3" fmla="*/ 59 h 395"/>
              <a:gd name="T4" fmla="*/ 362 w 422"/>
              <a:gd name="T5" fmla="*/ 96 h 395"/>
              <a:gd name="T6" fmla="*/ 314 w 422"/>
              <a:gd name="T7" fmla="*/ 336 h 395"/>
              <a:gd name="T8" fmla="*/ 60 w 422"/>
              <a:gd name="T9" fmla="*/ 309 h 395"/>
            </a:gdLst>
            <a:ahLst/>
            <a:cxnLst>
              <a:cxn ang="0">
                <a:pos x="T0" y="T1"/>
              </a:cxn>
              <a:cxn ang="0">
                <a:pos x="T2" y="T3"/>
              </a:cxn>
              <a:cxn ang="0">
                <a:pos x="T4" y="T5"/>
              </a:cxn>
              <a:cxn ang="0">
                <a:pos x="T6" y="T7"/>
              </a:cxn>
              <a:cxn ang="0">
                <a:pos x="T8" y="T9"/>
              </a:cxn>
            </a:cxnLst>
            <a:rect l="0" t="0" r="r" b="b"/>
            <a:pathLst>
              <a:path w="422" h="395">
                <a:moveTo>
                  <a:pt x="60" y="309"/>
                </a:moveTo>
                <a:cubicBezTo>
                  <a:pt x="0" y="230"/>
                  <a:pt x="18" y="118"/>
                  <a:pt x="101" y="59"/>
                </a:cubicBezTo>
                <a:cubicBezTo>
                  <a:pt x="184" y="0"/>
                  <a:pt x="301" y="17"/>
                  <a:pt x="362" y="96"/>
                </a:cubicBezTo>
                <a:cubicBezTo>
                  <a:pt x="422" y="175"/>
                  <a:pt x="397" y="278"/>
                  <a:pt x="314" y="336"/>
                </a:cubicBezTo>
                <a:cubicBezTo>
                  <a:pt x="231" y="395"/>
                  <a:pt x="121" y="388"/>
                  <a:pt x="60" y="309"/>
                </a:cubicBezTo>
              </a:path>
            </a:pathLst>
          </a:custGeom>
          <a:solidFill>
            <a:srgbClr val="FF304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12" name="Freeform 31">
            <a:extLst>
              <a:ext uri="{FF2B5EF4-FFF2-40B4-BE49-F238E27FC236}">
                <a16:creationId xmlns:a16="http://schemas.microsoft.com/office/drawing/2014/main" id="{FE407D47-CC42-418F-BB32-DE9CA28880BF}"/>
              </a:ext>
            </a:extLst>
          </p:cNvPr>
          <p:cNvSpPr>
            <a:spLocks/>
          </p:cNvSpPr>
          <p:nvPr/>
        </p:nvSpPr>
        <p:spPr bwMode="auto">
          <a:xfrm>
            <a:off x="353137" y="1675813"/>
            <a:ext cx="1359985" cy="1271367"/>
          </a:xfrm>
          <a:custGeom>
            <a:avLst/>
            <a:gdLst>
              <a:gd name="T0" fmla="*/ 207 w 1442"/>
              <a:gd name="T1" fmla="*/ 1053 h 1347"/>
              <a:gd name="T2" fmla="*/ 346 w 1442"/>
              <a:gd name="T3" fmla="*/ 201 h 1347"/>
              <a:gd name="T4" fmla="*/ 1235 w 1442"/>
              <a:gd name="T5" fmla="*/ 326 h 1347"/>
              <a:gd name="T6" fmla="*/ 1073 w 1442"/>
              <a:gd name="T7" fmla="*/ 1147 h 1347"/>
              <a:gd name="T8" fmla="*/ 207 w 1442"/>
              <a:gd name="T9" fmla="*/ 1053 h 1347"/>
            </a:gdLst>
            <a:ahLst/>
            <a:cxnLst>
              <a:cxn ang="0">
                <a:pos x="T0" y="T1"/>
              </a:cxn>
              <a:cxn ang="0">
                <a:pos x="T2" y="T3"/>
              </a:cxn>
              <a:cxn ang="0">
                <a:pos x="T4" y="T5"/>
              </a:cxn>
              <a:cxn ang="0">
                <a:pos x="T6" y="T7"/>
              </a:cxn>
              <a:cxn ang="0">
                <a:pos x="T8" y="T9"/>
              </a:cxn>
            </a:cxnLst>
            <a:rect l="0" t="0" r="r" b="b"/>
            <a:pathLst>
              <a:path w="1442" h="1347">
                <a:moveTo>
                  <a:pt x="207" y="1053"/>
                </a:moveTo>
                <a:cubicBezTo>
                  <a:pt x="0" y="783"/>
                  <a:pt x="62" y="401"/>
                  <a:pt x="346" y="201"/>
                </a:cubicBezTo>
                <a:cubicBezTo>
                  <a:pt x="629" y="0"/>
                  <a:pt x="1028" y="56"/>
                  <a:pt x="1235" y="326"/>
                </a:cubicBezTo>
                <a:cubicBezTo>
                  <a:pt x="1442" y="596"/>
                  <a:pt x="1357" y="946"/>
                  <a:pt x="1073" y="1147"/>
                </a:cubicBezTo>
                <a:cubicBezTo>
                  <a:pt x="790" y="1347"/>
                  <a:pt x="415" y="1324"/>
                  <a:pt x="207" y="1053"/>
                </a:cubicBezTo>
              </a:path>
            </a:pathLst>
          </a:custGeom>
          <a:solidFill>
            <a:srgbClr val="0070AD"/>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dirty="0"/>
          </a:p>
        </p:txBody>
      </p:sp>
      <p:sp>
        <p:nvSpPr>
          <p:cNvPr id="13" name="Text Placeholder 9">
            <a:extLst>
              <a:ext uri="{FF2B5EF4-FFF2-40B4-BE49-F238E27FC236}">
                <a16:creationId xmlns:a16="http://schemas.microsoft.com/office/drawing/2014/main" id="{80128159-415F-4DEF-9A01-435CA9142F82}"/>
              </a:ext>
            </a:extLst>
          </p:cNvPr>
          <p:cNvSpPr txBox="1">
            <a:spLocks/>
          </p:cNvSpPr>
          <p:nvPr/>
        </p:nvSpPr>
        <p:spPr>
          <a:xfrm>
            <a:off x="862790" y="3037919"/>
            <a:ext cx="2280665" cy="645047"/>
          </a:xfrm>
          <a:prstGeom prst="rect">
            <a:avLst/>
          </a:prstGeom>
          <a:noFill/>
        </p:spPr>
        <p:txBody>
          <a:bodyPr vert="horz" lIns="0" tIns="0" rIns="0" bIns="0" rtlCol="0" anchor="ctr">
            <a:noAutofit/>
          </a:bodyPr>
          <a:lstStyle/>
          <a:p>
            <a:pPr lvl="0">
              <a:lnSpc>
                <a:spcPct val="90000"/>
              </a:lnSpc>
              <a:spcBef>
                <a:spcPts val="1000"/>
              </a:spcBef>
              <a:defRPr/>
            </a:pPr>
            <a:r>
              <a:rPr lang="en-US" b="1" dirty="0">
                <a:solidFill>
                  <a:srgbClr val="12ABDB"/>
                </a:solidFill>
                <a:latin typeface="Verdana" panose="020B0604030504040204" pitchFamily="34" charset="0"/>
                <a:ea typeface="Verdana" panose="020B0604030504040204" pitchFamily="34" charset="0"/>
                <a:cs typeface="Verdana" panose="020B0604030504040204" pitchFamily="34" charset="0"/>
              </a:rPr>
              <a:t>if type of</a:t>
            </a:r>
            <a:endParaRPr kumimoji="0" lang="pt-PT" b="1" i="0" u="none" strike="noStrike" kern="1200" cap="none" spc="0" normalizeH="0" baseline="0" noProof="0" dirty="0">
              <a:ln>
                <a:noFill/>
              </a:ln>
              <a:solidFill>
                <a:srgbClr val="12ABDB"/>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14" name="Text Placeholder 9">
            <a:extLst>
              <a:ext uri="{FF2B5EF4-FFF2-40B4-BE49-F238E27FC236}">
                <a16:creationId xmlns:a16="http://schemas.microsoft.com/office/drawing/2014/main" id="{39340FB5-A068-4DA4-941C-887B7EF93BBD}"/>
              </a:ext>
            </a:extLst>
          </p:cNvPr>
          <p:cNvSpPr txBox="1">
            <a:spLocks/>
          </p:cNvSpPr>
          <p:nvPr/>
        </p:nvSpPr>
        <p:spPr>
          <a:xfrm>
            <a:off x="4412621" y="3037919"/>
            <a:ext cx="1986405" cy="645047"/>
          </a:xfrm>
          <a:prstGeom prst="rect">
            <a:avLst/>
          </a:prstGeom>
          <a:noFill/>
        </p:spPr>
        <p:txBody>
          <a:bodyPr vert="horz" lIns="0" tIns="0" rIns="0" bIns="0" rtlCol="0" anchor="ctr">
            <a:noAutofit/>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pt-PT" b="1" dirty="0">
                <a:solidFill>
                  <a:schemeClr val="accent4"/>
                </a:solidFill>
                <a:latin typeface="Verdana" panose="020B0604030504040204" pitchFamily="34" charset="0"/>
                <a:ea typeface="Verdana" panose="020B0604030504040204" pitchFamily="34" charset="0"/>
                <a:cs typeface="Verdana" panose="020B0604030504040204" pitchFamily="34" charset="0"/>
              </a:rPr>
              <a:t>i</a:t>
            </a:r>
            <a:r>
              <a:rPr kumimoji="0" lang="pt-PT" b="1" i="0" u="none" strike="noStrike" kern="1200" cap="none" spc="0" normalizeH="0" baseline="0" noProof="0" dirty="0">
                <a:ln>
                  <a:noFill/>
                </a:ln>
                <a:solidFill>
                  <a:schemeClr val="accent4"/>
                </a:solidFill>
                <a:effectLst/>
                <a:uLnTx/>
                <a:uFillTx/>
                <a:latin typeface="Verdana" panose="020B0604030504040204" pitchFamily="34" charset="0"/>
                <a:ea typeface="Verdana" panose="020B0604030504040204" pitchFamily="34" charset="0"/>
                <a:cs typeface="Verdana" panose="020B0604030504040204" pitchFamily="34" charset="0"/>
              </a:rPr>
              <a:t>s type</a:t>
            </a:r>
          </a:p>
        </p:txBody>
      </p:sp>
      <p:sp>
        <p:nvSpPr>
          <p:cNvPr id="15" name="Freeform 20">
            <a:extLst>
              <a:ext uri="{FF2B5EF4-FFF2-40B4-BE49-F238E27FC236}">
                <a16:creationId xmlns:a16="http://schemas.microsoft.com/office/drawing/2014/main" id="{EC9ACB1E-2881-4791-8139-2877E2426C41}"/>
              </a:ext>
            </a:extLst>
          </p:cNvPr>
          <p:cNvSpPr>
            <a:spLocks/>
          </p:cNvSpPr>
          <p:nvPr/>
        </p:nvSpPr>
        <p:spPr bwMode="auto">
          <a:xfrm>
            <a:off x="7464152" y="1702869"/>
            <a:ext cx="1330762" cy="1244311"/>
          </a:xfrm>
          <a:custGeom>
            <a:avLst/>
            <a:gdLst>
              <a:gd name="T0" fmla="*/ 101 w 701"/>
              <a:gd name="T1" fmla="*/ 513 h 655"/>
              <a:gd name="T2" fmla="*/ 168 w 701"/>
              <a:gd name="T3" fmla="*/ 98 h 655"/>
              <a:gd name="T4" fmla="*/ 600 w 701"/>
              <a:gd name="T5" fmla="*/ 159 h 655"/>
              <a:gd name="T6" fmla="*/ 522 w 701"/>
              <a:gd name="T7" fmla="*/ 558 h 655"/>
              <a:gd name="T8" fmla="*/ 101 w 701"/>
              <a:gd name="T9" fmla="*/ 513 h 655"/>
            </a:gdLst>
            <a:ahLst/>
            <a:cxnLst>
              <a:cxn ang="0">
                <a:pos x="T0" y="T1"/>
              </a:cxn>
              <a:cxn ang="0">
                <a:pos x="T2" y="T3"/>
              </a:cxn>
              <a:cxn ang="0">
                <a:pos x="T4" y="T5"/>
              </a:cxn>
              <a:cxn ang="0">
                <a:pos x="T6" y="T7"/>
              </a:cxn>
              <a:cxn ang="0">
                <a:pos x="T8" y="T9"/>
              </a:cxn>
            </a:cxnLst>
            <a:rect l="0" t="0" r="r" b="b"/>
            <a:pathLst>
              <a:path w="701" h="655">
                <a:moveTo>
                  <a:pt x="101" y="513"/>
                </a:moveTo>
                <a:cubicBezTo>
                  <a:pt x="0" y="381"/>
                  <a:pt x="30" y="196"/>
                  <a:pt x="168" y="98"/>
                </a:cubicBezTo>
                <a:cubicBezTo>
                  <a:pt x="306" y="0"/>
                  <a:pt x="500" y="28"/>
                  <a:pt x="600" y="159"/>
                </a:cubicBezTo>
                <a:cubicBezTo>
                  <a:pt x="701" y="290"/>
                  <a:pt x="660" y="460"/>
                  <a:pt x="522" y="558"/>
                </a:cubicBezTo>
                <a:cubicBezTo>
                  <a:pt x="384" y="655"/>
                  <a:pt x="202" y="644"/>
                  <a:pt x="101" y="513"/>
                </a:cubicBezTo>
              </a:path>
            </a:pathLst>
          </a:custGeom>
          <a:solidFill>
            <a:srgbClr val="86086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16" name="Text Placeholder 9">
            <a:extLst>
              <a:ext uri="{FF2B5EF4-FFF2-40B4-BE49-F238E27FC236}">
                <a16:creationId xmlns:a16="http://schemas.microsoft.com/office/drawing/2014/main" id="{5A4C617D-E519-4766-9330-0A3562D720E4}"/>
              </a:ext>
            </a:extLst>
          </p:cNvPr>
          <p:cNvSpPr txBox="1">
            <a:spLocks/>
          </p:cNvSpPr>
          <p:nvPr/>
        </p:nvSpPr>
        <p:spPr>
          <a:xfrm>
            <a:off x="8096109" y="3037919"/>
            <a:ext cx="2320371" cy="645047"/>
          </a:xfrm>
          <a:prstGeom prst="rect">
            <a:avLst/>
          </a:prstGeom>
          <a:noFill/>
        </p:spPr>
        <p:txBody>
          <a:bodyPr vert="horz" lIns="0" tIns="0" rIns="0" bIns="0" rtlCol="0" anchor="ctr">
            <a:noAutofit/>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b="1" i="0" u="none" strike="noStrike" kern="1200" cap="none" spc="0" normalizeH="0" baseline="0" noProof="0" dirty="0">
                <a:ln>
                  <a:noFill/>
                </a:ln>
                <a:solidFill>
                  <a:srgbClr val="860864"/>
                </a:solidFill>
                <a:effectLst/>
                <a:uLnTx/>
                <a:uFillTx/>
                <a:latin typeface="Verdana" panose="020B0604030504040204" pitchFamily="34" charset="0"/>
                <a:ea typeface="Verdana" panose="020B0604030504040204" pitchFamily="34" charset="0"/>
                <a:cs typeface="Verdana" panose="020B0604030504040204" pitchFamily="34" charset="0"/>
              </a:rPr>
              <a:t>switch</a:t>
            </a:r>
          </a:p>
        </p:txBody>
      </p:sp>
      <p:pic>
        <p:nvPicPr>
          <p:cNvPr id="3" name="Obraz 2">
            <a:extLst>
              <a:ext uri="{FF2B5EF4-FFF2-40B4-BE49-F238E27FC236}">
                <a16:creationId xmlns:a16="http://schemas.microsoft.com/office/drawing/2014/main" id="{011D349B-A264-4864-B5EF-EEC59B2EAA1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216270" y="3573016"/>
            <a:ext cx="3538545" cy="1885366"/>
          </a:xfrm>
          <a:prstGeom prst="rect">
            <a:avLst/>
          </a:prstGeom>
        </p:spPr>
      </p:pic>
      <p:pic>
        <p:nvPicPr>
          <p:cNvPr id="21" name="Obraz 20">
            <a:extLst>
              <a:ext uri="{FF2B5EF4-FFF2-40B4-BE49-F238E27FC236}">
                <a16:creationId xmlns:a16="http://schemas.microsoft.com/office/drawing/2014/main" id="{EEA557F6-F2EF-4C93-9866-E2833666E9E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02915" y="3573016"/>
            <a:ext cx="3538545" cy="1885366"/>
          </a:xfrm>
          <a:prstGeom prst="rect">
            <a:avLst/>
          </a:prstGeom>
        </p:spPr>
      </p:pic>
      <p:pic>
        <p:nvPicPr>
          <p:cNvPr id="23" name="Obraz 22">
            <a:extLst>
              <a:ext uri="{FF2B5EF4-FFF2-40B4-BE49-F238E27FC236}">
                <a16:creationId xmlns:a16="http://schemas.microsoft.com/office/drawing/2014/main" id="{689C57C6-52D2-47BD-857E-E942AA6559FE}"/>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855929" y="3573016"/>
            <a:ext cx="3538545" cy="1885366"/>
          </a:xfrm>
          <a:prstGeom prst="rect">
            <a:avLst/>
          </a:prstGeom>
        </p:spPr>
      </p:pic>
    </p:spTree>
    <p:extLst>
      <p:ext uri="{BB962C8B-B14F-4D97-AF65-F5344CB8AC3E}">
        <p14:creationId xmlns:p14="http://schemas.microsoft.com/office/powerpoint/2010/main" val="2161187638"/>
      </p:ext>
    </p:extLst>
  </p:cSld>
  <p:clrMapOvr>
    <a:masterClrMapping/>
  </p:clrMapOvr>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ytuł 3">
            <a:extLst>
              <a:ext uri="{FF2B5EF4-FFF2-40B4-BE49-F238E27FC236}">
                <a16:creationId xmlns:a16="http://schemas.microsoft.com/office/drawing/2014/main" id="{BE6E47FB-5E55-45DB-B712-E4993D47A776}"/>
              </a:ext>
            </a:extLst>
          </p:cNvPr>
          <p:cNvSpPr>
            <a:spLocks noGrp="1"/>
          </p:cNvSpPr>
          <p:nvPr>
            <p:ph type="title"/>
          </p:nvPr>
        </p:nvSpPr>
        <p:spPr/>
        <p:txBody>
          <a:bodyPr/>
          <a:lstStyle/>
          <a:p>
            <a:r>
              <a:rPr lang="en-US" sz="3200" dirty="0"/>
              <a:t>Switch statements</a:t>
            </a:r>
          </a:p>
        </p:txBody>
      </p:sp>
      <p:sp>
        <p:nvSpPr>
          <p:cNvPr id="6" name="Symbol zastępczy tekstu 5">
            <a:extLst>
              <a:ext uri="{FF2B5EF4-FFF2-40B4-BE49-F238E27FC236}">
                <a16:creationId xmlns:a16="http://schemas.microsoft.com/office/drawing/2014/main" id="{1302AB4B-7554-47F7-BBCD-39BD33559A94}"/>
              </a:ext>
            </a:extLst>
          </p:cNvPr>
          <p:cNvSpPr>
            <a:spLocks noGrp="1"/>
          </p:cNvSpPr>
          <p:nvPr>
            <p:ph type="body" sz="quarter" idx="11"/>
          </p:nvPr>
        </p:nvSpPr>
        <p:spPr/>
        <p:txBody>
          <a:bodyPr/>
          <a:lstStyle/>
          <a:p>
            <a:r>
              <a:rPr lang="en-US" dirty="0"/>
              <a:t>C# 7.0 – additional conditions</a:t>
            </a:r>
          </a:p>
        </p:txBody>
      </p:sp>
      <p:sp>
        <p:nvSpPr>
          <p:cNvPr id="7" name="Symbol zastępczy tekstu 6">
            <a:extLst>
              <a:ext uri="{FF2B5EF4-FFF2-40B4-BE49-F238E27FC236}">
                <a16:creationId xmlns:a16="http://schemas.microsoft.com/office/drawing/2014/main" id="{5D8A2B1E-A86F-4A25-94A4-5CF446FD2951}"/>
              </a:ext>
            </a:extLst>
          </p:cNvPr>
          <p:cNvSpPr>
            <a:spLocks noGrp="1"/>
          </p:cNvSpPr>
          <p:nvPr>
            <p:ph type="body" sz="quarter" idx="12"/>
          </p:nvPr>
        </p:nvSpPr>
        <p:spPr/>
        <p:txBody>
          <a:bodyPr/>
          <a:lstStyle/>
          <a:p>
            <a:r>
              <a:rPr lang="en-US" dirty="0"/>
              <a:t>2</a:t>
            </a:r>
          </a:p>
        </p:txBody>
      </p:sp>
      <p:sp>
        <p:nvSpPr>
          <p:cNvPr id="8" name="Rectangle 59">
            <a:extLst>
              <a:ext uri="{FF2B5EF4-FFF2-40B4-BE49-F238E27FC236}">
                <a16:creationId xmlns:a16="http://schemas.microsoft.com/office/drawing/2014/main" id="{1F67BB42-1697-411E-900C-908E20D4A75B}"/>
              </a:ext>
            </a:extLst>
          </p:cNvPr>
          <p:cNvSpPr/>
          <p:nvPr/>
        </p:nvSpPr>
        <p:spPr>
          <a:xfrm>
            <a:off x="7855929" y="2365334"/>
            <a:ext cx="3538545" cy="358346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9" name="Rectangle 59">
            <a:extLst>
              <a:ext uri="{FF2B5EF4-FFF2-40B4-BE49-F238E27FC236}">
                <a16:creationId xmlns:a16="http://schemas.microsoft.com/office/drawing/2014/main" id="{688066BD-2AD8-4B3D-B238-905A511C772F}"/>
              </a:ext>
            </a:extLst>
          </p:cNvPr>
          <p:cNvSpPr/>
          <p:nvPr/>
        </p:nvSpPr>
        <p:spPr>
          <a:xfrm>
            <a:off x="566400" y="2365334"/>
            <a:ext cx="3538545" cy="358346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0" name="Rectangle 59">
            <a:extLst>
              <a:ext uri="{FF2B5EF4-FFF2-40B4-BE49-F238E27FC236}">
                <a16:creationId xmlns:a16="http://schemas.microsoft.com/office/drawing/2014/main" id="{75E18D79-DBEC-4435-89C6-511CDA8EB9A7}"/>
              </a:ext>
            </a:extLst>
          </p:cNvPr>
          <p:cNvSpPr/>
          <p:nvPr/>
        </p:nvSpPr>
        <p:spPr>
          <a:xfrm>
            <a:off x="4213639" y="2365334"/>
            <a:ext cx="3538545" cy="358346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1" name="Freeform 26">
            <a:extLst>
              <a:ext uri="{FF2B5EF4-FFF2-40B4-BE49-F238E27FC236}">
                <a16:creationId xmlns:a16="http://schemas.microsoft.com/office/drawing/2014/main" id="{B73185F3-98FF-4BB7-BA02-7F91790B94E8}"/>
              </a:ext>
            </a:extLst>
          </p:cNvPr>
          <p:cNvSpPr>
            <a:spLocks/>
          </p:cNvSpPr>
          <p:nvPr/>
        </p:nvSpPr>
        <p:spPr bwMode="auto">
          <a:xfrm>
            <a:off x="3791744" y="1699811"/>
            <a:ext cx="1330762" cy="1247369"/>
          </a:xfrm>
          <a:custGeom>
            <a:avLst/>
            <a:gdLst>
              <a:gd name="T0" fmla="*/ 60 w 422"/>
              <a:gd name="T1" fmla="*/ 309 h 395"/>
              <a:gd name="T2" fmla="*/ 101 w 422"/>
              <a:gd name="T3" fmla="*/ 59 h 395"/>
              <a:gd name="T4" fmla="*/ 362 w 422"/>
              <a:gd name="T5" fmla="*/ 96 h 395"/>
              <a:gd name="T6" fmla="*/ 314 w 422"/>
              <a:gd name="T7" fmla="*/ 336 h 395"/>
              <a:gd name="T8" fmla="*/ 60 w 422"/>
              <a:gd name="T9" fmla="*/ 309 h 395"/>
            </a:gdLst>
            <a:ahLst/>
            <a:cxnLst>
              <a:cxn ang="0">
                <a:pos x="T0" y="T1"/>
              </a:cxn>
              <a:cxn ang="0">
                <a:pos x="T2" y="T3"/>
              </a:cxn>
              <a:cxn ang="0">
                <a:pos x="T4" y="T5"/>
              </a:cxn>
              <a:cxn ang="0">
                <a:pos x="T6" y="T7"/>
              </a:cxn>
              <a:cxn ang="0">
                <a:pos x="T8" y="T9"/>
              </a:cxn>
            </a:cxnLst>
            <a:rect l="0" t="0" r="r" b="b"/>
            <a:pathLst>
              <a:path w="422" h="395">
                <a:moveTo>
                  <a:pt x="60" y="309"/>
                </a:moveTo>
                <a:cubicBezTo>
                  <a:pt x="0" y="230"/>
                  <a:pt x="18" y="118"/>
                  <a:pt x="101" y="59"/>
                </a:cubicBezTo>
                <a:cubicBezTo>
                  <a:pt x="184" y="0"/>
                  <a:pt x="301" y="17"/>
                  <a:pt x="362" y="96"/>
                </a:cubicBezTo>
                <a:cubicBezTo>
                  <a:pt x="422" y="175"/>
                  <a:pt x="397" y="278"/>
                  <a:pt x="314" y="336"/>
                </a:cubicBezTo>
                <a:cubicBezTo>
                  <a:pt x="231" y="395"/>
                  <a:pt x="121" y="388"/>
                  <a:pt x="60" y="309"/>
                </a:cubicBezTo>
              </a:path>
            </a:pathLst>
          </a:custGeom>
          <a:solidFill>
            <a:srgbClr val="FF304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12" name="Freeform 31">
            <a:extLst>
              <a:ext uri="{FF2B5EF4-FFF2-40B4-BE49-F238E27FC236}">
                <a16:creationId xmlns:a16="http://schemas.microsoft.com/office/drawing/2014/main" id="{FE407D47-CC42-418F-BB32-DE9CA28880BF}"/>
              </a:ext>
            </a:extLst>
          </p:cNvPr>
          <p:cNvSpPr>
            <a:spLocks/>
          </p:cNvSpPr>
          <p:nvPr/>
        </p:nvSpPr>
        <p:spPr bwMode="auto">
          <a:xfrm>
            <a:off x="353137" y="1675813"/>
            <a:ext cx="1359985" cy="1271367"/>
          </a:xfrm>
          <a:custGeom>
            <a:avLst/>
            <a:gdLst>
              <a:gd name="T0" fmla="*/ 207 w 1442"/>
              <a:gd name="T1" fmla="*/ 1053 h 1347"/>
              <a:gd name="T2" fmla="*/ 346 w 1442"/>
              <a:gd name="T3" fmla="*/ 201 h 1347"/>
              <a:gd name="T4" fmla="*/ 1235 w 1442"/>
              <a:gd name="T5" fmla="*/ 326 h 1347"/>
              <a:gd name="T6" fmla="*/ 1073 w 1442"/>
              <a:gd name="T7" fmla="*/ 1147 h 1347"/>
              <a:gd name="T8" fmla="*/ 207 w 1442"/>
              <a:gd name="T9" fmla="*/ 1053 h 1347"/>
            </a:gdLst>
            <a:ahLst/>
            <a:cxnLst>
              <a:cxn ang="0">
                <a:pos x="T0" y="T1"/>
              </a:cxn>
              <a:cxn ang="0">
                <a:pos x="T2" y="T3"/>
              </a:cxn>
              <a:cxn ang="0">
                <a:pos x="T4" y="T5"/>
              </a:cxn>
              <a:cxn ang="0">
                <a:pos x="T6" y="T7"/>
              </a:cxn>
              <a:cxn ang="0">
                <a:pos x="T8" y="T9"/>
              </a:cxn>
            </a:cxnLst>
            <a:rect l="0" t="0" r="r" b="b"/>
            <a:pathLst>
              <a:path w="1442" h="1347">
                <a:moveTo>
                  <a:pt x="207" y="1053"/>
                </a:moveTo>
                <a:cubicBezTo>
                  <a:pt x="0" y="783"/>
                  <a:pt x="62" y="401"/>
                  <a:pt x="346" y="201"/>
                </a:cubicBezTo>
                <a:cubicBezTo>
                  <a:pt x="629" y="0"/>
                  <a:pt x="1028" y="56"/>
                  <a:pt x="1235" y="326"/>
                </a:cubicBezTo>
                <a:cubicBezTo>
                  <a:pt x="1442" y="596"/>
                  <a:pt x="1357" y="946"/>
                  <a:pt x="1073" y="1147"/>
                </a:cubicBezTo>
                <a:cubicBezTo>
                  <a:pt x="790" y="1347"/>
                  <a:pt x="415" y="1324"/>
                  <a:pt x="207" y="1053"/>
                </a:cubicBezTo>
              </a:path>
            </a:pathLst>
          </a:custGeom>
          <a:solidFill>
            <a:srgbClr val="0070AD"/>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dirty="0"/>
          </a:p>
        </p:txBody>
      </p:sp>
      <p:sp>
        <p:nvSpPr>
          <p:cNvPr id="13" name="Text Placeholder 9">
            <a:extLst>
              <a:ext uri="{FF2B5EF4-FFF2-40B4-BE49-F238E27FC236}">
                <a16:creationId xmlns:a16="http://schemas.microsoft.com/office/drawing/2014/main" id="{80128159-415F-4DEF-9A01-435CA9142F82}"/>
              </a:ext>
            </a:extLst>
          </p:cNvPr>
          <p:cNvSpPr txBox="1">
            <a:spLocks/>
          </p:cNvSpPr>
          <p:nvPr/>
        </p:nvSpPr>
        <p:spPr>
          <a:xfrm>
            <a:off x="862790" y="3037919"/>
            <a:ext cx="2280665" cy="645047"/>
          </a:xfrm>
          <a:prstGeom prst="rect">
            <a:avLst/>
          </a:prstGeom>
          <a:noFill/>
        </p:spPr>
        <p:txBody>
          <a:bodyPr vert="horz" lIns="0" tIns="0" rIns="0" bIns="0" rtlCol="0" anchor="ctr">
            <a:noAutofit/>
          </a:bodyPr>
          <a:lstStyle/>
          <a:p>
            <a:pPr lvl="0">
              <a:lnSpc>
                <a:spcPct val="90000"/>
              </a:lnSpc>
              <a:spcBef>
                <a:spcPts val="1000"/>
              </a:spcBef>
              <a:defRPr/>
            </a:pPr>
            <a:r>
              <a:rPr lang="en-US" b="1" dirty="0">
                <a:solidFill>
                  <a:srgbClr val="12ABDB"/>
                </a:solidFill>
                <a:latin typeface="Verdana" panose="020B0604030504040204" pitchFamily="34" charset="0"/>
                <a:ea typeface="Verdana" panose="020B0604030504040204" pitchFamily="34" charset="0"/>
                <a:cs typeface="Verdana" panose="020B0604030504040204" pitchFamily="34" charset="0"/>
              </a:rPr>
              <a:t>if condition</a:t>
            </a:r>
            <a:endParaRPr kumimoji="0" lang="pt-PT" b="1" i="0" u="none" strike="noStrike" kern="1200" cap="none" spc="0" normalizeH="0" baseline="0" noProof="0" dirty="0">
              <a:ln>
                <a:noFill/>
              </a:ln>
              <a:solidFill>
                <a:srgbClr val="12ABDB"/>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14" name="Text Placeholder 9">
            <a:extLst>
              <a:ext uri="{FF2B5EF4-FFF2-40B4-BE49-F238E27FC236}">
                <a16:creationId xmlns:a16="http://schemas.microsoft.com/office/drawing/2014/main" id="{39340FB5-A068-4DA4-941C-887B7EF93BBD}"/>
              </a:ext>
            </a:extLst>
          </p:cNvPr>
          <p:cNvSpPr txBox="1">
            <a:spLocks/>
          </p:cNvSpPr>
          <p:nvPr/>
        </p:nvSpPr>
        <p:spPr>
          <a:xfrm>
            <a:off x="4412621" y="3037919"/>
            <a:ext cx="1986405" cy="645047"/>
          </a:xfrm>
          <a:prstGeom prst="rect">
            <a:avLst/>
          </a:prstGeom>
          <a:noFill/>
        </p:spPr>
        <p:txBody>
          <a:bodyPr vert="horz" lIns="0" tIns="0" rIns="0" bIns="0" rtlCol="0" anchor="ctr">
            <a:noAutofit/>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b="1" i="0" u="none" strike="noStrike" kern="1200" cap="none" spc="0" normalizeH="0" baseline="0" noProof="0" dirty="0">
                <a:ln>
                  <a:noFill/>
                </a:ln>
                <a:solidFill>
                  <a:schemeClr val="accent4"/>
                </a:solidFill>
                <a:effectLst/>
                <a:uLnTx/>
                <a:uFillTx/>
                <a:latin typeface="Verdana" panose="020B0604030504040204" pitchFamily="34" charset="0"/>
                <a:ea typeface="Verdana" panose="020B0604030504040204" pitchFamily="34" charset="0"/>
                <a:cs typeface="Verdana" panose="020B0604030504040204" pitchFamily="34" charset="0"/>
              </a:rPr>
              <a:t>case condition</a:t>
            </a:r>
          </a:p>
        </p:txBody>
      </p:sp>
      <p:sp>
        <p:nvSpPr>
          <p:cNvPr id="15" name="Freeform 20">
            <a:extLst>
              <a:ext uri="{FF2B5EF4-FFF2-40B4-BE49-F238E27FC236}">
                <a16:creationId xmlns:a16="http://schemas.microsoft.com/office/drawing/2014/main" id="{EC9ACB1E-2881-4791-8139-2877E2426C41}"/>
              </a:ext>
            </a:extLst>
          </p:cNvPr>
          <p:cNvSpPr>
            <a:spLocks/>
          </p:cNvSpPr>
          <p:nvPr/>
        </p:nvSpPr>
        <p:spPr bwMode="auto">
          <a:xfrm>
            <a:off x="7464152" y="1702869"/>
            <a:ext cx="1330762" cy="1244311"/>
          </a:xfrm>
          <a:custGeom>
            <a:avLst/>
            <a:gdLst>
              <a:gd name="T0" fmla="*/ 101 w 701"/>
              <a:gd name="T1" fmla="*/ 513 h 655"/>
              <a:gd name="T2" fmla="*/ 168 w 701"/>
              <a:gd name="T3" fmla="*/ 98 h 655"/>
              <a:gd name="T4" fmla="*/ 600 w 701"/>
              <a:gd name="T5" fmla="*/ 159 h 655"/>
              <a:gd name="T6" fmla="*/ 522 w 701"/>
              <a:gd name="T7" fmla="*/ 558 h 655"/>
              <a:gd name="T8" fmla="*/ 101 w 701"/>
              <a:gd name="T9" fmla="*/ 513 h 655"/>
            </a:gdLst>
            <a:ahLst/>
            <a:cxnLst>
              <a:cxn ang="0">
                <a:pos x="T0" y="T1"/>
              </a:cxn>
              <a:cxn ang="0">
                <a:pos x="T2" y="T3"/>
              </a:cxn>
              <a:cxn ang="0">
                <a:pos x="T4" y="T5"/>
              </a:cxn>
              <a:cxn ang="0">
                <a:pos x="T6" y="T7"/>
              </a:cxn>
              <a:cxn ang="0">
                <a:pos x="T8" y="T9"/>
              </a:cxn>
            </a:cxnLst>
            <a:rect l="0" t="0" r="r" b="b"/>
            <a:pathLst>
              <a:path w="701" h="655">
                <a:moveTo>
                  <a:pt x="101" y="513"/>
                </a:moveTo>
                <a:cubicBezTo>
                  <a:pt x="0" y="381"/>
                  <a:pt x="30" y="196"/>
                  <a:pt x="168" y="98"/>
                </a:cubicBezTo>
                <a:cubicBezTo>
                  <a:pt x="306" y="0"/>
                  <a:pt x="500" y="28"/>
                  <a:pt x="600" y="159"/>
                </a:cubicBezTo>
                <a:cubicBezTo>
                  <a:pt x="701" y="290"/>
                  <a:pt x="660" y="460"/>
                  <a:pt x="522" y="558"/>
                </a:cubicBezTo>
                <a:cubicBezTo>
                  <a:pt x="384" y="655"/>
                  <a:pt x="202" y="644"/>
                  <a:pt x="101" y="513"/>
                </a:cubicBezTo>
              </a:path>
            </a:pathLst>
          </a:custGeom>
          <a:solidFill>
            <a:srgbClr val="86086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16" name="Text Placeholder 9">
            <a:extLst>
              <a:ext uri="{FF2B5EF4-FFF2-40B4-BE49-F238E27FC236}">
                <a16:creationId xmlns:a16="http://schemas.microsoft.com/office/drawing/2014/main" id="{5A4C617D-E519-4766-9330-0A3562D720E4}"/>
              </a:ext>
            </a:extLst>
          </p:cNvPr>
          <p:cNvSpPr txBox="1">
            <a:spLocks/>
          </p:cNvSpPr>
          <p:nvPr/>
        </p:nvSpPr>
        <p:spPr>
          <a:xfrm>
            <a:off x="8096109" y="3037919"/>
            <a:ext cx="2320371" cy="645047"/>
          </a:xfrm>
          <a:prstGeom prst="rect">
            <a:avLst/>
          </a:prstGeom>
          <a:noFill/>
        </p:spPr>
        <p:txBody>
          <a:bodyPr vert="horz" lIns="0" tIns="0" rIns="0" bIns="0" rtlCol="0" anchor="ctr">
            <a:noAutofit/>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b="1" i="0" u="none" strike="noStrike" kern="1200" cap="none" spc="0" normalizeH="0" baseline="0" noProof="0" dirty="0">
                <a:ln>
                  <a:noFill/>
                </a:ln>
                <a:solidFill>
                  <a:srgbClr val="860864"/>
                </a:solidFill>
                <a:effectLst/>
                <a:uLnTx/>
                <a:uFillTx/>
                <a:latin typeface="Verdana" panose="020B0604030504040204" pitchFamily="34" charset="0"/>
                <a:ea typeface="Verdana" panose="020B0604030504040204" pitchFamily="34" charset="0"/>
                <a:cs typeface="Verdana" panose="020B0604030504040204" pitchFamily="34" charset="0"/>
              </a:rPr>
              <a:t>when condition</a:t>
            </a:r>
          </a:p>
        </p:txBody>
      </p:sp>
      <p:pic>
        <p:nvPicPr>
          <p:cNvPr id="5" name="Obraz 4">
            <a:extLst>
              <a:ext uri="{FF2B5EF4-FFF2-40B4-BE49-F238E27FC236}">
                <a16:creationId xmlns:a16="http://schemas.microsoft.com/office/drawing/2014/main" id="{F04D5C34-6E30-47B9-91EC-963363F15EF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225458" y="3593449"/>
            <a:ext cx="3019352" cy="2349168"/>
          </a:xfrm>
          <a:prstGeom prst="rect">
            <a:avLst/>
          </a:prstGeom>
        </p:spPr>
      </p:pic>
      <p:pic>
        <p:nvPicPr>
          <p:cNvPr id="18" name="Obraz 17">
            <a:extLst>
              <a:ext uri="{FF2B5EF4-FFF2-40B4-BE49-F238E27FC236}">
                <a16:creationId xmlns:a16="http://schemas.microsoft.com/office/drawing/2014/main" id="{4E332392-2D43-44D6-A333-3BD6FD2B0DB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73467" y="3599626"/>
            <a:ext cx="3019352" cy="2349168"/>
          </a:xfrm>
          <a:prstGeom prst="rect">
            <a:avLst/>
          </a:prstGeom>
        </p:spPr>
      </p:pic>
      <p:pic>
        <p:nvPicPr>
          <p:cNvPr id="20" name="Obraz 19">
            <a:extLst>
              <a:ext uri="{FF2B5EF4-FFF2-40B4-BE49-F238E27FC236}">
                <a16:creationId xmlns:a16="http://schemas.microsoft.com/office/drawing/2014/main" id="{C64A34EB-DFC2-49F2-9F64-437A5B34BA3D}"/>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855929" y="3593449"/>
            <a:ext cx="3019352" cy="2349168"/>
          </a:xfrm>
          <a:prstGeom prst="rect">
            <a:avLst/>
          </a:prstGeom>
        </p:spPr>
      </p:pic>
    </p:spTree>
    <p:extLst>
      <p:ext uri="{BB962C8B-B14F-4D97-AF65-F5344CB8AC3E}">
        <p14:creationId xmlns:p14="http://schemas.microsoft.com/office/powerpoint/2010/main" val="159964089"/>
      </p:ext>
    </p:extLst>
  </p:cSld>
  <p:clrMapOvr>
    <a:masterClrMapping/>
  </p:clrMapOvr>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ytuł 3">
            <a:extLst>
              <a:ext uri="{FF2B5EF4-FFF2-40B4-BE49-F238E27FC236}">
                <a16:creationId xmlns:a16="http://schemas.microsoft.com/office/drawing/2014/main" id="{BE6E47FB-5E55-45DB-B712-E4993D47A776}"/>
              </a:ext>
            </a:extLst>
          </p:cNvPr>
          <p:cNvSpPr>
            <a:spLocks noGrp="1"/>
          </p:cNvSpPr>
          <p:nvPr>
            <p:ph type="title"/>
          </p:nvPr>
        </p:nvSpPr>
        <p:spPr/>
        <p:txBody>
          <a:bodyPr/>
          <a:lstStyle/>
          <a:p>
            <a:r>
              <a:rPr lang="en-US" sz="3200" dirty="0"/>
              <a:t>Switch statements</a:t>
            </a:r>
          </a:p>
        </p:txBody>
      </p:sp>
      <p:sp>
        <p:nvSpPr>
          <p:cNvPr id="6" name="Symbol zastępczy tekstu 5">
            <a:extLst>
              <a:ext uri="{FF2B5EF4-FFF2-40B4-BE49-F238E27FC236}">
                <a16:creationId xmlns:a16="http://schemas.microsoft.com/office/drawing/2014/main" id="{1302AB4B-7554-47F7-BBCD-39BD33559A94}"/>
              </a:ext>
            </a:extLst>
          </p:cNvPr>
          <p:cNvSpPr>
            <a:spLocks noGrp="1"/>
          </p:cNvSpPr>
          <p:nvPr>
            <p:ph type="body" sz="quarter" idx="11"/>
          </p:nvPr>
        </p:nvSpPr>
        <p:spPr/>
        <p:txBody>
          <a:bodyPr/>
          <a:lstStyle/>
          <a:p>
            <a:r>
              <a:rPr lang="en-US" dirty="0"/>
              <a:t>C# 7.0 – null and default cases</a:t>
            </a:r>
          </a:p>
        </p:txBody>
      </p:sp>
      <p:sp>
        <p:nvSpPr>
          <p:cNvPr id="7" name="Symbol zastępczy tekstu 6">
            <a:extLst>
              <a:ext uri="{FF2B5EF4-FFF2-40B4-BE49-F238E27FC236}">
                <a16:creationId xmlns:a16="http://schemas.microsoft.com/office/drawing/2014/main" id="{5D8A2B1E-A86F-4A25-94A4-5CF446FD2951}"/>
              </a:ext>
            </a:extLst>
          </p:cNvPr>
          <p:cNvSpPr>
            <a:spLocks noGrp="1"/>
          </p:cNvSpPr>
          <p:nvPr>
            <p:ph type="body" sz="quarter" idx="12"/>
          </p:nvPr>
        </p:nvSpPr>
        <p:spPr/>
        <p:txBody>
          <a:bodyPr/>
          <a:lstStyle/>
          <a:p>
            <a:r>
              <a:rPr lang="en-US" dirty="0"/>
              <a:t>3</a:t>
            </a:r>
          </a:p>
        </p:txBody>
      </p:sp>
      <p:sp>
        <p:nvSpPr>
          <p:cNvPr id="21" name="Rectangle 59">
            <a:extLst>
              <a:ext uri="{FF2B5EF4-FFF2-40B4-BE49-F238E27FC236}">
                <a16:creationId xmlns:a16="http://schemas.microsoft.com/office/drawing/2014/main" id="{96832D66-A25D-46E9-B501-788954525DF3}"/>
              </a:ext>
            </a:extLst>
          </p:cNvPr>
          <p:cNvSpPr/>
          <p:nvPr/>
        </p:nvSpPr>
        <p:spPr>
          <a:xfrm>
            <a:off x="5984776" y="2365334"/>
            <a:ext cx="5398008" cy="358346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2" name="Rectangle 59">
            <a:extLst>
              <a:ext uri="{FF2B5EF4-FFF2-40B4-BE49-F238E27FC236}">
                <a16:creationId xmlns:a16="http://schemas.microsoft.com/office/drawing/2014/main" id="{0D4F4F88-3082-41BF-A064-34978E375745}"/>
              </a:ext>
            </a:extLst>
          </p:cNvPr>
          <p:cNvSpPr/>
          <p:nvPr/>
        </p:nvSpPr>
        <p:spPr>
          <a:xfrm>
            <a:off x="551384" y="2365334"/>
            <a:ext cx="5379818" cy="358346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3" name="Text Placeholder 9">
            <a:extLst>
              <a:ext uri="{FF2B5EF4-FFF2-40B4-BE49-F238E27FC236}">
                <a16:creationId xmlns:a16="http://schemas.microsoft.com/office/drawing/2014/main" id="{065B586F-4336-4395-AB63-A4A7CE7F7AD6}"/>
              </a:ext>
            </a:extLst>
          </p:cNvPr>
          <p:cNvSpPr txBox="1">
            <a:spLocks/>
          </p:cNvSpPr>
          <p:nvPr/>
        </p:nvSpPr>
        <p:spPr>
          <a:xfrm>
            <a:off x="862790" y="3037919"/>
            <a:ext cx="4873170" cy="645047"/>
          </a:xfrm>
          <a:prstGeom prst="rect">
            <a:avLst/>
          </a:prstGeom>
          <a:noFill/>
        </p:spPr>
        <p:txBody>
          <a:bodyPr vert="horz" lIns="0" tIns="0" rIns="0" bIns="0" rtlCol="0" anchor="ctr">
            <a:noAutofit/>
          </a:bodyPr>
          <a:lstStyle/>
          <a:p>
            <a:pPr lvl="0">
              <a:lnSpc>
                <a:spcPct val="90000"/>
              </a:lnSpc>
              <a:spcBef>
                <a:spcPts val="1000"/>
              </a:spcBef>
              <a:defRPr/>
            </a:pPr>
            <a:r>
              <a:rPr lang="pt-PT" b="1" dirty="0">
                <a:solidFill>
                  <a:srgbClr val="12ABDB"/>
                </a:solidFill>
                <a:latin typeface="Verdana" panose="020B0604030504040204" pitchFamily="34" charset="0"/>
                <a:ea typeface="Verdana" panose="020B0604030504040204" pitchFamily="34" charset="0"/>
                <a:cs typeface="Verdana" panose="020B0604030504040204" pitchFamily="34" charset="0"/>
              </a:rPr>
              <a:t>if null</a:t>
            </a:r>
            <a:endParaRPr kumimoji="0" lang="pt-PT" b="1" i="0" u="none" strike="noStrike" kern="1200" cap="none" spc="0" normalizeH="0" baseline="0" noProof="0" dirty="0">
              <a:ln>
                <a:noFill/>
              </a:ln>
              <a:solidFill>
                <a:srgbClr val="12ABDB"/>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25" name="Text Placeholder 9">
            <a:extLst>
              <a:ext uri="{FF2B5EF4-FFF2-40B4-BE49-F238E27FC236}">
                <a16:creationId xmlns:a16="http://schemas.microsoft.com/office/drawing/2014/main" id="{5482796E-16AC-4D98-AC33-23544130E06E}"/>
              </a:ext>
            </a:extLst>
          </p:cNvPr>
          <p:cNvSpPr txBox="1">
            <a:spLocks/>
          </p:cNvSpPr>
          <p:nvPr/>
        </p:nvSpPr>
        <p:spPr>
          <a:xfrm>
            <a:off x="6223901" y="3037919"/>
            <a:ext cx="5105309" cy="645047"/>
          </a:xfrm>
          <a:prstGeom prst="rect">
            <a:avLst/>
          </a:prstGeom>
          <a:noFill/>
        </p:spPr>
        <p:txBody>
          <a:bodyPr vert="horz" lIns="0" tIns="0" rIns="0" bIns="0" rtlCol="0" anchor="ctr">
            <a:noAutofit/>
          </a:bodyPr>
          <a:lstStyle/>
          <a:p>
            <a:pPr lvl="0">
              <a:lnSpc>
                <a:spcPct val="90000"/>
              </a:lnSpc>
              <a:spcBef>
                <a:spcPts val="1000"/>
              </a:spcBef>
              <a:defRPr/>
            </a:pPr>
            <a:r>
              <a:rPr lang="pt-PT" b="1" dirty="0">
                <a:solidFill>
                  <a:srgbClr val="CC2980"/>
                </a:solidFill>
                <a:latin typeface="Verdana" panose="020B0604030504040204" pitchFamily="34" charset="0"/>
                <a:ea typeface="Verdana" panose="020B0604030504040204" pitchFamily="34" charset="0"/>
                <a:cs typeface="Verdana" panose="020B0604030504040204" pitchFamily="34" charset="0"/>
              </a:rPr>
              <a:t>case null</a:t>
            </a:r>
          </a:p>
        </p:txBody>
      </p:sp>
      <p:sp>
        <p:nvSpPr>
          <p:cNvPr id="29" name="Freeform 20">
            <a:extLst>
              <a:ext uri="{FF2B5EF4-FFF2-40B4-BE49-F238E27FC236}">
                <a16:creationId xmlns:a16="http://schemas.microsoft.com/office/drawing/2014/main" id="{FA0AA1D8-180E-4E78-A817-65062F069290}"/>
              </a:ext>
            </a:extLst>
          </p:cNvPr>
          <p:cNvSpPr>
            <a:spLocks/>
          </p:cNvSpPr>
          <p:nvPr/>
        </p:nvSpPr>
        <p:spPr bwMode="auto">
          <a:xfrm>
            <a:off x="5591944" y="1702869"/>
            <a:ext cx="1330762" cy="1244311"/>
          </a:xfrm>
          <a:custGeom>
            <a:avLst/>
            <a:gdLst>
              <a:gd name="T0" fmla="*/ 101 w 701"/>
              <a:gd name="T1" fmla="*/ 513 h 655"/>
              <a:gd name="T2" fmla="*/ 168 w 701"/>
              <a:gd name="T3" fmla="*/ 98 h 655"/>
              <a:gd name="T4" fmla="*/ 600 w 701"/>
              <a:gd name="T5" fmla="*/ 159 h 655"/>
              <a:gd name="T6" fmla="*/ 522 w 701"/>
              <a:gd name="T7" fmla="*/ 558 h 655"/>
              <a:gd name="T8" fmla="*/ 101 w 701"/>
              <a:gd name="T9" fmla="*/ 513 h 655"/>
            </a:gdLst>
            <a:ahLst/>
            <a:cxnLst>
              <a:cxn ang="0">
                <a:pos x="T0" y="T1"/>
              </a:cxn>
              <a:cxn ang="0">
                <a:pos x="T2" y="T3"/>
              </a:cxn>
              <a:cxn ang="0">
                <a:pos x="T4" y="T5"/>
              </a:cxn>
              <a:cxn ang="0">
                <a:pos x="T6" y="T7"/>
              </a:cxn>
              <a:cxn ang="0">
                <a:pos x="T8" y="T9"/>
              </a:cxn>
            </a:cxnLst>
            <a:rect l="0" t="0" r="r" b="b"/>
            <a:pathLst>
              <a:path w="701" h="655">
                <a:moveTo>
                  <a:pt x="101" y="513"/>
                </a:moveTo>
                <a:cubicBezTo>
                  <a:pt x="0" y="381"/>
                  <a:pt x="30" y="196"/>
                  <a:pt x="168" y="98"/>
                </a:cubicBezTo>
                <a:cubicBezTo>
                  <a:pt x="306" y="0"/>
                  <a:pt x="500" y="28"/>
                  <a:pt x="600" y="159"/>
                </a:cubicBezTo>
                <a:cubicBezTo>
                  <a:pt x="701" y="290"/>
                  <a:pt x="660" y="460"/>
                  <a:pt x="522" y="558"/>
                </a:cubicBezTo>
                <a:cubicBezTo>
                  <a:pt x="384" y="655"/>
                  <a:pt x="202" y="644"/>
                  <a:pt x="101" y="513"/>
                </a:cubicBezTo>
              </a:path>
            </a:pathLst>
          </a:custGeom>
          <a:solidFill>
            <a:srgbClr val="CC298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algn="ctr"/>
            <a:endParaRPr lang="pt-PT" b="1" dirty="0">
              <a:solidFill>
                <a:srgbClr val="CC2980"/>
              </a:solidFill>
            </a:endParaRPr>
          </a:p>
        </p:txBody>
      </p:sp>
      <p:sp>
        <p:nvSpPr>
          <p:cNvPr id="31" name="Freeform 31">
            <a:extLst>
              <a:ext uri="{FF2B5EF4-FFF2-40B4-BE49-F238E27FC236}">
                <a16:creationId xmlns:a16="http://schemas.microsoft.com/office/drawing/2014/main" id="{E70AE2A5-70B2-40C0-8459-667EC17E0257}"/>
              </a:ext>
            </a:extLst>
          </p:cNvPr>
          <p:cNvSpPr>
            <a:spLocks/>
          </p:cNvSpPr>
          <p:nvPr/>
        </p:nvSpPr>
        <p:spPr bwMode="auto">
          <a:xfrm>
            <a:off x="353137" y="1675813"/>
            <a:ext cx="1359985" cy="1271367"/>
          </a:xfrm>
          <a:custGeom>
            <a:avLst/>
            <a:gdLst>
              <a:gd name="T0" fmla="*/ 207 w 1442"/>
              <a:gd name="T1" fmla="*/ 1053 h 1347"/>
              <a:gd name="T2" fmla="*/ 346 w 1442"/>
              <a:gd name="T3" fmla="*/ 201 h 1347"/>
              <a:gd name="T4" fmla="*/ 1235 w 1442"/>
              <a:gd name="T5" fmla="*/ 326 h 1347"/>
              <a:gd name="T6" fmla="*/ 1073 w 1442"/>
              <a:gd name="T7" fmla="*/ 1147 h 1347"/>
              <a:gd name="T8" fmla="*/ 207 w 1442"/>
              <a:gd name="T9" fmla="*/ 1053 h 1347"/>
            </a:gdLst>
            <a:ahLst/>
            <a:cxnLst>
              <a:cxn ang="0">
                <a:pos x="T0" y="T1"/>
              </a:cxn>
              <a:cxn ang="0">
                <a:pos x="T2" y="T3"/>
              </a:cxn>
              <a:cxn ang="0">
                <a:pos x="T4" y="T5"/>
              </a:cxn>
              <a:cxn ang="0">
                <a:pos x="T6" y="T7"/>
              </a:cxn>
              <a:cxn ang="0">
                <a:pos x="T8" y="T9"/>
              </a:cxn>
            </a:cxnLst>
            <a:rect l="0" t="0" r="r" b="b"/>
            <a:pathLst>
              <a:path w="1442" h="1347">
                <a:moveTo>
                  <a:pt x="207" y="1053"/>
                </a:moveTo>
                <a:cubicBezTo>
                  <a:pt x="0" y="783"/>
                  <a:pt x="62" y="401"/>
                  <a:pt x="346" y="201"/>
                </a:cubicBezTo>
                <a:cubicBezTo>
                  <a:pt x="629" y="0"/>
                  <a:pt x="1028" y="56"/>
                  <a:pt x="1235" y="326"/>
                </a:cubicBezTo>
                <a:cubicBezTo>
                  <a:pt x="1442" y="596"/>
                  <a:pt x="1357" y="946"/>
                  <a:pt x="1073" y="1147"/>
                </a:cubicBezTo>
                <a:cubicBezTo>
                  <a:pt x="790" y="1347"/>
                  <a:pt x="415" y="1324"/>
                  <a:pt x="207" y="1053"/>
                </a:cubicBezTo>
              </a:path>
            </a:pathLst>
          </a:custGeom>
          <a:solidFill>
            <a:srgbClr val="0070AD"/>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dirty="0"/>
          </a:p>
        </p:txBody>
      </p:sp>
      <p:pic>
        <p:nvPicPr>
          <p:cNvPr id="3" name="Obraz 2">
            <a:extLst>
              <a:ext uri="{FF2B5EF4-FFF2-40B4-BE49-F238E27FC236}">
                <a16:creationId xmlns:a16="http://schemas.microsoft.com/office/drawing/2014/main" id="{53145377-9BA8-41D5-A864-607982DF4E1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59055" y="3601291"/>
            <a:ext cx="3543131" cy="2273666"/>
          </a:xfrm>
          <a:prstGeom prst="rect">
            <a:avLst/>
          </a:prstGeom>
        </p:spPr>
      </p:pic>
      <p:pic>
        <p:nvPicPr>
          <p:cNvPr id="8" name="Obraz 7">
            <a:extLst>
              <a:ext uri="{FF2B5EF4-FFF2-40B4-BE49-F238E27FC236}">
                <a16:creationId xmlns:a16="http://schemas.microsoft.com/office/drawing/2014/main" id="{9CFB047D-04AB-4C81-8A7A-F24690C966B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984775" y="3603606"/>
            <a:ext cx="3543131" cy="2273666"/>
          </a:xfrm>
          <a:prstGeom prst="rect">
            <a:avLst/>
          </a:prstGeom>
        </p:spPr>
      </p:pic>
    </p:spTree>
    <p:extLst>
      <p:ext uri="{BB962C8B-B14F-4D97-AF65-F5344CB8AC3E}">
        <p14:creationId xmlns:p14="http://schemas.microsoft.com/office/powerpoint/2010/main" val="3343031992"/>
      </p:ext>
    </p:extLst>
  </p:cSld>
  <p:clrMapOvr>
    <a:masterClrMapping/>
  </p:clrMapOvr>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ytuł 3">
            <a:extLst>
              <a:ext uri="{FF2B5EF4-FFF2-40B4-BE49-F238E27FC236}">
                <a16:creationId xmlns:a16="http://schemas.microsoft.com/office/drawing/2014/main" id="{BE6E47FB-5E55-45DB-B712-E4993D47A776}"/>
              </a:ext>
            </a:extLst>
          </p:cNvPr>
          <p:cNvSpPr>
            <a:spLocks noGrp="1"/>
          </p:cNvSpPr>
          <p:nvPr>
            <p:ph type="title"/>
          </p:nvPr>
        </p:nvSpPr>
        <p:spPr/>
        <p:txBody>
          <a:bodyPr/>
          <a:lstStyle/>
          <a:p>
            <a:r>
              <a:rPr lang="en-US" sz="3200" dirty="0"/>
              <a:t>Switch statements</a:t>
            </a:r>
          </a:p>
        </p:txBody>
      </p:sp>
      <p:sp>
        <p:nvSpPr>
          <p:cNvPr id="6" name="Symbol zastępczy tekstu 5">
            <a:extLst>
              <a:ext uri="{FF2B5EF4-FFF2-40B4-BE49-F238E27FC236}">
                <a16:creationId xmlns:a16="http://schemas.microsoft.com/office/drawing/2014/main" id="{1302AB4B-7554-47F7-BBCD-39BD33559A94}"/>
              </a:ext>
            </a:extLst>
          </p:cNvPr>
          <p:cNvSpPr>
            <a:spLocks noGrp="1"/>
          </p:cNvSpPr>
          <p:nvPr>
            <p:ph type="body" sz="quarter" idx="11"/>
          </p:nvPr>
        </p:nvSpPr>
        <p:spPr/>
        <p:txBody>
          <a:bodyPr/>
          <a:lstStyle/>
          <a:p>
            <a:r>
              <a:rPr lang="en-US" dirty="0"/>
              <a:t>C# 7.0 – var cases</a:t>
            </a:r>
          </a:p>
        </p:txBody>
      </p:sp>
      <p:sp>
        <p:nvSpPr>
          <p:cNvPr id="7" name="Symbol zastępczy tekstu 6">
            <a:extLst>
              <a:ext uri="{FF2B5EF4-FFF2-40B4-BE49-F238E27FC236}">
                <a16:creationId xmlns:a16="http://schemas.microsoft.com/office/drawing/2014/main" id="{5D8A2B1E-A86F-4A25-94A4-5CF446FD2951}"/>
              </a:ext>
            </a:extLst>
          </p:cNvPr>
          <p:cNvSpPr>
            <a:spLocks noGrp="1"/>
          </p:cNvSpPr>
          <p:nvPr>
            <p:ph type="body" sz="quarter" idx="12"/>
          </p:nvPr>
        </p:nvSpPr>
        <p:spPr/>
        <p:txBody>
          <a:bodyPr/>
          <a:lstStyle/>
          <a:p>
            <a:r>
              <a:rPr lang="en-US" dirty="0"/>
              <a:t>4</a:t>
            </a:r>
          </a:p>
        </p:txBody>
      </p:sp>
      <p:sp>
        <p:nvSpPr>
          <p:cNvPr id="21" name="Rectangle 59">
            <a:extLst>
              <a:ext uri="{FF2B5EF4-FFF2-40B4-BE49-F238E27FC236}">
                <a16:creationId xmlns:a16="http://schemas.microsoft.com/office/drawing/2014/main" id="{96832D66-A25D-46E9-B501-788954525DF3}"/>
              </a:ext>
            </a:extLst>
          </p:cNvPr>
          <p:cNvSpPr/>
          <p:nvPr/>
        </p:nvSpPr>
        <p:spPr>
          <a:xfrm>
            <a:off x="5984776" y="2365334"/>
            <a:ext cx="5398008" cy="358346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2" name="Rectangle 59">
            <a:extLst>
              <a:ext uri="{FF2B5EF4-FFF2-40B4-BE49-F238E27FC236}">
                <a16:creationId xmlns:a16="http://schemas.microsoft.com/office/drawing/2014/main" id="{0D4F4F88-3082-41BF-A064-34978E375745}"/>
              </a:ext>
            </a:extLst>
          </p:cNvPr>
          <p:cNvSpPr/>
          <p:nvPr/>
        </p:nvSpPr>
        <p:spPr>
          <a:xfrm>
            <a:off x="551384" y="2365334"/>
            <a:ext cx="5379818" cy="358346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3" name="Text Placeholder 9">
            <a:extLst>
              <a:ext uri="{FF2B5EF4-FFF2-40B4-BE49-F238E27FC236}">
                <a16:creationId xmlns:a16="http://schemas.microsoft.com/office/drawing/2014/main" id="{065B586F-4336-4395-AB63-A4A7CE7F7AD6}"/>
              </a:ext>
            </a:extLst>
          </p:cNvPr>
          <p:cNvSpPr txBox="1">
            <a:spLocks/>
          </p:cNvSpPr>
          <p:nvPr/>
        </p:nvSpPr>
        <p:spPr>
          <a:xfrm>
            <a:off x="862790" y="3037919"/>
            <a:ext cx="4873170" cy="645047"/>
          </a:xfrm>
          <a:prstGeom prst="rect">
            <a:avLst/>
          </a:prstGeom>
          <a:noFill/>
        </p:spPr>
        <p:txBody>
          <a:bodyPr vert="horz" lIns="0" tIns="0" rIns="0" bIns="0" rtlCol="0" anchor="ctr">
            <a:noAutofit/>
          </a:bodyPr>
          <a:lstStyle/>
          <a:p>
            <a:pPr lvl="0">
              <a:lnSpc>
                <a:spcPct val="90000"/>
              </a:lnSpc>
              <a:spcBef>
                <a:spcPts val="1000"/>
              </a:spcBef>
              <a:defRPr/>
            </a:pPr>
            <a:r>
              <a:rPr lang="pt-PT" b="1" dirty="0">
                <a:solidFill>
                  <a:srgbClr val="12ABDB"/>
                </a:solidFill>
                <a:latin typeface="Verdana" panose="020B0604030504040204" pitchFamily="34" charset="0"/>
                <a:ea typeface="Verdana" panose="020B0604030504040204" pitchFamily="34" charset="0"/>
                <a:cs typeface="Verdana" panose="020B0604030504040204" pitchFamily="34" charset="0"/>
              </a:rPr>
              <a:t>if null</a:t>
            </a:r>
            <a:endParaRPr kumimoji="0" lang="pt-PT" b="1" i="0" u="none" strike="noStrike" kern="1200" cap="none" spc="0" normalizeH="0" baseline="0" noProof="0" dirty="0">
              <a:ln>
                <a:noFill/>
              </a:ln>
              <a:solidFill>
                <a:srgbClr val="12ABDB"/>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25" name="Text Placeholder 9">
            <a:extLst>
              <a:ext uri="{FF2B5EF4-FFF2-40B4-BE49-F238E27FC236}">
                <a16:creationId xmlns:a16="http://schemas.microsoft.com/office/drawing/2014/main" id="{5482796E-16AC-4D98-AC33-23544130E06E}"/>
              </a:ext>
            </a:extLst>
          </p:cNvPr>
          <p:cNvSpPr txBox="1">
            <a:spLocks/>
          </p:cNvSpPr>
          <p:nvPr/>
        </p:nvSpPr>
        <p:spPr>
          <a:xfrm>
            <a:off x="6223901" y="3037919"/>
            <a:ext cx="5105309" cy="645047"/>
          </a:xfrm>
          <a:prstGeom prst="rect">
            <a:avLst/>
          </a:prstGeom>
          <a:noFill/>
        </p:spPr>
        <p:txBody>
          <a:bodyPr vert="horz" lIns="0" tIns="0" rIns="0" bIns="0" rtlCol="0" anchor="ctr">
            <a:noAutofit/>
          </a:bodyPr>
          <a:lstStyle/>
          <a:p>
            <a:pPr lvl="0">
              <a:lnSpc>
                <a:spcPct val="90000"/>
              </a:lnSpc>
              <a:spcBef>
                <a:spcPts val="1000"/>
              </a:spcBef>
              <a:defRPr/>
            </a:pPr>
            <a:r>
              <a:rPr lang="pt-PT" b="1" dirty="0">
                <a:solidFill>
                  <a:srgbClr val="CC2980"/>
                </a:solidFill>
                <a:latin typeface="Verdana" panose="020B0604030504040204" pitchFamily="34" charset="0"/>
                <a:ea typeface="Verdana" panose="020B0604030504040204" pitchFamily="34" charset="0"/>
                <a:cs typeface="Verdana" panose="020B0604030504040204" pitchFamily="34" charset="0"/>
              </a:rPr>
              <a:t>case var</a:t>
            </a:r>
          </a:p>
        </p:txBody>
      </p:sp>
      <p:sp>
        <p:nvSpPr>
          <p:cNvPr id="29" name="Freeform 20">
            <a:extLst>
              <a:ext uri="{FF2B5EF4-FFF2-40B4-BE49-F238E27FC236}">
                <a16:creationId xmlns:a16="http://schemas.microsoft.com/office/drawing/2014/main" id="{FA0AA1D8-180E-4E78-A817-65062F069290}"/>
              </a:ext>
            </a:extLst>
          </p:cNvPr>
          <p:cNvSpPr>
            <a:spLocks/>
          </p:cNvSpPr>
          <p:nvPr/>
        </p:nvSpPr>
        <p:spPr bwMode="auto">
          <a:xfrm>
            <a:off x="5591944" y="1702869"/>
            <a:ext cx="1330762" cy="1244311"/>
          </a:xfrm>
          <a:custGeom>
            <a:avLst/>
            <a:gdLst>
              <a:gd name="T0" fmla="*/ 101 w 701"/>
              <a:gd name="T1" fmla="*/ 513 h 655"/>
              <a:gd name="T2" fmla="*/ 168 w 701"/>
              <a:gd name="T3" fmla="*/ 98 h 655"/>
              <a:gd name="T4" fmla="*/ 600 w 701"/>
              <a:gd name="T5" fmla="*/ 159 h 655"/>
              <a:gd name="T6" fmla="*/ 522 w 701"/>
              <a:gd name="T7" fmla="*/ 558 h 655"/>
              <a:gd name="T8" fmla="*/ 101 w 701"/>
              <a:gd name="T9" fmla="*/ 513 h 655"/>
            </a:gdLst>
            <a:ahLst/>
            <a:cxnLst>
              <a:cxn ang="0">
                <a:pos x="T0" y="T1"/>
              </a:cxn>
              <a:cxn ang="0">
                <a:pos x="T2" y="T3"/>
              </a:cxn>
              <a:cxn ang="0">
                <a:pos x="T4" y="T5"/>
              </a:cxn>
              <a:cxn ang="0">
                <a:pos x="T6" y="T7"/>
              </a:cxn>
              <a:cxn ang="0">
                <a:pos x="T8" y="T9"/>
              </a:cxn>
            </a:cxnLst>
            <a:rect l="0" t="0" r="r" b="b"/>
            <a:pathLst>
              <a:path w="701" h="655">
                <a:moveTo>
                  <a:pt x="101" y="513"/>
                </a:moveTo>
                <a:cubicBezTo>
                  <a:pt x="0" y="381"/>
                  <a:pt x="30" y="196"/>
                  <a:pt x="168" y="98"/>
                </a:cubicBezTo>
                <a:cubicBezTo>
                  <a:pt x="306" y="0"/>
                  <a:pt x="500" y="28"/>
                  <a:pt x="600" y="159"/>
                </a:cubicBezTo>
                <a:cubicBezTo>
                  <a:pt x="701" y="290"/>
                  <a:pt x="660" y="460"/>
                  <a:pt x="522" y="558"/>
                </a:cubicBezTo>
                <a:cubicBezTo>
                  <a:pt x="384" y="655"/>
                  <a:pt x="202" y="644"/>
                  <a:pt x="101" y="513"/>
                </a:cubicBezTo>
              </a:path>
            </a:pathLst>
          </a:custGeom>
          <a:solidFill>
            <a:srgbClr val="CC298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algn="ctr"/>
            <a:endParaRPr lang="pt-PT" b="1" dirty="0">
              <a:solidFill>
                <a:srgbClr val="CC2980"/>
              </a:solidFill>
            </a:endParaRPr>
          </a:p>
        </p:txBody>
      </p:sp>
      <p:sp>
        <p:nvSpPr>
          <p:cNvPr id="31" name="Freeform 31">
            <a:extLst>
              <a:ext uri="{FF2B5EF4-FFF2-40B4-BE49-F238E27FC236}">
                <a16:creationId xmlns:a16="http://schemas.microsoft.com/office/drawing/2014/main" id="{E70AE2A5-70B2-40C0-8459-667EC17E0257}"/>
              </a:ext>
            </a:extLst>
          </p:cNvPr>
          <p:cNvSpPr>
            <a:spLocks/>
          </p:cNvSpPr>
          <p:nvPr/>
        </p:nvSpPr>
        <p:spPr bwMode="auto">
          <a:xfrm>
            <a:off x="353137" y="1675813"/>
            <a:ext cx="1359985" cy="1271367"/>
          </a:xfrm>
          <a:custGeom>
            <a:avLst/>
            <a:gdLst>
              <a:gd name="T0" fmla="*/ 207 w 1442"/>
              <a:gd name="T1" fmla="*/ 1053 h 1347"/>
              <a:gd name="T2" fmla="*/ 346 w 1442"/>
              <a:gd name="T3" fmla="*/ 201 h 1347"/>
              <a:gd name="T4" fmla="*/ 1235 w 1442"/>
              <a:gd name="T5" fmla="*/ 326 h 1347"/>
              <a:gd name="T6" fmla="*/ 1073 w 1442"/>
              <a:gd name="T7" fmla="*/ 1147 h 1347"/>
              <a:gd name="T8" fmla="*/ 207 w 1442"/>
              <a:gd name="T9" fmla="*/ 1053 h 1347"/>
            </a:gdLst>
            <a:ahLst/>
            <a:cxnLst>
              <a:cxn ang="0">
                <a:pos x="T0" y="T1"/>
              </a:cxn>
              <a:cxn ang="0">
                <a:pos x="T2" y="T3"/>
              </a:cxn>
              <a:cxn ang="0">
                <a:pos x="T4" y="T5"/>
              </a:cxn>
              <a:cxn ang="0">
                <a:pos x="T6" y="T7"/>
              </a:cxn>
              <a:cxn ang="0">
                <a:pos x="T8" y="T9"/>
              </a:cxn>
            </a:cxnLst>
            <a:rect l="0" t="0" r="r" b="b"/>
            <a:pathLst>
              <a:path w="1442" h="1347">
                <a:moveTo>
                  <a:pt x="207" y="1053"/>
                </a:moveTo>
                <a:cubicBezTo>
                  <a:pt x="0" y="783"/>
                  <a:pt x="62" y="401"/>
                  <a:pt x="346" y="201"/>
                </a:cubicBezTo>
                <a:cubicBezTo>
                  <a:pt x="629" y="0"/>
                  <a:pt x="1028" y="56"/>
                  <a:pt x="1235" y="326"/>
                </a:cubicBezTo>
                <a:cubicBezTo>
                  <a:pt x="1442" y="596"/>
                  <a:pt x="1357" y="946"/>
                  <a:pt x="1073" y="1147"/>
                </a:cubicBezTo>
                <a:cubicBezTo>
                  <a:pt x="790" y="1347"/>
                  <a:pt x="415" y="1324"/>
                  <a:pt x="207" y="1053"/>
                </a:cubicBezTo>
              </a:path>
            </a:pathLst>
          </a:custGeom>
          <a:solidFill>
            <a:srgbClr val="0070AD"/>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dirty="0"/>
          </a:p>
        </p:txBody>
      </p:sp>
      <p:pic>
        <p:nvPicPr>
          <p:cNvPr id="3" name="Obraz 2">
            <a:extLst>
              <a:ext uri="{FF2B5EF4-FFF2-40B4-BE49-F238E27FC236}">
                <a16:creationId xmlns:a16="http://schemas.microsoft.com/office/drawing/2014/main" id="{53145377-9BA8-41D5-A864-607982DF4E1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59055" y="3601291"/>
            <a:ext cx="3543131" cy="2273666"/>
          </a:xfrm>
          <a:prstGeom prst="rect">
            <a:avLst/>
          </a:prstGeom>
        </p:spPr>
      </p:pic>
      <p:pic>
        <p:nvPicPr>
          <p:cNvPr id="8" name="Obraz 7">
            <a:extLst>
              <a:ext uri="{FF2B5EF4-FFF2-40B4-BE49-F238E27FC236}">
                <a16:creationId xmlns:a16="http://schemas.microsoft.com/office/drawing/2014/main" id="{9CFB047D-04AB-4C81-8A7A-F24690C966B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984776" y="3601291"/>
            <a:ext cx="3543130" cy="2273666"/>
          </a:xfrm>
          <a:prstGeom prst="rect">
            <a:avLst/>
          </a:prstGeom>
        </p:spPr>
      </p:pic>
    </p:spTree>
    <p:extLst>
      <p:ext uri="{BB962C8B-B14F-4D97-AF65-F5344CB8AC3E}">
        <p14:creationId xmlns:p14="http://schemas.microsoft.com/office/powerpoint/2010/main" val="297121097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pl-PL" dirty="0"/>
              <a:t>Agenda</a:t>
            </a:r>
            <a:endParaRPr lang="en-GB" dirty="0"/>
          </a:p>
        </p:txBody>
      </p:sp>
      <p:sp>
        <p:nvSpPr>
          <p:cNvPr id="5" name="Text Placeholder 4"/>
          <p:cNvSpPr>
            <a:spLocks noGrp="1"/>
          </p:cNvSpPr>
          <p:nvPr>
            <p:ph type="body" sz="quarter" idx="10"/>
          </p:nvPr>
        </p:nvSpPr>
        <p:spPr/>
        <p:txBody>
          <a:bodyPr/>
          <a:lstStyle/>
          <a:p>
            <a:pPr lvl="1"/>
            <a:r>
              <a:rPr lang="en-US" dirty="0">
                <a:solidFill>
                  <a:schemeClr val="bg1">
                    <a:lumMod val="95000"/>
                  </a:schemeClr>
                </a:solidFill>
              </a:rPr>
              <a:t>Introduction</a:t>
            </a:r>
          </a:p>
          <a:p>
            <a:pPr lvl="2"/>
            <a:r>
              <a:rPr lang="en-US" dirty="0">
                <a:solidFill>
                  <a:schemeClr val="bg1">
                    <a:lumMod val="95000"/>
                  </a:schemeClr>
                </a:solidFill>
              </a:rPr>
              <a:t>The recent C# versions timeline,</a:t>
            </a:r>
          </a:p>
          <a:p>
            <a:pPr lvl="2"/>
            <a:r>
              <a:rPr lang="en-US" dirty="0">
                <a:solidFill>
                  <a:schemeClr val="bg1">
                    <a:lumMod val="95000"/>
                  </a:schemeClr>
                </a:solidFill>
              </a:rPr>
              <a:t>C# 8.0 pre-requirements,</a:t>
            </a:r>
          </a:p>
          <a:p>
            <a:pPr lvl="2"/>
            <a:r>
              <a:rPr lang="en-US" dirty="0">
                <a:solidFill>
                  <a:schemeClr val="bg1">
                    <a:lumMod val="95000"/>
                  </a:schemeClr>
                </a:solidFill>
              </a:rPr>
              <a:t>dive into an example.</a:t>
            </a:r>
          </a:p>
          <a:p>
            <a:pPr lvl="1"/>
            <a:r>
              <a:rPr lang="en-US" dirty="0">
                <a:solidFill>
                  <a:schemeClr val="bg1">
                    <a:lumMod val="95000"/>
                  </a:schemeClr>
                </a:solidFill>
              </a:rPr>
              <a:t>What’s new in C# 7.1</a:t>
            </a:r>
          </a:p>
          <a:p>
            <a:pPr lvl="2"/>
            <a:r>
              <a:rPr lang="en-US" dirty="0">
                <a:solidFill>
                  <a:schemeClr val="bg1">
                    <a:lumMod val="95000"/>
                  </a:schemeClr>
                </a:solidFill>
              </a:rPr>
              <a:t>Async Main method,</a:t>
            </a:r>
          </a:p>
          <a:p>
            <a:pPr lvl="2"/>
            <a:r>
              <a:rPr lang="en-US" dirty="0">
                <a:solidFill>
                  <a:schemeClr val="bg1">
                    <a:lumMod val="95000"/>
                  </a:schemeClr>
                </a:solidFill>
              </a:rPr>
              <a:t>default literal expressions,</a:t>
            </a:r>
          </a:p>
          <a:p>
            <a:pPr lvl="2"/>
            <a:r>
              <a:rPr lang="en-US" dirty="0">
                <a:solidFill>
                  <a:schemeClr val="bg1">
                    <a:lumMod val="95000"/>
                  </a:schemeClr>
                </a:solidFill>
              </a:rPr>
              <a:t>inferred tuple element names.</a:t>
            </a:r>
          </a:p>
          <a:p>
            <a:pPr lvl="1"/>
            <a:r>
              <a:rPr lang="en-US" dirty="0">
                <a:solidFill>
                  <a:schemeClr val="bg1">
                    <a:lumMod val="95000"/>
                  </a:schemeClr>
                </a:solidFill>
              </a:rPr>
              <a:t>What’s new in C# 7.2</a:t>
            </a:r>
          </a:p>
          <a:p>
            <a:pPr lvl="2"/>
            <a:r>
              <a:rPr lang="en-US" dirty="0">
                <a:solidFill>
                  <a:schemeClr val="bg1">
                    <a:lumMod val="95000"/>
                  </a:schemeClr>
                </a:solidFill>
              </a:rPr>
              <a:t>Safe efficient code enhancements,</a:t>
            </a:r>
          </a:p>
          <a:p>
            <a:pPr lvl="2"/>
            <a:r>
              <a:rPr lang="en-US" dirty="0">
                <a:solidFill>
                  <a:schemeClr val="bg1">
                    <a:lumMod val="95000"/>
                  </a:schemeClr>
                </a:solidFill>
              </a:rPr>
              <a:t>non-trailing named arguments,</a:t>
            </a:r>
          </a:p>
          <a:p>
            <a:pPr lvl="2"/>
            <a:r>
              <a:rPr lang="en-US" dirty="0">
                <a:solidFill>
                  <a:schemeClr val="bg1">
                    <a:lumMod val="95000"/>
                  </a:schemeClr>
                </a:solidFill>
              </a:rPr>
              <a:t>leading underscores in numeric literals,</a:t>
            </a:r>
          </a:p>
          <a:p>
            <a:pPr lvl="2"/>
            <a:r>
              <a:rPr lang="en-US" dirty="0">
                <a:solidFill>
                  <a:schemeClr val="bg1">
                    <a:lumMod val="95000"/>
                  </a:schemeClr>
                </a:solidFill>
              </a:rPr>
              <a:t>private protected access modifier,</a:t>
            </a:r>
          </a:p>
          <a:p>
            <a:pPr lvl="2"/>
            <a:r>
              <a:rPr lang="en-US" dirty="0">
                <a:solidFill>
                  <a:schemeClr val="bg1">
                    <a:lumMod val="95000"/>
                  </a:schemeClr>
                </a:solidFill>
              </a:rPr>
              <a:t>conditional ref expressions.</a:t>
            </a:r>
          </a:p>
        </p:txBody>
      </p:sp>
      <p:sp>
        <p:nvSpPr>
          <p:cNvPr id="6" name="Text Placeholder 5"/>
          <p:cNvSpPr>
            <a:spLocks noGrp="1"/>
          </p:cNvSpPr>
          <p:nvPr>
            <p:ph type="body" sz="quarter" idx="11"/>
          </p:nvPr>
        </p:nvSpPr>
        <p:spPr/>
        <p:txBody>
          <a:bodyPr/>
          <a:lstStyle/>
          <a:p>
            <a:r>
              <a:rPr lang="en-US" dirty="0"/>
              <a:t>We are going to talk about…</a:t>
            </a:r>
          </a:p>
        </p:txBody>
      </p:sp>
      <p:sp>
        <p:nvSpPr>
          <p:cNvPr id="8" name="Text Placeholder 4">
            <a:extLst>
              <a:ext uri="{FF2B5EF4-FFF2-40B4-BE49-F238E27FC236}">
                <a16:creationId xmlns:a16="http://schemas.microsoft.com/office/drawing/2014/main" id="{52580643-4575-408B-8BE0-E817BC2D360B}"/>
              </a:ext>
            </a:extLst>
          </p:cNvPr>
          <p:cNvSpPr txBox="1">
            <a:spLocks/>
          </p:cNvSpPr>
          <p:nvPr/>
        </p:nvSpPr>
        <p:spPr>
          <a:xfrm>
            <a:off x="227348" y="1815350"/>
            <a:ext cx="11700000" cy="4466201"/>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r>
              <a:rPr lang="en-US" dirty="0"/>
              <a:t>Introduction</a:t>
            </a:r>
          </a:p>
          <a:p>
            <a:pPr lvl="2"/>
            <a:r>
              <a:rPr lang="en-US" dirty="0"/>
              <a:t>The recent C# versions timeline,</a:t>
            </a:r>
          </a:p>
          <a:p>
            <a:pPr lvl="2"/>
            <a:r>
              <a:rPr lang="en-US" dirty="0"/>
              <a:t>C# 8.0 pre-requirements,</a:t>
            </a:r>
          </a:p>
          <a:p>
            <a:pPr lvl="2"/>
            <a:r>
              <a:rPr lang="en-US" dirty="0"/>
              <a:t>dive into an example.</a:t>
            </a:r>
          </a:p>
          <a:p>
            <a:pPr lvl="1"/>
            <a:r>
              <a:rPr lang="en-US" dirty="0"/>
              <a:t>What’s new in C# 7.1</a:t>
            </a:r>
          </a:p>
          <a:p>
            <a:pPr lvl="2"/>
            <a:r>
              <a:rPr lang="en-US" dirty="0"/>
              <a:t>Async Main method,</a:t>
            </a:r>
          </a:p>
        </p:txBody>
      </p:sp>
    </p:spTree>
    <p:extLst>
      <p:ext uri="{BB962C8B-B14F-4D97-AF65-F5344CB8AC3E}">
        <p14:creationId xmlns:p14="http://schemas.microsoft.com/office/powerpoint/2010/main" val="376456823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
                                            <p:txEl>
                                              <p:pRg st="5" end="5"/>
                                            </p:txEl>
                                          </p:spTgt>
                                        </p:tgtEl>
                                        <p:attrNameLst>
                                          <p:attrName>style.visibility</p:attrName>
                                        </p:attrNameLst>
                                      </p:cBhvr>
                                      <p:to>
                                        <p:strVal val="visible"/>
                                      </p:to>
                                    </p:set>
                                    <p:animEffect transition="in" filter="fade">
                                      <p:cBhvr>
                                        <p:cTn id="7" dur="500"/>
                                        <p:tgtEl>
                                          <p:spTgt spid="8">
                                            <p:txEl>
                                              <p:pRg st="5" end="5"/>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ytuł 3">
            <a:extLst>
              <a:ext uri="{FF2B5EF4-FFF2-40B4-BE49-F238E27FC236}">
                <a16:creationId xmlns:a16="http://schemas.microsoft.com/office/drawing/2014/main" id="{BE6E47FB-5E55-45DB-B712-E4993D47A776}"/>
              </a:ext>
            </a:extLst>
          </p:cNvPr>
          <p:cNvSpPr>
            <a:spLocks noGrp="1"/>
          </p:cNvSpPr>
          <p:nvPr>
            <p:ph type="title"/>
          </p:nvPr>
        </p:nvSpPr>
        <p:spPr/>
        <p:txBody>
          <a:bodyPr/>
          <a:lstStyle/>
          <a:p>
            <a:r>
              <a:rPr lang="en-US" sz="3200" dirty="0"/>
              <a:t>Switch statements</a:t>
            </a:r>
          </a:p>
        </p:txBody>
      </p:sp>
      <p:sp>
        <p:nvSpPr>
          <p:cNvPr id="6" name="Symbol zastępczy tekstu 5">
            <a:extLst>
              <a:ext uri="{FF2B5EF4-FFF2-40B4-BE49-F238E27FC236}">
                <a16:creationId xmlns:a16="http://schemas.microsoft.com/office/drawing/2014/main" id="{1302AB4B-7554-47F7-BBCD-39BD33559A94}"/>
              </a:ext>
            </a:extLst>
          </p:cNvPr>
          <p:cNvSpPr>
            <a:spLocks noGrp="1"/>
          </p:cNvSpPr>
          <p:nvPr>
            <p:ph type="body" sz="quarter" idx="11"/>
          </p:nvPr>
        </p:nvSpPr>
        <p:spPr/>
        <p:txBody>
          <a:bodyPr/>
          <a:lstStyle/>
          <a:p>
            <a:r>
              <a:rPr lang="en-US" dirty="0"/>
              <a:t>C# 7.0 – var cases</a:t>
            </a:r>
          </a:p>
        </p:txBody>
      </p:sp>
      <p:sp>
        <p:nvSpPr>
          <p:cNvPr id="7" name="Symbol zastępczy tekstu 6">
            <a:extLst>
              <a:ext uri="{FF2B5EF4-FFF2-40B4-BE49-F238E27FC236}">
                <a16:creationId xmlns:a16="http://schemas.microsoft.com/office/drawing/2014/main" id="{5D8A2B1E-A86F-4A25-94A4-5CF446FD2951}"/>
              </a:ext>
            </a:extLst>
          </p:cNvPr>
          <p:cNvSpPr>
            <a:spLocks noGrp="1"/>
          </p:cNvSpPr>
          <p:nvPr>
            <p:ph type="body" sz="quarter" idx="12"/>
          </p:nvPr>
        </p:nvSpPr>
        <p:spPr/>
        <p:txBody>
          <a:bodyPr/>
          <a:lstStyle/>
          <a:p>
            <a:r>
              <a:rPr lang="en-US" dirty="0"/>
              <a:t>5</a:t>
            </a:r>
          </a:p>
        </p:txBody>
      </p:sp>
      <p:sp>
        <p:nvSpPr>
          <p:cNvPr id="8" name="Rectangle 59">
            <a:extLst>
              <a:ext uri="{FF2B5EF4-FFF2-40B4-BE49-F238E27FC236}">
                <a16:creationId xmlns:a16="http://schemas.microsoft.com/office/drawing/2014/main" id="{1F67BB42-1697-411E-900C-908E20D4A75B}"/>
              </a:ext>
            </a:extLst>
          </p:cNvPr>
          <p:cNvSpPr/>
          <p:nvPr/>
        </p:nvSpPr>
        <p:spPr>
          <a:xfrm>
            <a:off x="7855929" y="2365334"/>
            <a:ext cx="3538545" cy="358346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9" name="Rectangle 59">
            <a:extLst>
              <a:ext uri="{FF2B5EF4-FFF2-40B4-BE49-F238E27FC236}">
                <a16:creationId xmlns:a16="http://schemas.microsoft.com/office/drawing/2014/main" id="{688066BD-2AD8-4B3D-B238-905A511C772F}"/>
              </a:ext>
            </a:extLst>
          </p:cNvPr>
          <p:cNvSpPr/>
          <p:nvPr/>
        </p:nvSpPr>
        <p:spPr>
          <a:xfrm>
            <a:off x="566400" y="2365334"/>
            <a:ext cx="3538545" cy="358346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0" name="Rectangle 59">
            <a:extLst>
              <a:ext uri="{FF2B5EF4-FFF2-40B4-BE49-F238E27FC236}">
                <a16:creationId xmlns:a16="http://schemas.microsoft.com/office/drawing/2014/main" id="{75E18D79-DBEC-4435-89C6-511CDA8EB9A7}"/>
              </a:ext>
            </a:extLst>
          </p:cNvPr>
          <p:cNvSpPr/>
          <p:nvPr/>
        </p:nvSpPr>
        <p:spPr>
          <a:xfrm>
            <a:off x="4213639" y="2365334"/>
            <a:ext cx="3538545" cy="358346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1" name="Freeform 26">
            <a:extLst>
              <a:ext uri="{FF2B5EF4-FFF2-40B4-BE49-F238E27FC236}">
                <a16:creationId xmlns:a16="http://schemas.microsoft.com/office/drawing/2014/main" id="{B73185F3-98FF-4BB7-BA02-7F91790B94E8}"/>
              </a:ext>
            </a:extLst>
          </p:cNvPr>
          <p:cNvSpPr>
            <a:spLocks/>
          </p:cNvSpPr>
          <p:nvPr/>
        </p:nvSpPr>
        <p:spPr bwMode="auto">
          <a:xfrm>
            <a:off x="3791744" y="1699811"/>
            <a:ext cx="1330762" cy="1247369"/>
          </a:xfrm>
          <a:custGeom>
            <a:avLst/>
            <a:gdLst>
              <a:gd name="T0" fmla="*/ 60 w 422"/>
              <a:gd name="T1" fmla="*/ 309 h 395"/>
              <a:gd name="T2" fmla="*/ 101 w 422"/>
              <a:gd name="T3" fmla="*/ 59 h 395"/>
              <a:gd name="T4" fmla="*/ 362 w 422"/>
              <a:gd name="T5" fmla="*/ 96 h 395"/>
              <a:gd name="T6" fmla="*/ 314 w 422"/>
              <a:gd name="T7" fmla="*/ 336 h 395"/>
              <a:gd name="T8" fmla="*/ 60 w 422"/>
              <a:gd name="T9" fmla="*/ 309 h 395"/>
            </a:gdLst>
            <a:ahLst/>
            <a:cxnLst>
              <a:cxn ang="0">
                <a:pos x="T0" y="T1"/>
              </a:cxn>
              <a:cxn ang="0">
                <a:pos x="T2" y="T3"/>
              </a:cxn>
              <a:cxn ang="0">
                <a:pos x="T4" y="T5"/>
              </a:cxn>
              <a:cxn ang="0">
                <a:pos x="T6" y="T7"/>
              </a:cxn>
              <a:cxn ang="0">
                <a:pos x="T8" y="T9"/>
              </a:cxn>
            </a:cxnLst>
            <a:rect l="0" t="0" r="r" b="b"/>
            <a:pathLst>
              <a:path w="422" h="395">
                <a:moveTo>
                  <a:pt x="60" y="309"/>
                </a:moveTo>
                <a:cubicBezTo>
                  <a:pt x="0" y="230"/>
                  <a:pt x="18" y="118"/>
                  <a:pt x="101" y="59"/>
                </a:cubicBezTo>
                <a:cubicBezTo>
                  <a:pt x="184" y="0"/>
                  <a:pt x="301" y="17"/>
                  <a:pt x="362" y="96"/>
                </a:cubicBezTo>
                <a:cubicBezTo>
                  <a:pt x="422" y="175"/>
                  <a:pt x="397" y="278"/>
                  <a:pt x="314" y="336"/>
                </a:cubicBezTo>
                <a:cubicBezTo>
                  <a:pt x="231" y="395"/>
                  <a:pt x="121" y="388"/>
                  <a:pt x="60" y="309"/>
                </a:cubicBezTo>
              </a:path>
            </a:pathLst>
          </a:custGeom>
          <a:solidFill>
            <a:srgbClr val="FF304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12" name="Freeform 31">
            <a:extLst>
              <a:ext uri="{FF2B5EF4-FFF2-40B4-BE49-F238E27FC236}">
                <a16:creationId xmlns:a16="http://schemas.microsoft.com/office/drawing/2014/main" id="{FE407D47-CC42-418F-BB32-DE9CA28880BF}"/>
              </a:ext>
            </a:extLst>
          </p:cNvPr>
          <p:cNvSpPr>
            <a:spLocks/>
          </p:cNvSpPr>
          <p:nvPr/>
        </p:nvSpPr>
        <p:spPr bwMode="auto">
          <a:xfrm>
            <a:off x="353137" y="1675813"/>
            <a:ext cx="1359985" cy="1271367"/>
          </a:xfrm>
          <a:custGeom>
            <a:avLst/>
            <a:gdLst>
              <a:gd name="T0" fmla="*/ 207 w 1442"/>
              <a:gd name="T1" fmla="*/ 1053 h 1347"/>
              <a:gd name="T2" fmla="*/ 346 w 1442"/>
              <a:gd name="T3" fmla="*/ 201 h 1347"/>
              <a:gd name="T4" fmla="*/ 1235 w 1442"/>
              <a:gd name="T5" fmla="*/ 326 h 1347"/>
              <a:gd name="T6" fmla="*/ 1073 w 1442"/>
              <a:gd name="T7" fmla="*/ 1147 h 1347"/>
              <a:gd name="T8" fmla="*/ 207 w 1442"/>
              <a:gd name="T9" fmla="*/ 1053 h 1347"/>
            </a:gdLst>
            <a:ahLst/>
            <a:cxnLst>
              <a:cxn ang="0">
                <a:pos x="T0" y="T1"/>
              </a:cxn>
              <a:cxn ang="0">
                <a:pos x="T2" y="T3"/>
              </a:cxn>
              <a:cxn ang="0">
                <a:pos x="T4" y="T5"/>
              </a:cxn>
              <a:cxn ang="0">
                <a:pos x="T6" y="T7"/>
              </a:cxn>
              <a:cxn ang="0">
                <a:pos x="T8" y="T9"/>
              </a:cxn>
            </a:cxnLst>
            <a:rect l="0" t="0" r="r" b="b"/>
            <a:pathLst>
              <a:path w="1442" h="1347">
                <a:moveTo>
                  <a:pt x="207" y="1053"/>
                </a:moveTo>
                <a:cubicBezTo>
                  <a:pt x="0" y="783"/>
                  <a:pt x="62" y="401"/>
                  <a:pt x="346" y="201"/>
                </a:cubicBezTo>
                <a:cubicBezTo>
                  <a:pt x="629" y="0"/>
                  <a:pt x="1028" y="56"/>
                  <a:pt x="1235" y="326"/>
                </a:cubicBezTo>
                <a:cubicBezTo>
                  <a:pt x="1442" y="596"/>
                  <a:pt x="1357" y="946"/>
                  <a:pt x="1073" y="1147"/>
                </a:cubicBezTo>
                <a:cubicBezTo>
                  <a:pt x="790" y="1347"/>
                  <a:pt x="415" y="1324"/>
                  <a:pt x="207" y="1053"/>
                </a:cubicBezTo>
              </a:path>
            </a:pathLst>
          </a:custGeom>
          <a:solidFill>
            <a:srgbClr val="0070AD"/>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dirty="0"/>
          </a:p>
        </p:txBody>
      </p:sp>
      <p:sp>
        <p:nvSpPr>
          <p:cNvPr id="13" name="Text Placeholder 9">
            <a:extLst>
              <a:ext uri="{FF2B5EF4-FFF2-40B4-BE49-F238E27FC236}">
                <a16:creationId xmlns:a16="http://schemas.microsoft.com/office/drawing/2014/main" id="{80128159-415F-4DEF-9A01-435CA9142F82}"/>
              </a:ext>
            </a:extLst>
          </p:cNvPr>
          <p:cNvSpPr txBox="1">
            <a:spLocks/>
          </p:cNvSpPr>
          <p:nvPr/>
        </p:nvSpPr>
        <p:spPr>
          <a:xfrm>
            <a:off x="862790" y="3037919"/>
            <a:ext cx="2280665" cy="645047"/>
          </a:xfrm>
          <a:prstGeom prst="rect">
            <a:avLst/>
          </a:prstGeom>
          <a:noFill/>
        </p:spPr>
        <p:txBody>
          <a:bodyPr vert="horz" lIns="0" tIns="0" rIns="0" bIns="0" rtlCol="0" anchor="ctr">
            <a:noAutofit/>
          </a:bodyPr>
          <a:lstStyle/>
          <a:p>
            <a:pPr lvl="0">
              <a:lnSpc>
                <a:spcPct val="90000"/>
              </a:lnSpc>
              <a:spcBef>
                <a:spcPts val="1000"/>
              </a:spcBef>
              <a:defRPr/>
            </a:pPr>
            <a:r>
              <a:rPr lang="en-US" b="1" dirty="0">
                <a:solidFill>
                  <a:srgbClr val="12ABDB"/>
                </a:solidFill>
                <a:latin typeface="Verdana" panose="020B0604030504040204" pitchFamily="34" charset="0"/>
                <a:ea typeface="Verdana" panose="020B0604030504040204" pitchFamily="34" charset="0"/>
                <a:cs typeface="Verdana" panose="020B0604030504040204" pitchFamily="34" charset="0"/>
              </a:rPr>
              <a:t>if object</a:t>
            </a:r>
            <a:endParaRPr lang="pt-PT" b="1" dirty="0">
              <a:solidFill>
                <a:srgbClr val="12ABDB"/>
              </a:solidFill>
              <a:latin typeface="Verdana" panose="020B0604030504040204" pitchFamily="34" charset="0"/>
              <a:ea typeface="Verdana" panose="020B0604030504040204" pitchFamily="34" charset="0"/>
              <a:cs typeface="Verdana" panose="020B0604030504040204" pitchFamily="34" charset="0"/>
            </a:endParaRPr>
          </a:p>
        </p:txBody>
      </p:sp>
      <p:sp>
        <p:nvSpPr>
          <p:cNvPr id="14" name="Text Placeholder 9">
            <a:extLst>
              <a:ext uri="{FF2B5EF4-FFF2-40B4-BE49-F238E27FC236}">
                <a16:creationId xmlns:a16="http://schemas.microsoft.com/office/drawing/2014/main" id="{39340FB5-A068-4DA4-941C-887B7EF93BBD}"/>
              </a:ext>
            </a:extLst>
          </p:cNvPr>
          <p:cNvSpPr txBox="1">
            <a:spLocks/>
          </p:cNvSpPr>
          <p:nvPr/>
        </p:nvSpPr>
        <p:spPr>
          <a:xfrm>
            <a:off x="4412621" y="3037919"/>
            <a:ext cx="1986405" cy="645047"/>
          </a:xfrm>
          <a:prstGeom prst="rect">
            <a:avLst/>
          </a:prstGeom>
          <a:noFill/>
        </p:spPr>
        <p:txBody>
          <a:bodyPr vert="horz" lIns="0" tIns="0" rIns="0" bIns="0" rtlCol="0" anchor="ctr">
            <a:noAutofit/>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b="1" i="0" u="none" strike="noStrike" kern="1200" cap="none" spc="0" normalizeH="0" baseline="0" noProof="0" dirty="0">
                <a:ln>
                  <a:noFill/>
                </a:ln>
                <a:solidFill>
                  <a:schemeClr val="accent4"/>
                </a:solidFill>
                <a:effectLst/>
                <a:uLnTx/>
                <a:uFillTx/>
                <a:latin typeface="Verdana" panose="020B0604030504040204" pitchFamily="34" charset="0"/>
                <a:ea typeface="Verdana" panose="020B0604030504040204" pitchFamily="34" charset="0"/>
                <a:cs typeface="Verdana" panose="020B0604030504040204" pitchFamily="34" charset="0"/>
              </a:rPr>
              <a:t>case var when</a:t>
            </a:r>
          </a:p>
        </p:txBody>
      </p:sp>
      <p:sp>
        <p:nvSpPr>
          <p:cNvPr id="15" name="Freeform 20">
            <a:extLst>
              <a:ext uri="{FF2B5EF4-FFF2-40B4-BE49-F238E27FC236}">
                <a16:creationId xmlns:a16="http://schemas.microsoft.com/office/drawing/2014/main" id="{EC9ACB1E-2881-4791-8139-2877E2426C41}"/>
              </a:ext>
            </a:extLst>
          </p:cNvPr>
          <p:cNvSpPr>
            <a:spLocks/>
          </p:cNvSpPr>
          <p:nvPr/>
        </p:nvSpPr>
        <p:spPr bwMode="auto">
          <a:xfrm>
            <a:off x="7464152" y="1702869"/>
            <a:ext cx="1330762" cy="1244311"/>
          </a:xfrm>
          <a:custGeom>
            <a:avLst/>
            <a:gdLst>
              <a:gd name="T0" fmla="*/ 101 w 701"/>
              <a:gd name="T1" fmla="*/ 513 h 655"/>
              <a:gd name="T2" fmla="*/ 168 w 701"/>
              <a:gd name="T3" fmla="*/ 98 h 655"/>
              <a:gd name="T4" fmla="*/ 600 w 701"/>
              <a:gd name="T5" fmla="*/ 159 h 655"/>
              <a:gd name="T6" fmla="*/ 522 w 701"/>
              <a:gd name="T7" fmla="*/ 558 h 655"/>
              <a:gd name="T8" fmla="*/ 101 w 701"/>
              <a:gd name="T9" fmla="*/ 513 h 655"/>
            </a:gdLst>
            <a:ahLst/>
            <a:cxnLst>
              <a:cxn ang="0">
                <a:pos x="T0" y="T1"/>
              </a:cxn>
              <a:cxn ang="0">
                <a:pos x="T2" y="T3"/>
              </a:cxn>
              <a:cxn ang="0">
                <a:pos x="T4" y="T5"/>
              </a:cxn>
              <a:cxn ang="0">
                <a:pos x="T6" y="T7"/>
              </a:cxn>
              <a:cxn ang="0">
                <a:pos x="T8" y="T9"/>
              </a:cxn>
            </a:cxnLst>
            <a:rect l="0" t="0" r="r" b="b"/>
            <a:pathLst>
              <a:path w="701" h="655">
                <a:moveTo>
                  <a:pt x="101" y="513"/>
                </a:moveTo>
                <a:cubicBezTo>
                  <a:pt x="0" y="381"/>
                  <a:pt x="30" y="196"/>
                  <a:pt x="168" y="98"/>
                </a:cubicBezTo>
                <a:cubicBezTo>
                  <a:pt x="306" y="0"/>
                  <a:pt x="500" y="28"/>
                  <a:pt x="600" y="159"/>
                </a:cubicBezTo>
                <a:cubicBezTo>
                  <a:pt x="701" y="290"/>
                  <a:pt x="660" y="460"/>
                  <a:pt x="522" y="558"/>
                </a:cubicBezTo>
                <a:cubicBezTo>
                  <a:pt x="384" y="655"/>
                  <a:pt x="202" y="644"/>
                  <a:pt x="101" y="513"/>
                </a:cubicBezTo>
              </a:path>
            </a:pathLst>
          </a:custGeom>
          <a:solidFill>
            <a:srgbClr val="86086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16" name="Text Placeholder 9">
            <a:extLst>
              <a:ext uri="{FF2B5EF4-FFF2-40B4-BE49-F238E27FC236}">
                <a16:creationId xmlns:a16="http://schemas.microsoft.com/office/drawing/2014/main" id="{5A4C617D-E519-4766-9330-0A3562D720E4}"/>
              </a:ext>
            </a:extLst>
          </p:cNvPr>
          <p:cNvSpPr txBox="1">
            <a:spLocks/>
          </p:cNvSpPr>
          <p:nvPr/>
        </p:nvSpPr>
        <p:spPr>
          <a:xfrm>
            <a:off x="8096109" y="3037919"/>
            <a:ext cx="2320371" cy="645047"/>
          </a:xfrm>
          <a:prstGeom prst="rect">
            <a:avLst/>
          </a:prstGeom>
          <a:noFill/>
        </p:spPr>
        <p:txBody>
          <a:bodyPr vert="horz" lIns="0" tIns="0" rIns="0" bIns="0" rtlCol="0" anchor="ctr">
            <a:noAutofit/>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b="1" i="0" u="none" strike="noStrike" kern="1200" cap="none" spc="0" normalizeH="0" baseline="0" noProof="0" dirty="0">
                <a:ln>
                  <a:noFill/>
                </a:ln>
                <a:solidFill>
                  <a:srgbClr val="860864"/>
                </a:solidFill>
                <a:effectLst/>
                <a:uLnTx/>
                <a:uFillTx/>
                <a:latin typeface="Verdana" panose="020B0604030504040204" pitchFamily="34" charset="0"/>
                <a:ea typeface="Verdana" panose="020B0604030504040204" pitchFamily="34" charset="0"/>
                <a:cs typeface="Verdana" panose="020B0604030504040204" pitchFamily="34" charset="0"/>
              </a:rPr>
              <a:t>case var when</a:t>
            </a:r>
          </a:p>
        </p:txBody>
      </p:sp>
      <p:pic>
        <p:nvPicPr>
          <p:cNvPr id="5" name="Obraz 4">
            <a:extLst>
              <a:ext uri="{FF2B5EF4-FFF2-40B4-BE49-F238E27FC236}">
                <a16:creationId xmlns:a16="http://schemas.microsoft.com/office/drawing/2014/main" id="{F04D5C34-6E30-47B9-91EC-963363F15EF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220705" y="3594972"/>
            <a:ext cx="3531479" cy="2256746"/>
          </a:xfrm>
          <a:prstGeom prst="rect">
            <a:avLst/>
          </a:prstGeom>
        </p:spPr>
      </p:pic>
      <p:pic>
        <p:nvPicPr>
          <p:cNvPr id="18" name="Obraz 17">
            <a:extLst>
              <a:ext uri="{FF2B5EF4-FFF2-40B4-BE49-F238E27FC236}">
                <a16:creationId xmlns:a16="http://schemas.microsoft.com/office/drawing/2014/main" id="{4E332392-2D43-44D6-A333-3BD6FD2B0DB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70837" y="3594972"/>
            <a:ext cx="3531479" cy="2256746"/>
          </a:xfrm>
          <a:prstGeom prst="rect">
            <a:avLst/>
          </a:prstGeom>
        </p:spPr>
      </p:pic>
      <p:pic>
        <p:nvPicPr>
          <p:cNvPr id="20" name="Obraz 19">
            <a:extLst>
              <a:ext uri="{FF2B5EF4-FFF2-40B4-BE49-F238E27FC236}">
                <a16:creationId xmlns:a16="http://schemas.microsoft.com/office/drawing/2014/main" id="{C64A34EB-DFC2-49F2-9F64-437A5B34BA3D}"/>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862995" y="3594972"/>
            <a:ext cx="3531479" cy="2256746"/>
          </a:xfrm>
          <a:prstGeom prst="rect">
            <a:avLst/>
          </a:prstGeom>
        </p:spPr>
      </p:pic>
    </p:spTree>
    <p:extLst>
      <p:ext uri="{BB962C8B-B14F-4D97-AF65-F5344CB8AC3E}">
        <p14:creationId xmlns:p14="http://schemas.microsoft.com/office/powerpoint/2010/main" val="4127092603"/>
      </p:ext>
    </p:extLst>
  </p:cSld>
  <p:clrMapOvr>
    <a:masterClrMapping/>
  </p:clrMapOvr>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ytuł 3">
            <a:extLst>
              <a:ext uri="{FF2B5EF4-FFF2-40B4-BE49-F238E27FC236}">
                <a16:creationId xmlns:a16="http://schemas.microsoft.com/office/drawing/2014/main" id="{BE6E47FB-5E55-45DB-B712-E4993D47A776}"/>
              </a:ext>
            </a:extLst>
          </p:cNvPr>
          <p:cNvSpPr>
            <a:spLocks noGrp="1"/>
          </p:cNvSpPr>
          <p:nvPr>
            <p:ph type="title"/>
          </p:nvPr>
        </p:nvSpPr>
        <p:spPr/>
        <p:txBody>
          <a:bodyPr/>
          <a:lstStyle/>
          <a:p>
            <a:r>
              <a:rPr lang="en-US" sz="3200" dirty="0"/>
              <a:t>Switch expressions</a:t>
            </a:r>
          </a:p>
        </p:txBody>
      </p:sp>
      <p:sp>
        <p:nvSpPr>
          <p:cNvPr id="6" name="Symbol zastępczy tekstu 5">
            <a:extLst>
              <a:ext uri="{FF2B5EF4-FFF2-40B4-BE49-F238E27FC236}">
                <a16:creationId xmlns:a16="http://schemas.microsoft.com/office/drawing/2014/main" id="{1302AB4B-7554-47F7-BBCD-39BD33559A94}"/>
              </a:ext>
            </a:extLst>
          </p:cNvPr>
          <p:cNvSpPr>
            <a:spLocks noGrp="1"/>
          </p:cNvSpPr>
          <p:nvPr>
            <p:ph type="body" sz="quarter" idx="11"/>
          </p:nvPr>
        </p:nvSpPr>
        <p:spPr/>
        <p:txBody>
          <a:bodyPr/>
          <a:lstStyle/>
          <a:p>
            <a:r>
              <a:rPr lang="en-US" dirty="0"/>
              <a:t>C# 8.0</a:t>
            </a:r>
          </a:p>
        </p:txBody>
      </p:sp>
      <p:sp>
        <p:nvSpPr>
          <p:cNvPr id="7" name="Symbol zastępczy tekstu 6">
            <a:extLst>
              <a:ext uri="{FF2B5EF4-FFF2-40B4-BE49-F238E27FC236}">
                <a16:creationId xmlns:a16="http://schemas.microsoft.com/office/drawing/2014/main" id="{5D8A2B1E-A86F-4A25-94A4-5CF446FD2951}"/>
              </a:ext>
            </a:extLst>
          </p:cNvPr>
          <p:cNvSpPr>
            <a:spLocks noGrp="1"/>
          </p:cNvSpPr>
          <p:nvPr>
            <p:ph type="body" sz="quarter" idx="12"/>
          </p:nvPr>
        </p:nvSpPr>
        <p:spPr/>
        <p:txBody>
          <a:bodyPr/>
          <a:lstStyle/>
          <a:p>
            <a:r>
              <a:rPr lang="en-US" dirty="0"/>
              <a:t>6</a:t>
            </a:r>
          </a:p>
        </p:txBody>
      </p:sp>
      <p:sp>
        <p:nvSpPr>
          <p:cNvPr id="8" name="Rectangle 59">
            <a:extLst>
              <a:ext uri="{FF2B5EF4-FFF2-40B4-BE49-F238E27FC236}">
                <a16:creationId xmlns:a16="http://schemas.microsoft.com/office/drawing/2014/main" id="{1F67BB42-1697-411E-900C-908E20D4A75B}"/>
              </a:ext>
            </a:extLst>
          </p:cNvPr>
          <p:cNvSpPr/>
          <p:nvPr/>
        </p:nvSpPr>
        <p:spPr>
          <a:xfrm>
            <a:off x="7855929" y="2365334"/>
            <a:ext cx="3538545" cy="408800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9" name="Rectangle 59">
            <a:extLst>
              <a:ext uri="{FF2B5EF4-FFF2-40B4-BE49-F238E27FC236}">
                <a16:creationId xmlns:a16="http://schemas.microsoft.com/office/drawing/2014/main" id="{688066BD-2AD8-4B3D-B238-905A511C772F}"/>
              </a:ext>
            </a:extLst>
          </p:cNvPr>
          <p:cNvSpPr/>
          <p:nvPr/>
        </p:nvSpPr>
        <p:spPr>
          <a:xfrm>
            <a:off x="566400" y="2365334"/>
            <a:ext cx="3538545" cy="408800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0" name="Rectangle 59">
            <a:extLst>
              <a:ext uri="{FF2B5EF4-FFF2-40B4-BE49-F238E27FC236}">
                <a16:creationId xmlns:a16="http://schemas.microsoft.com/office/drawing/2014/main" id="{75E18D79-DBEC-4435-89C6-511CDA8EB9A7}"/>
              </a:ext>
            </a:extLst>
          </p:cNvPr>
          <p:cNvSpPr/>
          <p:nvPr/>
        </p:nvSpPr>
        <p:spPr>
          <a:xfrm>
            <a:off x="4213639" y="2365334"/>
            <a:ext cx="3538545" cy="408800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1" name="Freeform 26">
            <a:extLst>
              <a:ext uri="{FF2B5EF4-FFF2-40B4-BE49-F238E27FC236}">
                <a16:creationId xmlns:a16="http://schemas.microsoft.com/office/drawing/2014/main" id="{B73185F3-98FF-4BB7-BA02-7F91790B94E8}"/>
              </a:ext>
            </a:extLst>
          </p:cNvPr>
          <p:cNvSpPr>
            <a:spLocks/>
          </p:cNvSpPr>
          <p:nvPr/>
        </p:nvSpPr>
        <p:spPr bwMode="auto">
          <a:xfrm>
            <a:off x="3791744" y="1699811"/>
            <a:ext cx="1330762" cy="1247369"/>
          </a:xfrm>
          <a:custGeom>
            <a:avLst/>
            <a:gdLst>
              <a:gd name="T0" fmla="*/ 60 w 422"/>
              <a:gd name="T1" fmla="*/ 309 h 395"/>
              <a:gd name="T2" fmla="*/ 101 w 422"/>
              <a:gd name="T3" fmla="*/ 59 h 395"/>
              <a:gd name="T4" fmla="*/ 362 w 422"/>
              <a:gd name="T5" fmla="*/ 96 h 395"/>
              <a:gd name="T6" fmla="*/ 314 w 422"/>
              <a:gd name="T7" fmla="*/ 336 h 395"/>
              <a:gd name="T8" fmla="*/ 60 w 422"/>
              <a:gd name="T9" fmla="*/ 309 h 395"/>
            </a:gdLst>
            <a:ahLst/>
            <a:cxnLst>
              <a:cxn ang="0">
                <a:pos x="T0" y="T1"/>
              </a:cxn>
              <a:cxn ang="0">
                <a:pos x="T2" y="T3"/>
              </a:cxn>
              <a:cxn ang="0">
                <a:pos x="T4" y="T5"/>
              </a:cxn>
              <a:cxn ang="0">
                <a:pos x="T6" y="T7"/>
              </a:cxn>
              <a:cxn ang="0">
                <a:pos x="T8" y="T9"/>
              </a:cxn>
            </a:cxnLst>
            <a:rect l="0" t="0" r="r" b="b"/>
            <a:pathLst>
              <a:path w="422" h="395">
                <a:moveTo>
                  <a:pt x="60" y="309"/>
                </a:moveTo>
                <a:cubicBezTo>
                  <a:pt x="0" y="230"/>
                  <a:pt x="18" y="118"/>
                  <a:pt x="101" y="59"/>
                </a:cubicBezTo>
                <a:cubicBezTo>
                  <a:pt x="184" y="0"/>
                  <a:pt x="301" y="17"/>
                  <a:pt x="362" y="96"/>
                </a:cubicBezTo>
                <a:cubicBezTo>
                  <a:pt x="422" y="175"/>
                  <a:pt x="397" y="278"/>
                  <a:pt x="314" y="336"/>
                </a:cubicBezTo>
                <a:cubicBezTo>
                  <a:pt x="231" y="395"/>
                  <a:pt x="121" y="388"/>
                  <a:pt x="60" y="309"/>
                </a:cubicBezTo>
              </a:path>
            </a:pathLst>
          </a:custGeom>
          <a:solidFill>
            <a:srgbClr val="FF304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12" name="Freeform 31">
            <a:extLst>
              <a:ext uri="{FF2B5EF4-FFF2-40B4-BE49-F238E27FC236}">
                <a16:creationId xmlns:a16="http://schemas.microsoft.com/office/drawing/2014/main" id="{FE407D47-CC42-418F-BB32-DE9CA28880BF}"/>
              </a:ext>
            </a:extLst>
          </p:cNvPr>
          <p:cNvSpPr>
            <a:spLocks/>
          </p:cNvSpPr>
          <p:nvPr/>
        </p:nvSpPr>
        <p:spPr bwMode="auto">
          <a:xfrm>
            <a:off x="353137" y="1675813"/>
            <a:ext cx="1359985" cy="1271367"/>
          </a:xfrm>
          <a:custGeom>
            <a:avLst/>
            <a:gdLst>
              <a:gd name="T0" fmla="*/ 207 w 1442"/>
              <a:gd name="T1" fmla="*/ 1053 h 1347"/>
              <a:gd name="T2" fmla="*/ 346 w 1442"/>
              <a:gd name="T3" fmla="*/ 201 h 1347"/>
              <a:gd name="T4" fmla="*/ 1235 w 1442"/>
              <a:gd name="T5" fmla="*/ 326 h 1347"/>
              <a:gd name="T6" fmla="*/ 1073 w 1442"/>
              <a:gd name="T7" fmla="*/ 1147 h 1347"/>
              <a:gd name="T8" fmla="*/ 207 w 1442"/>
              <a:gd name="T9" fmla="*/ 1053 h 1347"/>
            </a:gdLst>
            <a:ahLst/>
            <a:cxnLst>
              <a:cxn ang="0">
                <a:pos x="T0" y="T1"/>
              </a:cxn>
              <a:cxn ang="0">
                <a:pos x="T2" y="T3"/>
              </a:cxn>
              <a:cxn ang="0">
                <a:pos x="T4" y="T5"/>
              </a:cxn>
              <a:cxn ang="0">
                <a:pos x="T6" y="T7"/>
              </a:cxn>
              <a:cxn ang="0">
                <a:pos x="T8" y="T9"/>
              </a:cxn>
            </a:cxnLst>
            <a:rect l="0" t="0" r="r" b="b"/>
            <a:pathLst>
              <a:path w="1442" h="1347">
                <a:moveTo>
                  <a:pt x="207" y="1053"/>
                </a:moveTo>
                <a:cubicBezTo>
                  <a:pt x="0" y="783"/>
                  <a:pt x="62" y="401"/>
                  <a:pt x="346" y="201"/>
                </a:cubicBezTo>
                <a:cubicBezTo>
                  <a:pt x="629" y="0"/>
                  <a:pt x="1028" y="56"/>
                  <a:pt x="1235" y="326"/>
                </a:cubicBezTo>
                <a:cubicBezTo>
                  <a:pt x="1442" y="596"/>
                  <a:pt x="1357" y="946"/>
                  <a:pt x="1073" y="1147"/>
                </a:cubicBezTo>
                <a:cubicBezTo>
                  <a:pt x="790" y="1347"/>
                  <a:pt x="415" y="1324"/>
                  <a:pt x="207" y="1053"/>
                </a:cubicBezTo>
              </a:path>
            </a:pathLst>
          </a:custGeom>
          <a:solidFill>
            <a:srgbClr val="0070AD"/>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dirty="0"/>
          </a:p>
        </p:txBody>
      </p:sp>
      <p:sp>
        <p:nvSpPr>
          <p:cNvPr id="13" name="Text Placeholder 9">
            <a:extLst>
              <a:ext uri="{FF2B5EF4-FFF2-40B4-BE49-F238E27FC236}">
                <a16:creationId xmlns:a16="http://schemas.microsoft.com/office/drawing/2014/main" id="{80128159-415F-4DEF-9A01-435CA9142F82}"/>
              </a:ext>
            </a:extLst>
          </p:cNvPr>
          <p:cNvSpPr txBox="1">
            <a:spLocks/>
          </p:cNvSpPr>
          <p:nvPr/>
        </p:nvSpPr>
        <p:spPr>
          <a:xfrm>
            <a:off x="862790" y="3037919"/>
            <a:ext cx="2280665" cy="645047"/>
          </a:xfrm>
          <a:prstGeom prst="rect">
            <a:avLst/>
          </a:prstGeom>
          <a:noFill/>
        </p:spPr>
        <p:txBody>
          <a:bodyPr vert="horz" lIns="0" tIns="0" rIns="0" bIns="0" rtlCol="0" anchor="ctr">
            <a:noAutofit/>
          </a:bodyPr>
          <a:lstStyle/>
          <a:p>
            <a:pPr lvl="0">
              <a:lnSpc>
                <a:spcPct val="90000"/>
              </a:lnSpc>
              <a:spcBef>
                <a:spcPts val="1000"/>
              </a:spcBef>
              <a:defRPr/>
            </a:pPr>
            <a:r>
              <a:rPr lang="en-US" b="1" dirty="0">
                <a:solidFill>
                  <a:srgbClr val="12ABDB"/>
                </a:solidFill>
                <a:latin typeface="Verdana" panose="020B0604030504040204" pitchFamily="34" charset="0"/>
                <a:ea typeface="Verdana" panose="020B0604030504040204" pitchFamily="34" charset="0"/>
                <a:cs typeface="Verdana" panose="020B0604030504040204" pitchFamily="34" charset="0"/>
              </a:rPr>
              <a:t>if statement</a:t>
            </a:r>
            <a:endParaRPr kumimoji="0" lang="pt-PT" b="1" i="0" u="none" strike="noStrike" kern="1200" cap="none" spc="0" normalizeH="0" baseline="0" noProof="0" dirty="0">
              <a:ln>
                <a:noFill/>
              </a:ln>
              <a:solidFill>
                <a:srgbClr val="12ABDB"/>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14" name="Text Placeholder 9">
            <a:extLst>
              <a:ext uri="{FF2B5EF4-FFF2-40B4-BE49-F238E27FC236}">
                <a16:creationId xmlns:a16="http://schemas.microsoft.com/office/drawing/2014/main" id="{39340FB5-A068-4DA4-941C-887B7EF93BBD}"/>
              </a:ext>
            </a:extLst>
          </p:cNvPr>
          <p:cNvSpPr txBox="1">
            <a:spLocks/>
          </p:cNvSpPr>
          <p:nvPr/>
        </p:nvSpPr>
        <p:spPr>
          <a:xfrm>
            <a:off x="4412621" y="3037919"/>
            <a:ext cx="2626388" cy="645047"/>
          </a:xfrm>
          <a:prstGeom prst="rect">
            <a:avLst/>
          </a:prstGeom>
          <a:noFill/>
        </p:spPr>
        <p:txBody>
          <a:bodyPr vert="horz" lIns="0" tIns="0" rIns="0" bIns="0" rtlCol="0" anchor="ctr">
            <a:noAutofit/>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b="1" i="0" u="none" strike="noStrike" kern="1200" cap="none" spc="0" normalizeH="0" baseline="0" noProof="0">
                <a:ln>
                  <a:noFill/>
                </a:ln>
                <a:solidFill>
                  <a:schemeClr val="accent4"/>
                </a:solidFill>
                <a:effectLst/>
                <a:uLnTx/>
                <a:uFillTx/>
                <a:latin typeface="Verdana" panose="020B0604030504040204" pitchFamily="34" charset="0"/>
                <a:ea typeface="Verdana" panose="020B0604030504040204" pitchFamily="34" charset="0"/>
                <a:cs typeface="Verdana" panose="020B0604030504040204" pitchFamily="34" charset="0"/>
              </a:rPr>
              <a:t>switch </a:t>
            </a:r>
            <a:r>
              <a:rPr kumimoji="0" lang="pt-PT" b="1" i="0" u="none" strike="noStrike" kern="1200" cap="none" spc="0" normalizeH="0" baseline="0" noProof="0" dirty="0">
                <a:ln>
                  <a:noFill/>
                </a:ln>
                <a:solidFill>
                  <a:schemeClr val="accent4"/>
                </a:solidFill>
                <a:effectLst/>
                <a:uLnTx/>
                <a:uFillTx/>
                <a:latin typeface="Verdana" panose="020B0604030504040204" pitchFamily="34" charset="0"/>
                <a:ea typeface="Verdana" panose="020B0604030504040204" pitchFamily="34" charset="0"/>
                <a:cs typeface="Verdana" panose="020B0604030504040204" pitchFamily="34" charset="0"/>
              </a:rPr>
              <a:t>statement</a:t>
            </a:r>
          </a:p>
        </p:txBody>
      </p:sp>
      <p:sp>
        <p:nvSpPr>
          <p:cNvPr id="15" name="Freeform 20">
            <a:extLst>
              <a:ext uri="{FF2B5EF4-FFF2-40B4-BE49-F238E27FC236}">
                <a16:creationId xmlns:a16="http://schemas.microsoft.com/office/drawing/2014/main" id="{EC9ACB1E-2881-4791-8139-2877E2426C41}"/>
              </a:ext>
            </a:extLst>
          </p:cNvPr>
          <p:cNvSpPr>
            <a:spLocks/>
          </p:cNvSpPr>
          <p:nvPr/>
        </p:nvSpPr>
        <p:spPr bwMode="auto">
          <a:xfrm>
            <a:off x="7464152" y="1702869"/>
            <a:ext cx="1330762" cy="1244311"/>
          </a:xfrm>
          <a:custGeom>
            <a:avLst/>
            <a:gdLst>
              <a:gd name="T0" fmla="*/ 101 w 701"/>
              <a:gd name="T1" fmla="*/ 513 h 655"/>
              <a:gd name="T2" fmla="*/ 168 w 701"/>
              <a:gd name="T3" fmla="*/ 98 h 655"/>
              <a:gd name="T4" fmla="*/ 600 w 701"/>
              <a:gd name="T5" fmla="*/ 159 h 655"/>
              <a:gd name="T6" fmla="*/ 522 w 701"/>
              <a:gd name="T7" fmla="*/ 558 h 655"/>
              <a:gd name="T8" fmla="*/ 101 w 701"/>
              <a:gd name="T9" fmla="*/ 513 h 655"/>
            </a:gdLst>
            <a:ahLst/>
            <a:cxnLst>
              <a:cxn ang="0">
                <a:pos x="T0" y="T1"/>
              </a:cxn>
              <a:cxn ang="0">
                <a:pos x="T2" y="T3"/>
              </a:cxn>
              <a:cxn ang="0">
                <a:pos x="T4" y="T5"/>
              </a:cxn>
              <a:cxn ang="0">
                <a:pos x="T6" y="T7"/>
              </a:cxn>
              <a:cxn ang="0">
                <a:pos x="T8" y="T9"/>
              </a:cxn>
            </a:cxnLst>
            <a:rect l="0" t="0" r="r" b="b"/>
            <a:pathLst>
              <a:path w="701" h="655">
                <a:moveTo>
                  <a:pt x="101" y="513"/>
                </a:moveTo>
                <a:cubicBezTo>
                  <a:pt x="0" y="381"/>
                  <a:pt x="30" y="196"/>
                  <a:pt x="168" y="98"/>
                </a:cubicBezTo>
                <a:cubicBezTo>
                  <a:pt x="306" y="0"/>
                  <a:pt x="500" y="28"/>
                  <a:pt x="600" y="159"/>
                </a:cubicBezTo>
                <a:cubicBezTo>
                  <a:pt x="701" y="290"/>
                  <a:pt x="660" y="460"/>
                  <a:pt x="522" y="558"/>
                </a:cubicBezTo>
                <a:cubicBezTo>
                  <a:pt x="384" y="655"/>
                  <a:pt x="202" y="644"/>
                  <a:pt x="101" y="513"/>
                </a:cubicBezTo>
              </a:path>
            </a:pathLst>
          </a:custGeom>
          <a:solidFill>
            <a:srgbClr val="86086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16" name="Text Placeholder 9">
            <a:extLst>
              <a:ext uri="{FF2B5EF4-FFF2-40B4-BE49-F238E27FC236}">
                <a16:creationId xmlns:a16="http://schemas.microsoft.com/office/drawing/2014/main" id="{5A4C617D-E519-4766-9330-0A3562D720E4}"/>
              </a:ext>
            </a:extLst>
          </p:cNvPr>
          <p:cNvSpPr txBox="1">
            <a:spLocks/>
          </p:cNvSpPr>
          <p:nvPr/>
        </p:nvSpPr>
        <p:spPr>
          <a:xfrm>
            <a:off x="8096109" y="3037919"/>
            <a:ext cx="2752419" cy="645047"/>
          </a:xfrm>
          <a:prstGeom prst="rect">
            <a:avLst/>
          </a:prstGeom>
          <a:noFill/>
        </p:spPr>
        <p:txBody>
          <a:bodyPr vert="horz" lIns="0" tIns="0" rIns="0" bIns="0" rtlCol="0" anchor="ctr">
            <a:noAutofit/>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pt-PT" b="1" dirty="0">
                <a:solidFill>
                  <a:srgbClr val="860864"/>
                </a:solidFill>
                <a:latin typeface="Verdana" panose="020B0604030504040204" pitchFamily="34" charset="0"/>
                <a:ea typeface="Verdana" panose="020B0604030504040204" pitchFamily="34" charset="0"/>
                <a:cs typeface="Verdana" panose="020B0604030504040204" pitchFamily="34" charset="0"/>
              </a:rPr>
              <a:t>s</a:t>
            </a:r>
            <a:r>
              <a:rPr kumimoji="0" lang="pt-PT" b="1" i="0" u="none" strike="noStrike" kern="1200" cap="none" spc="0" normalizeH="0" baseline="0" noProof="0" dirty="0">
                <a:ln>
                  <a:noFill/>
                </a:ln>
                <a:solidFill>
                  <a:srgbClr val="860864"/>
                </a:solidFill>
                <a:effectLst/>
                <a:uLnTx/>
                <a:uFillTx/>
                <a:latin typeface="Verdana" panose="020B0604030504040204" pitchFamily="34" charset="0"/>
                <a:ea typeface="Verdana" panose="020B0604030504040204" pitchFamily="34" charset="0"/>
                <a:cs typeface="Verdana" panose="020B0604030504040204" pitchFamily="34" charset="0"/>
              </a:rPr>
              <a:t>witch expressions</a:t>
            </a:r>
          </a:p>
        </p:txBody>
      </p:sp>
      <p:pic>
        <p:nvPicPr>
          <p:cNvPr id="3" name="Obraz 2">
            <a:extLst>
              <a:ext uri="{FF2B5EF4-FFF2-40B4-BE49-F238E27FC236}">
                <a16:creationId xmlns:a16="http://schemas.microsoft.com/office/drawing/2014/main" id="{77FDE961-47CC-43FD-A921-F7DB02B77A1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63408" y="3605839"/>
            <a:ext cx="2796287" cy="2823973"/>
          </a:xfrm>
          <a:prstGeom prst="rect">
            <a:avLst/>
          </a:prstGeom>
        </p:spPr>
      </p:pic>
      <p:pic>
        <p:nvPicPr>
          <p:cNvPr id="21" name="Obraz 20">
            <a:extLst>
              <a:ext uri="{FF2B5EF4-FFF2-40B4-BE49-F238E27FC236}">
                <a16:creationId xmlns:a16="http://schemas.microsoft.com/office/drawing/2014/main" id="{8A5B7174-0945-49CA-9626-FA003B6C65D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213638" y="3605839"/>
            <a:ext cx="2796287" cy="2823972"/>
          </a:xfrm>
          <a:prstGeom prst="rect">
            <a:avLst/>
          </a:prstGeom>
        </p:spPr>
      </p:pic>
      <p:pic>
        <p:nvPicPr>
          <p:cNvPr id="23" name="Obraz 22">
            <a:extLst>
              <a:ext uri="{FF2B5EF4-FFF2-40B4-BE49-F238E27FC236}">
                <a16:creationId xmlns:a16="http://schemas.microsoft.com/office/drawing/2014/main" id="{E79EE0C8-BBC1-4F33-855A-5446B90E18C8}"/>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827037" y="3629385"/>
            <a:ext cx="2796287" cy="2823972"/>
          </a:xfrm>
          <a:prstGeom prst="rect">
            <a:avLst/>
          </a:prstGeom>
        </p:spPr>
      </p:pic>
    </p:spTree>
    <p:extLst>
      <p:ext uri="{BB962C8B-B14F-4D97-AF65-F5344CB8AC3E}">
        <p14:creationId xmlns:p14="http://schemas.microsoft.com/office/powerpoint/2010/main" val="3610905569"/>
      </p:ext>
    </p:extLst>
  </p:cSld>
  <p:clrMapOvr>
    <a:masterClrMapping/>
  </p:clrMapOvr>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ytuł 3">
            <a:extLst>
              <a:ext uri="{FF2B5EF4-FFF2-40B4-BE49-F238E27FC236}">
                <a16:creationId xmlns:a16="http://schemas.microsoft.com/office/drawing/2014/main" id="{BE6E47FB-5E55-45DB-B712-E4993D47A776}"/>
              </a:ext>
            </a:extLst>
          </p:cNvPr>
          <p:cNvSpPr>
            <a:spLocks noGrp="1"/>
          </p:cNvSpPr>
          <p:nvPr>
            <p:ph type="title"/>
          </p:nvPr>
        </p:nvSpPr>
        <p:spPr/>
        <p:txBody>
          <a:bodyPr/>
          <a:lstStyle/>
          <a:p>
            <a:r>
              <a:rPr lang="en-US" sz="3200" dirty="0"/>
              <a:t>Switch expressions</a:t>
            </a:r>
          </a:p>
        </p:txBody>
      </p:sp>
      <p:sp>
        <p:nvSpPr>
          <p:cNvPr id="6" name="Symbol zastępczy tekstu 5">
            <a:extLst>
              <a:ext uri="{FF2B5EF4-FFF2-40B4-BE49-F238E27FC236}">
                <a16:creationId xmlns:a16="http://schemas.microsoft.com/office/drawing/2014/main" id="{1302AB4B-7554-47F7-BBCD-39BD33559A94}"/>
              </a:ext>
            </a:extLst>
          </p:cNvPr>
          <p:cNvSpPr>
            <a:spLocks noGrp="1"/>
          </p:cNvSpPr>
          <p:nvPr>
            <p:ph type="body" sz="quarter" idx="11"/>
          </p:nvPr>
        </p:nvSpPr>
        <p:spPr/>
        <p:txBody>
          <a:bodyPr/>
          <a:lstStyle/>
          <a:p>
            <a:r>
              <a:rPr lang="en-US" dirty="0"/>
              <a:t>C# 8.0 – property pattern</a:t>
            </a:r>
          </a:p>
        </p:txBody>
      </p:sp>
      <p:sp>
        <p:nvSpPr>
          <p:cNvPr id="7" name="Symbol zastępczy tekstu 6">
            <a:extLst>
              <a:ext uri="{FF2B5EF4-FFF2-40B4-BE49-F238E27FC236}">
                <a16:creationId xmlns:a16="http://schemas.microsoft.com/office/drawing/2014/main" id="{5D8A2B1E-A86F-4A25-94A4-5CF446FD2951}"/>
              </a:ext>
            </a:extLst>
          </p:cNvPr>
          <p:cNvSpPr>
            <a:spLocks noGrp="1"/>
          </p:cNvSpPr>
          <p:nvPr>
            <p:ph type="body" sz="quarter" idx="12"/>
          </p:nvPr>
        </p:nvSpPr>
        <p:spPr/>
        <p:txBody>
          <a:bodyPr/>
          <a:lstStyle/>
          <a:p>
            <a:r>
              <a:rPr lang="en-US" dirty="0"/>
              <a:t>7</a:t>
            </a:r>
          </a:p>
        </p:txBody>
      </p:sp>
      <p:sp>
        <p:nvSpPr>
          <p:cNvPr id="21" name="Rectangle 59">
            <a:extLst>
              <a:ext uri="{FF2B5EF4-FFF2-40B4-BE49-F238E27FC236}">
                <a16:creationId xmlns:a16="http://schemas.microsoft.com/office/drawing/2014/main" id="{96832D66-A25D-46E9-B501-788954525DF3}"/>
              </a:ext>
            </a:extLst>
          </p:cNvPr>
          <p:cNvSpPr/>
          <p:nvPr/>
        </p:nvSpPr>
        <p:spPr>
          <a:xfrm>
            <a:off x="5984776" y="2365334"/>
            <a:ext cx="5398008" cy="408800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2" name="Rectangle 59">
            <a:extLst>
              <a:ext uri="{FF2B5EF4-FFF2-40B4-BE49-F238E27FC236}">
                <a16:creationId xmlns:a16="http://schemas.microsoft.com/office/drawing/2014/main" id="{0D4F4F88-3082-41BF-A064-34978E375745}"/>
              </a:ext>
            </a:extLst>
          </p:cNvPr>
          <p:cNvSpPr/>
          <p:nvPr/>
        </p:nvSpPr>
        <p:spPr>
          <a:xfrm>
            <a:off x="551384" y="2365334"/>
            <a:ext cx="5379818" cy="408800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3" name="Text Placeholder 9">
            <a:extLst>
              <a:ext uri="{FF2B5EF4-FFF2-40B4-BE49-F238E27FC236}">
                <a16:creationId xmlns:a16="http://schemas.microsoft.com/office/drawing/2014/main" id="{065B586F-4336-4395-AB63-A4A7CE7F7AD6}"/>
              </a:ext>
            </a:extLst>
          </p:cNvPr>
          <p:cNvSpPr txBox="1">
            <a:spLocks/>
          </p:cNvSpPr>
          <p:nvPr/>
        </p:nvSpPr>
        <p:spPr>
          <a:xfrm>
            <a:off x="862790" y="3037919"/>
            <a:ext cx="4873170" cy="645047"/>
          </a:xfrm>
          <a:prstGeom prst="rect">
            <a:avLst/>
          </a:prstGeom>
          <a:noFill/>
        </p:spPr>
        <p:txBody>
          <a:bodyPr vert="horz" lIns="0" tIns="0" rIns="0" bIns="0" rtlCol="0" anchor="ctr">
            <a:noAutofit/>
          </a:bodyPr>
          <a:lstStyle/>
          <a:p>
            <a:pPr lvl="0">
              <a:lnSpc>
                <a:spcPct val="90000"/>
              </a:lnSpc>
              <a:spcBef>
                <a:spcPts val="1000"/>
              </a:spcBef>
              <a:defRPr/>
            </a:pPr>
            <a:r>
              <a:rPr kumimoji="0" lang="pt-PT" b="1" i="0" u="none" strike="noStrike" kern="1200" cap="none" spc="0" normalizeH="0" baseline="0" noProof="0" dirty="0">
                <a:ln>
                  <a:noFill/>
                </a:ln>
                <a:solidFill>
                  <a:srgbClr val="12ABDB"/>
                </a:solidFill>
                <a:effectLst/>
                <a:uLnTx/>
                <a:uFillTx/>
                <a:latin typeface="Verdana" panose="020B0604030504040204" pitchFamily="34" charset="0"/>
                <a:ea typeface="Verdana" panose="020B0604030504040204" pitchFamily="34" charset="0"/>
                <a:cs typeface="Verdana" panose="020B0604030504040204" pitchFamily="34" charset="0"/>
              </a:rPr>
              <a:t>switch statement</a:t>
            </a:r>
          </a:p>
        </p:txBody>
      </p:sp>
      <p:sp>
        <p:nvSpPr>
          <p:cNvPr id="25" name="Text Placeholder 9">
            <a:extLst>
              <a:ext uri="{FF2B5EF4-FFF2-40B4-BE49-F238E27FC236}">
                <a16:creationId xmlns:a16="http://schemas.microsoft.com/office/drawing/2014/main" id="{5482796E-16AC-4D98-AC33-23544130E06E}"/>
              </a:ext>
            </a:extLst>
          </p:cNvPr>
          <p:cNvSpPr txBox="1">
            <a:spLocks/>
          </p:cNvSpPr>
          <p:nvPr/>
        </p:nvSpPr>
        <p:spPr>
          <a:xfrm>
            <a:off x="6223901" y="3037919"/>
            <a:ext cx="5105309" cy="645047"/>
          </a:xfrm>
          <a:prstGeom prst="rect">
            <a:avLst/>
          </a:prstGeom>
          <a:noFill/>
        </p:spPr>
        <p:txBody>
          <a:bodyPr vert="horz" lIns="0" tIns="0" rIns="0" bIns="0" rtlCol="0" anchor="ctr">
            <a:noAutofit/>
          </a:bodyPr>
          <a:lstStyle/>
          <a:p>
            <a:pPr lvl="0">
              <a:lnSpc>
                <a:spcPct val="90000"/>
              </a:lnSpc>
              <a:spcBef>
                <a:spcPts val="1000"/>
              </a:spcBef>
              <a:defRPr/>
            </a:pPr>
            <a:r>
              <a:rPr lang="pt-PT" b="1" dirty="0">
                <a:solidFill>
                  <a:srgbClr val="CC2980"/>
                </a:solidFill>
                <a:latin typeface="Verdana" panose="020B0604030504040204" pitchFamily="34" charset="0"/>
                <a:ea typeface="Verdana" panose="020B0604030504040204" pitchFamily="34" charset="0"/>
                <a:cs typeface="Verdana" panose="020B0604030504040204" pitchFamily="34" charset="0"/>
              </a:rPr>
              <a:t>switch expression</a:t>
            </a:r>
          </a:p>
        </p:txBody>
      </p:sp>
      <p:sp>
        <p:nvSpPr>
          <p:cNvPr id="29" name="Freeform 20">
            <a:extLst>
              <a:ext uri="{FF2B5EF4-FFF2-40B4-BE49-F238E27FC236}">
                <a16:creationId xmlns:a16="http://schemas.microsoft.com/office/drawing/2014/main" id="{FA0AA1D8-180E-4E78-A817-65062F069290}"/>
              </a:ext>
            </a:extLst>
          </p:cNvPr>
          <p:cNvSpPr>
            <a:spLocks/>
          </p:cNvSpPr>
          <p:nvPr/>
        </p:nvSpPr>
        <p:spPr bwMode="auto">
          <a:xfrm>
            <a:off x="5591944" y="1702869"/>
            <a:ext cx="1330762" cy="1244311"/>
          </a:xfrm>
          <a:custGeom>
            <a:avLst/>
            <a:gdLst>
              <a:gd name="T0" fmla="*/ 101 w 701"/>
              <a:gd name="T1" fmla="*/ 513 h 655"/>
              <a:gd name="T2" fmla="*/ 168 w 701"/>
              <a:gd name="T3" fmla="*/ 98 h 655"/>
              <a:gd name="T4" fmla="*/ 600 w 701"/>
              <a:gd name="T5" fmla="*/ 159 h 655"/>
              <a:gd name="T6" fmla="*/ 522 w 701"/>
              <a:gd name="T7" fmla="*/ 558 h 655"/>
              <a:gd name="T8" fmla="*/ 101 w 701"/>
              <a:gd name="T9" fmla="*/ 513 h 655"/>
            </a:gdLst>
            <a:ahLst/>
            <a:cxnLst>
              <a:cxn ang="0">
                <a:pos x="T0" y="T1"/>
              </a:cxn>
              <a:cxn ang="0">
                <a:pos x="T2" y="T3"/>
              </a:cxn>
              <a:cxn ang="0">
                <a:pos x="T4" y="T5"/>
              </a:cxn>
              <a:cxn ang="0">
                <a:pos x="T6" y="T7"/>
              </a:cxn>
              <a:cxn ang="0">
                <a:pos x="T8" y="T9"/>
              </a:cxn>
            </a:cxnLst>
            <a:rect l="0" t="0" r="r" b="b"/>
            <a:pathLst>
              <a:path w="701" h="655">
                <a:moveTo>
                  <a:pt x="101" y="513"/>
                </a:moveTo>
                <a:cubicBezTo>
                  <a:pt x="0" y="381"/>
                  <a:pt x="30" y="196"/>
                  <a:pt x="168" y="98"/>
                </a:cubicBezTo>
                <a:cubicBezTo>
                  <a:pt x="306" y="0"/>
                  <a:pt x="500" y="28"/>
                  <a:pt x="600" y="159"/>
                </a:cubicBezTo>
                <a:cubicBezTo>
                  <a:pt x="701" y="290"/>
                  <a:pt x="660" y="460"/>
                  <a:pt x="522" y="558"/>
                </a:cubicBezTo>
                <a:cubicBezTo>
                  <a:pt x="384" y="655"/>
                  <a:pt x="202" y="644"/>
                  <a:pt x="101" y="513"/>
                </a:cubicBezTo>
              </a:path>
            </a:pathLst>
          </a:custGeom>
          <a:solidFill>
            <a:srgbClr val="CC298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algn="ctr"/>
            <a:endParaRPr lang="pt-PT" b="1" dirty="0">
              <a:solidFill>
                <a:srgbClr val="CC2980"/>
              </a:solidFill>
            </a:endParaRPr>
          </a:p>
        </p:txBody>
      </p:sp>
      <p:sp>
        <p:nvSpPr>
          <p:cNvPr id="31" name="Freeform 31">
            <a:extLst>
              <a:ext uri="{FF2B5EF4-FFF2-40B4-BE49-F238E27FC236}">
                <a16:creationId xmlns:a16="http://schemas.microsoft.com/office/drawing/2014/main" id="{E70AE2A5-70B2-40C0-8459-667EC17E0257}"/>
              </a:ext>
            </a:extLst>
          </p:cNvPr>
          <p:cNvSpPr>
            <a:spLocks/>
          </p:cNvSpPr>
          <p:nvPr/>
        </p:nvSpPr>
        <p:spPr bwMode="auto">
          <a:xfrm>
            <a:off x="353137" y="1675813"/>
            <a:ext cx="1359985" cy="1271367"/>
          </a:xfrm>
          <a:custGeom>
            <a:avLst/>
            <a:gdLst>
              <a:gd name="T0" fmla="*/ 207 w 1442"/>
              <a:gd name="T1" fmla="*/ 1053 h 1347"/>
              <a:gd name="T2" fmla="*/ 346 w 1442"/>
              <a:gd name="T3" fmla="*/ 201 h 1347"/>
              <a:gd name="T4" fmla="*/ 1235 w 1442"/>
              <a:gd name="T5" fmla="*/ 326 h 1347"/>
              <a:gd name="T6" fmla="*/ 1073 w 1442"/>
              <a:gd name="T7" fmla="*/ 1147 h 1347"/>
              <a:gd name="T8" fmla="*/ 207 w 1442"/>
              <a:gd name="T9" fmla="*/ 1053 h 1347"/>
            </a:gdLst>
            <a:ahLst/>
            <a:cxnLst>
              <a:cxn ang="0">
                <a:pos x="T0" y="T1"/>
              </a:cxn>
              <a:cxn ang="0">
                <a:pos x="T2" y="T3"/>
              </a:cxn>
              <a:cxn ang="0">
                <a:pos x="T4" y="T5"/>
              </a:cxn>
              <a:cxn ang="0">
                <a:pos x="T6" y="T7"/>
              </a:cxn>
              <a:cxn ang="0">
                <a:pos x="T8" y="T9"/>
              </a:cxn>
            </a:cxnLst>
            <a:rect l="0" t="0" r="r" b="b"/>
            <a:pathLst>
              <a:path w="1442" h="1347">
                <a:moveTo>
                  <a:pt x="207" y="1053"/>
                </a:moveTo>
                <a:cubicBezTo>
                  <a:pt x="0" y="783"/>
                  <a:pt x="62" y="401"/>
                  <a:pt x="346" y="201"/>
                </a:cubicBezTo>
                <a:cubicBezTo>
                  <a:pt x="629" y="0"/>
                  <a:pt x="1028" y="56"/>
                  <a:pt x="1235" y="326"/>
                </a:cubicBezTo>
                <a:cubicBezTo>
                  <a:pt x="1442" y="596"/>
                  <a:pt x="1357" y="946"/>
                  <a:pt x="1073" y="1147"/>
                </a:cubicBezTo>
                <a:cubicBezTo>
                  <a:pt x="790" y="1347"/>
                  <a:pt x="415" y="1324"/>
                  <a:pt x="207" y="1053"/>
                </a:cubicBezTo>
              </a:path>
            </a:pathLst>
          </a:custGeom>
          <a:solidFill>
            <a:srgbClr val="0070AD"/>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dirty="0"/>
          </a:p>
        </p:txBody>
      </p:sp>
      <p:pic>
        <p:nvPicPr>
          <p:cNvPr id="3" name="Obraz 2">
            <a:extLst>
              <a:ext uri="{FF2B5EF4-FFF2-40B4-BE49-F238E27FC236}">
                <a16:creationId xmlns:a16="http://schemas.microsoft.com/office/drawing/2014/main" id="{2EBD539C-7419-47D5-9ED2-AFDD8A6B26A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56250" y="3608142"/>
            <a:ext cx="3672142" cy="2839209"/>
          </a:xfrm>
          <a:prstGeom prst="rect">
            <a:avLst/>
          </a:prstGeom>
        </p:spPr>
      </p:pic>
      <p:pic>
        <p:nvPicPr>
          <p:cNvPr id="8" name="Obraz 7">
            <a:extLst>
              <a:ext uri="{FF2B5EF4-FFF2-40B4-BE49-F238E27FC236}">
                <a16:creationId xmlns:a16="http://schemas.microsoft.com/office/drawing/2014/main" id="{885AAA03-8505-44F7-ACB8-8B6C796FB55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984776" y="3608142"/>
            <a:ext cx="3672142" cy="2839209"/>
          </a:xfrm>
          <a:prstGeom prst="rect">
            <a:avLst/>
          </a:prstGeom>
        </p:spPr>
      </p:pic>
    </p:spTree>
    <p:extLst>
      <p:ext uri="{BB962C8B-B14F-4D97-AF65-F5344CB8AC3E}">
        <p14:creationId xmlns:p14="http://schemas.microsoft.com/office/powerpoint/2010/main" val="4210884517"/>
      </p:ext>
    </p:extLst>
  </p:cSld>
  <p:clrMapOvr>
    <a:masterClrMapping/>
  </p:clrMapOvr>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ytuł 3">
            <a:extLst>
              <a:ext uri="{FF2B5EF4-FFF2-40B4-BE49-F238E27FC236}">
                <a16:creationId xmlns:a16="http://schemas.microsoft.com/office/drawing/2014/main" id="{BE6E47FB-5E55-45DB-B712-E4993D47A776}"/>
              </a:ext>
            </a:extLst>
          </p:cNvPr>
          <p:cNvSpPr>
            <a:spLocks noGrp="1"/>
          </p:cNvSpPr>
          <p:nvPr>
            <p:ph type="title"/>
          </p:nvPr>
        </p:nvSpPr>
        <p:spPr/>
        <p:txBody>
          <a:bodyPr/>
          <a:lstStyle/>
          <a:p>
            <a:r>
              <a:rPr lang="en-US" sz="3200" dirty="0"/>
              <a:t>Switch expressions</a:t>
            </a:r>
          </a:p>
        </p:txBody>
      </p:sp>
      <p:sp>
        <p:nvSpPr>
          <p:cNvPr id="6" name="Symbol zastępczy tekstu 5">
            <a:extLst>
              <a:ext uri="{FF2B5EF4-FFF2-40B4-BE49-F238E27FC236}">
                <a16:creationId xmlns:a16="http://schemas.microsoft.com/office/drawing/2014/main" id="{1302AB4B-7554-47F7-BBCD-39BD33559A94}"/>
              </a:ext>
            </a:extLst>
          </p:cNvPr>
          <p:cNvSpPr>
            <a:spLocks noGrp="1"/>
          </p:cNvSpPr>
          <p:nvPr>
            <p:ph type="body" sz="quarter" idx="11"/>
          </p:nvPr>
        </p:nvSpPr>
        <p:spPr/>
        <p:txBody>
          <a:bodyPr/>
          <a:lstStyle/>
          <a:p>
            <a:r>
              <a:rPr lang="en-US" dirty="0"/>
              <a:t>C# 8.0 – recurrence property pattern</a:t>
            </a:r>
          </a:p>
        </p:txBody>
      </p:sp>
      <p:sp>
        <p:nvSpPr>
          <p:cNvPr id="7" name="Symbol zastępczy tekstu 6">
            <a:extLst>
              <a:ext uri="{FF2B5EF4-FFF2-40B4-BE49-F238E27FC236}">
                <a16:creationId xmlns:a16="http://schemas.microsoft.com/office/drawing/2014/main" id="{5D8A2B1E-A86F-4A25-94A4-5CF446FD2951}"/>
              </a:ext>
            </a:extLst>
          </p:cNvPr>
          <p:cNvSpPr>
            <a:spLocks noGrp="1"/>
          </p:cNvSpPr>
          <p:nvPr>
            <p:ph type="body" sz="quarter" idx="12"/>
          </p:nvPr>
        </p:nvSpPr>
        <p:spPr/>
        <p:txBody>
          <a:bodyPr/>
          <a:lstStyle/>
          <a:p>
            <a:r>
              <a:rPr lang="en-US" dirty="0"/>
              <a:t>8</a:t>
            </a:r>
          </a:p>
        </p:txBody>
      </p:sp>
      <p:sp>
        <p:nvSpPr>
          <p:cNvPr id="21" name="Rectangle 59">
            <a:extLst>
              <a:ext uri="{FF2B5EF4-FFF2-40B4-BE49-F238E27FC236}">
                <a16:creationId xmlns:a16="http://schemas.microsoft.com/office/drawing/2014/main" id="{96832D66-A25D-46E9-B501-788954525DF3}"/>
              </a:ext>
            </a:extLst>
          </p:cNvPr>
          <p:cNvSpPr/>
          <p:nvPr/>
        </p:nvSpPr>
        <p:spPr>
          <a:xfrm>
            <a:off x="5984776" y="2365334"/>
            <a:ext cx="5398008" cy="408800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2" name="Rectangle 59">
            <a:extLst>
              <a:ext uri="{FF2B5EF4-FFF2-40B4-BE49-F238E27FC236}">
                <a16:creationId xmlns:a16="http://schemas.microsoft.com/office/drawing/2014/main" id="{0D4F4F88-3082-41BF-A064-34978E375745}"/>
              </a:ext>
            </a:extLst>
          </p:cNvPr>
          <p:cNvSpPr/>
          <p:nvPr/>
        </p:nvSpPr>
        <p:spPr>
          <a:xfrm>
            <a:off x="551384" y="2365334"/>
            <a:ext cx="5379818" cy="408800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3" name="Text Placeholder 9">
            <a:extLst>
              <a:ext uri="{FF2B5EF4-FFF2-40B4-BE49-F238E27FC236}">
                <a16:creationId xmlns:a16="http://schemas.microsoft.com/office/drawing/2014/main" id="{065B586F-4336-4395-AB63-A4A7CE7F7AD6}"/>
              </a:ext>
            </a:extLst>
          </p:cNvPr>
          <p:cNvSpPr txBox="1">
            <a:spLocks/>
          </p:cNvSpPr>
          <p:nvPr/>
        </p:nvSpPr>
        <p:spPr>
          <a:xfrm>
            <a:off x="862790" y="3037919"/>
            <a:ext cx="4873170" cy="645047"/>
          </a:xfrm>
          <a:prstGeom prst="rect">
            <a:avLst/>
          </a:prstGeom>
          <a:noFill/>
        </p:spPr>
        <p:txBody>
          <a:bodyPr vert="horz" lIns="0" tIns="0" rIns="0" bIns="0" rtlCol="0" anchor="ctr">
            <a:noAutofit/>
          </a:bodyPr>
          <a:lstStyle/>
          <a:p>
            <a:pPr lvl="0">
              <a:lnSpc>
                <a:spcPct val="90000"/>
              </a:lnSpc>
              <a:spcBef>
                <a:spcPts val="1000"/>
              </a:spcBef>
              <a:defRPr/>
            </a:pPr>
            <a:r>
              <a:rPr kumimoji="0" lang="pt-PT" b="1" i="0" u="none" strike="noStrike" kern="1200" cap="none" spc="0" normalizeH="0" baseline="0" noProof="0" dirty="0">
                <a:ln>
                  <a:noFill/>
                </a:ln>
                <a:solidFill>
                  <a:srgbClr val="12ABDB"/>
                </a:solidFill>
                <a:effectLst/>
                <a:uLnTx/>
                <a:uFillTx/>
                <a:latin typeface="Verdana" panose="020B0604030504040204" pitchFamily="34" charset="0"/>
                <a:ea typeface="Verdana" panose="020B0604030504040204" pitchFamily="34" charset="0"/>
                <a:cs typeface="Verdana" panose="020B0604030504040204" pitchFamily="34" charset="0"/>
              </a:rPr>
              <a:t>switch statement</a:t>
            </a:r>
          </a:p>
        </p:txBody>
      </p:sp>
      <p:sp>
        <p:nvSpPr>
          <p:cNvPr id="25" name="Text Placeholder 9">
            <a:extLst>
              <a:ext uri="{FF2B5EF4-FFF2-40B4-BE49-F238E27FC236}">
                <a16:creationId xmlns:a16="http://schemas.microsoft.com/office/drawing/2014/main" id="{5482796E-16AC-4D98-AC33-23544130E06E}"/>
              </a:ext>
            </a:extLst>
          </p:cNvPr>
          <p:cNvSpPr txBox="1">
            <a:spLocks/>
          </p:cNvSpPr>
          <p:nvPr/>
        </p:nvSpPr>
        <p:spPr>
          <a:xfrm>
            <a:off x="6223901" y="3037919"/>
            <a:ext cx="5105309" cy="645047"/>
          </a:xfrm>
          <a:prstGeom prst="rect">
            <a:avLst/>
          </a:prstGeom>
          <a:noFill/>
        </p:spPr>
        <p:txBody>
          <a:bodyPr vert="horz" lIns="0" tIns="0" rIns="0" bIns="0" rtlCol="0" anchor="ctr">
            <a:noAutofit/>
          </a:bodyPr>
          <a:lstStyle/>
          <a:p>
            <a:pPr lvl="0">
              <a:lnSpc>
                <a:spcPct val="90000"/>
              </a:lnSpc>
              <a:spcBef>
                <a:spcPts val="1000"/>
              </a:spcBef>
              <a:defRPr/>
            </a:pPr>
            <a:r>
              <a:rPr lang="pt-PT" b="1" dirty="0">
                <a:solidFill>
                  <a:srgbClr val="CC2980"/>
                </a:solidFill>
                <a:latin typeface="Verdana" panose="020B0604030504040204" pitchFamily="34" charset="0"/>
                <a:ea typeface="Verdana" panose="020B0604030504040204" pitchFamily="34" charset="0"/>
                <a:cs typeface="Verdana" panose="020B0604030504040204" pitchFamily="34" charset="0"/>
              </a:rPr>
              <a:t>switch expression</a:t>
            </a:r>
          </a:p>
        </p:txBody>
      </p:sp>
      <p:sp>
        <p:nvSpPr>
          <p:cNvPr id="29" name="Freeform 20">
            <a:extLst>
              <a:ext uri="{FF2B5EF4-FFF2-40B4-BE49-F238E27FC236}">
                <a16:creationId xmlns:a16="http://schemas.microsoft.com/office/drawing/2014/main" id="{FA0AA1D8-180E-4E78-A817-65062F069290}"/>
              </a:ext>
            </a:extLst>
          </p:cNvPr>
          <p:cNvSpPr>
            <a:spLocks/>
          </p:cNvSpPr>
          <p:nvPr/>
        </p:nvSpPr>
        <p:spPr bwMode="auto">
          <a:xfrm>
            <a:off x="5591944" y="1702869"/>
            <a:ext cx="1330762" cy="1244311"/>
          </a:xfrm>
          <a:custGeom>
            <a:avLst/>
            <a:gdLst>
              <a:gd name="T0" fmla="*/ 101 w 701"/>
              <a:gd name="T1" fmla="*/ 513 h 655"/>
              <a:gd name="T2" fmla="*/ 168 w 701"/>
              <a:gd name="T3" fmla="*/ 98 h 655"/>
              <a:gd name="T4" fmla="*/ 600 w 701"/>
              <a:gd name="T5" fmla="*/ 159 h 655"/>
              <a:gd name="T6" fmla="*/ 522 w 701"/>
              <a:gd name="T7" fmla="*/ 558 h 655"/>
              <a:gd name="T8" fmla="*/ 101 w 701"/>
              <a:gd name="T9" fmla="*/ 513 h 655"/>
            </a:gdLst>
            <a:ahLst/>
            <a:cxnLst>
              <a:cxn ang="0">
                <a:pos x="T0" y="T1"/>
              </a:cxn>
              <a:cxn ang="0">
                <a:pos x="T2" y="T3"/>
              </a:cxn>
              <a:cxn ang="0">
                <a:pos x="T4" y="T5"/>
              </a:cxn>
              <a:cxn ang="0">
                <a:pos x="T6" y="T7"/>
              </a:cxn>
              <a:cxn ang="0">
                <a:pos x="T8" y="T9"/>
              </a:cxn>
            </a:cxnLst>
            <a:rect l="0" t="0" r="r" b="b"/>
            <a:pathLst>
              <a:path w="701" h="655">
                <a:moveTo>
                  <a:pt x="101" y="513"/>
                </a:moveTo>
                <a:cubicBezTo>
                  <a:pt x="0" y="381"/>
                  <a:pt x="30" y="196"/>
                  <a:pt x="168" y="98"/>
                </a:cubicBezTo>
                <a:cubicBezTo>
                  <a:pt x="306" y="0"/>
                  <a:pt x="500" y="28"/>
                  <a:pt x="600" y="159"/>
                </a:cubicBezTo>
                <a:cubicBezTo>
                  <a:pt x="701" y="290"/>
                  <a:pt x="660" y="460"/>
                  <a:pt x="522" y="558"/>
                </a:cubicBezTo>
                <a:cubicBezTo>
                  <a:pt x="384" y="655"/>
                  <a:pt x="202" y="644"/>
                  <a:pt x="101" y="513"/>
                </a:cubicBezTo>
              </a:path>
            </a:pathLst>
          </a:custGeom>
          <a:solidFill>
            <a:srgbClr val="CC298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algn="ctr"/>
            <a:endParaRPr lang="pt-PT" b="1" dirty="0">
              <a:solidFill>
                <a:srgbClr val="CC2980"/>
              </a:solidFill>
            </a:endParaRPr>
          </a:p>
        </p:txBody>
      </p:sp>
      <p:sp>
        <p:nvSpPr>
          <p:cNvPr id="31" name="Freeform 31">
            <a:extLst>
              <a:ext uri="{FF2B5EF4-FFF2-40B4-BE49-F238E27FC236}">
                <a16:creationId xmlns:a16="http://schemas.microsoft.com/office/drawing/2014/main" id="{E70AE2A5-70B2-40C0-8459-667EC17E0257}"/>
              </a:ext>
            </a:extLst>
          </p:cNvPr>
          <p:cNvSpPr>
            <a:spLocks/>
          </p:cNvSpPr>
          <p:nvPr/>
        </p:nvSpPr>
        <p:spPr bwMode="auto">
          <a:xfrm>
            <a:off x="353137" y="1675813"/>
            <a:ext cx="1359985" cy="1271367"/>
          </a:xfrm>
          <a:custGeom>
            <a:avLst/>
            <a:gdLst>
              <a:gd name="T0" fmla="*/ 207 w 1442"/>
              <a:gd name="T1" fmla="*/ 1053 h 1347"/>
              <a:gd name="T2" fmla="*/ 346 w 1442"/>
              <a:gd name="T3" fmla="*/ 201 h 1347"/>
              <a:gd name="T4" fmla="*/ 1235 w 1442"/>
              <a:gd name="T5" fmla="*/ 326 h 1347"/>
              <a:gd name="T6" fmla="*/ 1073 w 1442"/>
              <a:gd name="T7" fmla="*/ 1147 h 1347"/>
              <a:gd name="T8" fmla="*/ 207 w 1442"/>
              <a:gd name="T9" fmla="*/ 1053 h 1347"/>
            </a:gdLst>
            <a:ahLst/>
            <a:cxnLst>
              <a:cxn ang="0">
                <a:pos x="T0" y="T1"/>
              </a:cxn>
              <a:cxn ang="0">
                <a:pos x="T2" y="T3"/>
              </a:cxn>
              <a:cxn ang="0">
                <a:pos x="T4" y="T5"/>
              </a:cxn>
              <a:cxn ang="0">
                <a:pos x="T6" y="T7"/>
              </a:cxn>
              <a:cxn ang="0">
                <a:pos x="T8" y="T9"/>
              </a:cxn>
            </a:cxnLst>
            <a:rect l="0" t="0" r="r" b="b"/>
            <a:pathLst>
              <a:path w="1442" h="1347">
                <a:moveTo>
                  <a:pt x="207" y="1053"/>
                </a:moveTo>
                <a:cubicBezTo>
                  <a:pt x="0" y="783"/>
                  <a:pt x="62" y="401"/>
                  <a:pt x="346" y="201"/>
                </a:cubicBezTo>
                <a:cubicBezTo>
                  <a:pt x="629" y="0"/>
                  <a:pt x="1028" y="56"/>
                  <a:pt x="1235" y="326"/>
                </a:cubicBezTo>
                <a:cubicBezTo>
                  <a:pt x="1442" y="596"/>
                  <a:pt x="1357" y="946"/>
                  <a:pt x="1073" y="1147"/>
                </a:cubicBezTo>
                <a:cubicBezTo>
                  <a:pt x="790" y="1347"/>
                  <a:pt x="415" y="1324"/>
                  <a:pt x="207" y="1053"/>
                </a:cubicBezTo>
              </a:path>
            </a:pathLst>
          </a:custGeom>
          <a:solidFill>
            <a:srgbClr val="0070AD"/>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dirty="0"/>
          </a:p>
        </p:txBody>
      </p:sp>
      <p:pic>
        <p:nvPicPr>
          <p:cNvPr id="3" name="Obraz 2">
            <a:extLst>
              <a:ext uri="{FF2B5EF4-FFF2-40B4-BE49-F238E27FC236}">
                <a16:creationId xmlns:a16="http://schemas.microsoft.com/office/drawing/2014/main" id="{2EBD539C-7419-47D5-9ED2-AFDD8A6B26A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51383" y="3609645"/>
            <a:ext cx="4215680" cy="2817020"/>
          </a:xfrm>
          <a:prstGeom prst="rect">
            <a:avLst/>
          </a:prstGeom>
        </p:spPr>
      </p:pic>
      <p:pic>
        <p:nvPicPr>
          <p:cNvPr id="8" name="Obraz 7">
            <a:extLst>
              <a:ext uri="{FF2B5EF4-FFF2-40B4-BE49-F238E27FC236}">
                <a16:creationId xmlns:a16="http://schemas.microsoft.com/office/drawing/2014/main" id="{885AAA03-8505-44F7-ACB8-8B6C796FB55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984776" y="3609645"/>
            <a:ext cx="4215680" cy="2817020"/>
          </a:xfrm>
          <a:prstGeom prst="rect">
            <a:avLst/>
          </a:prstGeom>
        </p:spPr>
      </p:pic>
    </p:spTree>
    <p:extLst>
      <p:ext uri="{BB962C8B-B14F-4D97-AF65-F5344CB8AC3E}">
        <p14:creationId xmlns:p14="http://schemas.microsoft.com/office/powerpoint/2010/main" val="3800005292"/>
      </p:ext>
    </p:extLst>
  </p:cSld>
  <p:clrMapOvr>
    <a:masterClrMapping/>
  </p:clrMapOvr>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ytuł 3">
            <a:extLst>
              <a:ext uri="{FF2B5EF4-FFF2-40B4-BE49-F238E27FC236}">
                <a16:creationId xmlns:a16="http://schemas.microsoft.com/office/drawing/2014/main" id="{BE6E47FB-5E55-45DB-B712-E4993D47A776}"/>
              </a:ext>
            </a:extLst>
          </p:cNvPr>
          <p:cNvSpPr>
            <a:spLocks noGrp="1"/>
          </p:cNvSpPr>
          <p:nvPr>
            <p:ph type="title"/>
          </p:nvPr>
        </p:nvSpPr>
        <p:spPr/>
        <p:txBody>
          <a:bodyPr/>
          <a:lstStyle/>
          <a:p>
            <a:r>
              <a:rPr lang="en-US" sz="3200" dirty="0"/>
              <a:t>Switch expressions</a:t>
            </a:r>
          </a:p>
        </p:txBody>
      </p:sp>
      <p:sp>
        <p:nvSpPr>
          <p:cNvPr id="6" name="Symbol zastępczy tekstu 5">
            <a:extLst>
              <a:ext uri="{FF2B5EF4-FFF2-40B4-BE49-F238E27FC236}">
                <a16:creationId xmlns:a16="http://schemas.microsoft.com/office/drawing/2014/main" id="{1302AB4B-7554-47F7-BBCD-39BD33559A94}"/>
              </a:ext>
            </a:extLst>
          </p:cNvPr>
          <p:cNvSpPr>
            <a:spLocks noGrp="1"/>
          </p:cNvSpPr>
          <p:nvPr>
            <p:ph type="body" sz="quarter" idx="11"/>
          </p:nvPr>
        </p:nvSpPr>
        <p:spPr/>
        <p:txBody>
          <a:bodyPr/>
          <a:lstStyle/>
          <a:p>
            <a:r>
              <a:rPr lang="en-US" dirty="0"/>
              <a:t>C# 8.0 – positional pattern</a:t>
            </a:r>
          </a:p>
        </p:txBody>
      </p:sp>
      <p:sp>
        <p:nvSpPr>
          <p:cNvPr id="7" name="Symbol zastępczy tekstu 6">
            <a:extLst>
              <a:ext uri="{FF2B5EF4-FFF2-40B4-BE49-F238E27FC236}">
                <a16:creationId xmlns:a16="http://schemas.microsoft.com/office/drawing/2014/main" id="{5D8A2B1E-A86F-4A25-94A4-5CF446FD2951}"/>
              </a:ext>
            </a:extLst>
          </p:cNvPr>
          <p:cNvSpPr>
            <a:spLocks noGrp="1"/>
          </p:cNvSpPr>
          <p:nvPr>
            <p:ph type="body" sz="quarter" idx="12"/>
          </p:nvPr>
        </p:nvSpPr>
        <p:spPr/>
        <p:txBody>
          <a:bodyPr/>
          <a:lstStyle/>
          <a:p>
            <a:r>
              <a:rPr lang="en-US" dirty="0"/>
              <a:t>9</a:t>
            </a:r>
          </a:p>
        </p:txBody>
      </p:sp>
      <p:sp>
        <p:nvSpPr>
          <p:cNvPr id="22" name="Rectangle 59">
            <a:extLst>
              <a:ext uri="{FF2B5EF4-FFF2-40B4-BE49-F238E27FC236}">
                <a16:creationId xmlns:a16="http://schemas.microsoft.com/office/drawing/2014/main" id="{0D4F4F88-3082-41BF-A064-34978E375745}"/>
              </a:ext>
            </a:extLst>
          </p:cNvPr>
          <p:cNvSpPr/>
          <p:nvPr/>
        </p:nvSpPr>
        <p:spPr>
          <a:xfrm>
            <a:off x="551384" y="2365820"/>
            <a:ext cx="10831400" cy="358346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3" name="Text Placeholder 9">
            <a:extLst>
              <a:ext uri="{FF2B5EF4-FFF2-40B4-BE49-F238E27FC236}">
                <a16:creationId xmlns:a16="http://schemas.microsoft.com/office/drawing/2014/main" id="{065B586F-4336-4395-AB63-A4A7CE7F7AD6}"/>
              </a:ext>
            </a:extLst>
          </p:cNvPr>
          <p:cNvSpPr txBox="1">
            <a:spLocks/>
          </p:cNvSpPr>
          <p:nvPr/>
        </p:nvSpPr>
        <p:spPr>
          <a:xfrm>
            <a:off x="1911369" y="2366772"/>
            <a:ext cx="4873170" cy="645047"/>
          </a:xfrm>
          <a:prstGeom prst="rect">
            <a:avLst/>
          </a:prstGeom>
          <a:noFill/>
        </p:spPr>
        <p:txBody>
          <a:bodyPr vert="horz" lIns="0" tIns="0" rIns="0" bIns="0" rtlCol="0" anchor="ctr">
            <a:noAutofit/>
          </a:bodyPr>
          <a:lstStyle/>
          <a:p>
            <a:pPr lvl="0">
              <a:lnSpc>
                <a:spcPct val="90000"/>
              </a:lnSpc>
              <a:spcBef>
                <a:spcPts val="1000"/>
              </a:spcBef>
              <a:defRPr/>
            </a:pPr>
            <a:r>
              <a:rPr lang="pt-PT" b="1" dirty="0">
                <a:solidFill>
                  <a:srgbClr val="12ABDB"/>
                </a:solidFill>
                <a:latin typeface="Verdana" panose="020B0604030504040204" pitchFamily="34" charset="0"/>
                <a:ea typeface="Verdana" panose="020B0604030504040204" pitchFamily="34" charset="0"/>
                <a:cs typeface="Verdana" panose="020B0604030504040204" pitchFamily="34" charset="0"/>
              </a:rPr>
              <a:t>Positional pattern</a:t>
            </a:r>
            <a:endParaRPr kumimoji="0" lang="pt-PT" b="1" i="0" u="none" strike="noStrike" kern="1200" cap="none" spc="0" normalizeH="0" baseline="0" noProof="0" dirty="0">
              <a:ln>
                <a:noFill/>
              </a:ln>
              <a:solidFill>
                <a:srgbClr val="12ABDB"/>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31" name="Freeform 31">
            <a:extLst>
              <a:ext uri="{FF2B5EF4-FFF2-40B4-BE49-F238E27FC236}">
                <a16:creationId xmlns:a16="http://schemas.microsoft.com/office/drawing/2014/main" id="{E70AE2A5-70B2-40C0-8459-667EC17E0257}"/>
              </a:ext>
            </a:extLst>
          </p:cNvPr>
          <p:cNvSpPr>
            <a:spLocks/>
          </p:cNvSpPr>
          <p:nvPr/>
        </p:nvSpPr>
        <p:spPr bwMode="auto">
          <a:xfrm>
            <a:off x="353137" y="1675813"/>
            <a:ext cx="1359985" cy="1271367"/>
          </a:xfrm>
          <a:custGeom>
            <a:avLst/>
            <a:gdLst>
              <a:gd name="T0" fmla="*/ 207 w 1442"/>
              <a:gd name="T1" fmla="*/ 1053 h 1347"/>
              <a:gd name="T2" fmla="*/ 346 w 1442"/>
              <a:gd name="T3" fmla="*/ 201 h 1347"/>
              <a:gd name="T4" fmla="*/ 1235 w 1442"/>
              <a:gd name="T5" fmla="*/ 326 h 1347"/>
              <a:gd name="T6" fmla="*/ 1073 w 1442"/>
              <a:gd name="T7" fmla="*/ 1147 h 1347"/>
              <a:gd name="T8" fmla="*/ 207 w 1442"/>
              <a:gd name="T9" fmla="*/ 1053 h 1347"/>
            </a:gdLst>
            <a:ahLst/>
            <a:cxnLst>
              <a:cxn ang="0">
                <a:pos x="T0" y="T1"/>
              </a:cxn>
              <a:cxn ang="0">
                <a:pos x="T2" y="T3"/>
              </a:cxn>
              <a:cxn ang="0">
                <a:pos x="T4" y="T5"/>
              </a:cxn>
              <a:cxn ang="0">
                <a:pos x="T6" y="T7"/>
              </a:cxn>
              <a:cxn ang="0">
                <a:pos x="T8" y="T9"/>
              </a:cxn>
            </a:cxnLst>
            <a:rect l="0" t="0" r="r" b="b"/>
            <a:pathLst>
              <a:path w="1442" h="1347">
                <a:moveTo>
                  <a:pt x="207" y="1053"/>
                </a:moveTo>
                <a:cubicBezTo>
                  <a:pt x="0" y="783"/>
                  <a:pt x="62" y="401"/>
                  <a:pt x="346" y="201"/>
                </a:cubicBezTo>
                <a:cubicBezTo>
                  <a:pt x="629" y="0"/>
                  <a:pt x="1028" y="56"/>
                  <a:pt x="1235" y="326"/>
                </a:cubicBezTo>
                <a:cubicBezTo>
                  <a:pt x="1442" y="596"/>
                  <a:pt x="1357" y="946"/>
                  <a:pt x="1073" y="1147"/>
                </a:cubicBezTo>
                <a:cubicBezTo>
                  <a:pt x="790" y="1347"/>
                  <a:pt x="415" y="1324"/>
                  <a:pt x="207" y="1053"/>
                </a:cubicBezTo>
              </a:path>
            </a:pathLst>
          </a:custGeom>
          <a:solidFill>
            <a:srgbClr val="0070AD"/>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dirty="0"/>
          </a:p>
        </p:txBody>
      </p:sp>
      <p:pic>
        <p:nvPicPr>
          <p:cNvPr id="10" name="Obraz 9">
            <a:extLst>
              <a:ext uri="{FF2B5EF4-FFF2-40B4-BE49-F238E27FC236}">
                <a16:creationId xmlns:a16="http://schemas.microsoft.com/office/drawing/2014/main" id="{9FF39E1C-9D26-413E-8B20-5A35C67377D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967084" y="2831590"/>
            <a:ext cx="4787882" cy="3117689"/>
          </a:xfrm>
          <a:prstGeom prst="rect">
            <a:avLst/>
          </a:prstGeom>
        </p:spPr>
      </p:pic>
      <p:pic>
        <p:nvPicPr>
          <p:cNvPr id="12" name="Obraz 11">
            <a:extLst>
              <a:ext uri="{FF2B5EF4-FFF2-40B4-BE49-F238E27FC236}">
                <a16:creationId xmlns:a16="http://schemas.microsoft.com/office/drawing/2014/main" id="{ADED73BB-07B2-4B57-A6DE-7FBB019FD20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910285" y="3332646"/>
            <a:ext cx="2393941" cy="2616633"/>
          </a:xfrm>
          <a:prstGeom prst="rect">
            <a:avLst/>
          </a:prstGeom>
        </p:spPr>
      </p:pic>
    </p:spTree>
    <p:extLst>
      <p:ext uri="{BB962C8B-B14F-4D97-AF65-F5344CB8AC3E}">
        <p14:creationId xmlns:p14="http://schemas.microsoft.com/office/powerpoint/2010/main" val="2464667556"/>
      </p:ext>
    </p:extLst>
  </p:cSld>
  <p:clrMapOvr>
    <a:masterClrMapping/>
  </p:clrMapOvr>
</p:sld>
</file>

<file path=ppt/slides/slide1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ytuł 3">
            <a:extLst>
              <a:ext uri="{FF2B5EF4-FFF2-40B4-BE49-F238E27FC236}">
                <a16:creationId xmlns:a16="http://schemas.microsoft.com/office/drawing/2014/main" id="{BE6E47FB-5E55-45DB-B712-E4993D47A776}"/>
              </a:ext>
            </a:extLst>
          </p:cNvPr>
          <p:cNvSpPr>
            <a:spLocks noGrp="1"/>
          </p:cNvSpPr>
          <p:nvPr>
            <p:ph type="title"/>
          </p:nvPr>
        </p:nvSpPr>
        <p:spPr/>
        <p:txBody>
          <a:bodyPr/>
          <a:lstStyle/>
          <a:p>
            <a:r>
              <a:rPr lang="en-US" sz="3200" dirty="0"/>
              <a:t>Switch expressions</a:t>
            </a:r>
          </a:p>
        </p:txBody>
      </p:sp>
      <p:sp>
        <p:nvSpPr>
          <p:cNvPr id="6" name="Symbol zastępczy tekstu 5">
            <a:extLst>
              <a:ext uri="{FF2B5EF4-FFF2-40B4-BE49-F238E27FC236}">
                <a16:creationId xmlns:a16="http://schemas.microsoft.com/office/drawing/2014/main" id="{1302AB4B-7554-47F7-BBCD-39BD33559A94}"/>
              </a:ext>
            </a:extLst>
          </p:cNvPr>
          <p:cNvSpPr>
            <a:spLocks noGrp="1"/>
          </p:cNvSpPr>
          <p:nvPr>
            <p:ph type="body" sz="quarter" idx="11"/>
          </p:nvPr>
        </p:nvSpPr>
        <p:spPr/>
        <p:txBody>
          <a:bodyPr/>
          <a:lstStyle/>
          <a:p>
            <a:r>
              <a:rPr lang="en-US" dirty="0"/>
              <a:t>C# 8.0 – tuple pattern</a:t>
            </a:r>
          </a:p>
        </p:txBody>
      </p:sp>
      <p:sp>
        <p:nvSpPr>
          <p:cNvPr id="7" name="Symbol zastępczy tekstu 6">
            <a:extLst>
              <a:ext uri="{FF2B5EF4-FFF2-40B4-BE49-F238E27FC236}">
                <a16:creationId xmlns:a16="http://schemas.microsoft.com/office/drawing/2014/main" id="{5D8A2B1E-A86F-4A25-94A4-5CF446FD2951}"/>
              </a:ext>
            </a:extLst>
          </p:cNvPr>
          <p:cNvSpPr>
            <a:spLocks noGrp="1"/>
          </p:cNvSpPr>
          <p:nvPr>
            <p:ph type="body" sz="quarter" idx="12"/>
          </p:nvPr>
        </p:nvSpPr>
        <p:spPr/>
        <p:txBody>
          <a:bodyPr/>
          <a:lstStyle/>
          <a:p>
            <a:r>
              <a:rPr lang="en-US" dirty="0"/>
              <a:t>10</a:t>
            </a:r>
          </a:p>
        </p:txBody>
      </p:sp>
      <p:sp>
        <p:nvSpPr>
          <p:cNvPr id="14" name="Rectangle 59">
            <a:extLst>
              <a:ext uri="{FF2B5EF4-FFF2-40B4-BE49-F238E27FC236}">
                <a16:creationId xmlns:a16="http://schemas.microsoft.com/office/drawing/2014/main" id="{30E3B9B5-639B-4DF3-8E5B-5D9A8B3CC985}"/>
              </a:ext>
            </a:extLst>
          </p:cNvPr>
          <p:cNvSpPr/>
          <p:nvPr/>
        </p:nvSpPr>
        <p:spPr>
          <a:xfrm>
            <a:off x="5984776" y="2365334"/>
            <a:ext cx="5398008" cy="358346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5" name="Rectangle 59">
            <a:extLst>
              <a:ext uri="{FF2B5EF4-FFF2-40B4-BE49-F238E27FC236}">
                <a16:creationId xmlns:a16="http://schemas.microsoft.com/office/drawing/2014/main" id="{AE223F17-DC1C-417D-8128-0623AD25D633}"/>
              </a:ext>
            </a:extLst>
          </p:cNvPr>
          <p:cNvSpPr/>
          <p:nvPr/>
        </p:nvSpPr>
        <p:spPr>
          <a:xfrm>
            <a:off x="551384" y="2365334"/>
            <a:ext cx="5379818" cy="358346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6" name="Text Placeholder 9">
            <a:extLst>
              <a:ext uri="{FF2B5EF4-FFF2-40B4-BE49-F238E27FC236}">
                <a16:creationId xmlns:a16="http://schemas.microsoft.com/office/drawing/2014/main" id="{1FC08EE3-A997-40A2-8335-5E8C2533F466}"/>
              </a:ext>
            </a:extLst>
          </p:cNvPr>
          <p:cNvSpPr txBox="1">
            <a:spLocks/>
          </p:cNvSpPr>
          <p:nvPr/>
        </p:nvSpPr>
        <p:spPr>
          <a:xfrm>
            <a:off x="862790" y="3037919"/>
            <a:ext cx="4873170" cy="645047"/>
          </a:xfrm>
          <a:prstGeom prst="rect">
            <a:avLst/>
          </a:prstGeom>
          <a:noFill/>
        </p:spPr>
        <p:txBody>
          <a:bodyPr vert="horz" lIns="0" tIns="0" rIns="0" bIns="0" rtlCol="0" anchor="ctr">
            <a:noAutofit/>
          </a:bodyPr>
          <a:lstStyle/>
          <a:p>
            <a:pPr lvl="0">
              <a:lnSpc>
                <a:spcPct val="90000"/>
              </a:lnSpc>
              <a:spcBef>
                <a:spcPts val="1000"/>
              </a:spcBef>
              <a:defRPr/>
            </a:pPr>
            <a:r>
              <a:rPr lang="pt-PT" b="1" dirty="0">
                <a:solidFill>
                  <a:srgbClr val="12ABDB"/>
                </a:solidFill>
                <a:latin typeface="Verdana" panose="020B0604030504040204" pitchFamily="34" charset="0"/>
                <a:ea typeface="Verdana" panose="020B0604030504040204" pitchFamily="34" charset="0"/>
                <a:cs typeface="Verdana" panose="020B0604030504040204" pitchFamily="34" charset="0"/>
              </a:rPr>
              <a:t>if null</a:t>
            </a:r>
            <a:endParaRPr kumimoji="0" lang="pt-PT" b="1" i="0" u="none" strike="noStrike" kern="1200" cap="none" spc="0" normalizeH="0" baseline="0" noProof="0" dirty="0">
              <a:ln>
                <a:noFill/>
              </a:ln>
              <a:solidFill>
                <a:srgbClr val="12ABDB"/>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17" name="Text Placeholder 9">
            <a:extLst>
              <a:ext uri="{FF2B5EF4-FFF2-40B4-BE49-F238E27FC236}">
                <a16:creationId xmlns:a16="http://schemas.microsoft.com/office/drawing/2014/main" id="{3B70ABB0-43CF-4106-8B09-6564A1DB7CC6}"/>
              </a:ext>
            </a:extLst>
          </p:cNvPr>
          <p:cNvSpPr txBox="1">
            <a:spLocks/>
          </p:cNvSpPr>
          <p:nvPr/>
        </p:nvSpPr>
        <p:spPr>
          <a:xfrm>
            <a:off x="6223901" y="3037919"/>
            <a:ext cx="5105309" cy="645047"/>
          </a:xfrm>
          <a:prstGeom prst="rect">
            <a:avLst/>
          </a:prstGeom>
          <a:noFill/>
        </p:spPr>
        <p:txBody>
          <a:bodyPr vert="horz" lIns="0" tIns="0" rIns="0" bIns="0" rtlCol="0" anchor="ctr">
            <a:noAutofit/>
          </a:bodyPr>
          <a:lstStyle/>
          <a:p>
            <a:pPr lvl="0">
              <a:lnSpc>
                <a:spcPct val="90000"/>
              </a:lnSpc>
              <a:spcBef>
                <a:spcPts val="1000"/>
              </a:spcBef>
              <a:defRPr/>
            </a:pPr>
            <a:r>
              <a:rPr lang="pt-PT" b="1" dirty="0">
                <a:solidFill>
                  <a:srgbClr val="CC2980"/>
                </a:solidFill>
                <a:latin typeface="Verdana" panose="020B0604030504040204" pitchFamily="34" charset="0"/>
                <a:ea typeface="Verdana" panose="020B0604030504040204" pitchFamily="34" charset="0"/>
                <a:cs typeface="Verdana" panose="020B0604030504040204" pitchFamily="34" charset="0"/>
              </a:rPr>
              <a:t>case var</a:t>
            </a:r>
          </a:p>
        </p:txBody>
      </p:sp>
      <p:sp>
        <p:nvSpPr>
          <p:cNvPr id="18" name="Freeform 20">
            <a:extLst>
              <a:ext uri="{FF2B5EF4-FFF2-40B4-BE49-F238E27FC236}">
                <a16:creationId xmlns:a16="http://schemas.microsoft.com/office/drawing/2014/main" id="{15E4E096-8383-471E-8E52-B3E2975121DD}"/>
              </a:ext>
            </a:extLst>
          </p:cNvPr>
          <p:cNvSpPr>
            <a:spLocks/>
          </p:cNvSpPr>
          <p:nvPr/>
        </p:nvSpPr>
        <p:spPr bwMode="auto">
          <a:xfrm>
            <a:off x="5591944" y="1702869"/>
            <a:ext cx="1330762" cy="1244311"/>
          </a:xfrm>
          <a:custGeom>
            <a:avLst/>
            <a:gdLst>
              <a:gd name="T0" fmla="*/ 101 w 701"/>
              <a:gd name="T1" fmla="*/ 513 h 655"/>
              <a:gd name="T2" fmla="*/ 168 w 701"/>
              <a:gd name="T3" fmla="*/ 98 h 655"/>
              <a:gd name="T4" fmla="*/ 600 w 701"/>
              <a:gd name="T5" fmla="*/ 159 h 655"/>
              <a:gd name="T6" fmla="*/ 522 w 701"/>
              <a:gd name="T7" fmla="*/ 558 h 655"/>
              <a:gd name="T8" fmla="*/ 101 w 701"/>
              <a:gd name="T9" fmla="*/ 513 h 655"/>
            </a:gdLst>
            <a:ahLst/>
            <a:cxnLst>
              <a:cxn ang="0">
                <a:pos x="T0" y="T1"/>
              </a:cxn>
              <a:cxn ang="0">
                <a:pos x="T2" y="T3"/>
              </a:cxn>
              <a:cxn ang="0">
                <a:pos x="T4" y="T5"/>
              </a:cxn>
              <a:cxn ang="0">
                <a:pos x="T6" y="T7"/>
              </a:cxn>
              <a:cxn ang="0">
                <a:pos x="T8" y="T9"/>
              </a:cxn>
            </a:cxnLst>
            <a:rect l="0" t="0" r="r" b="b"/>
            <a:pathLst>
              <a:path w="701" h="655">
                <a:moveTo>
                  <a:pt x="101" y="513"/>
                </a:moveTo>
                <a:cubicBezTo>
                  <a:pt x="0" y="381"/>
                  <a:pt x="30" y="196"/>
                  <a:pt x="168" y="98"/>
                </a:cubicBezTo>
                <a:cubicBezTo>
                  <a:pt x="306" y="0"/>
                  <a:pt x="500" y="28"/>
                  <a:pt x="600" y="159"/>
                </a:cubicBezTo>
                <a:cubicBezTo>
                  <a:pt x="701" y="290"/>
                  <a:pt x="660" y="460"/>
                  <a:pt x="522" y="558"/>
                </a:cubicBezTo>
                <a:cubicBezTo>
                  <a:pt x="384" y="655"/>
                  <a:pt x="202" y="644"/>
                  <a:pt x="101" y="513"/>
                </a:cubicBezTo>
              </a:path>
            </a:pathLst>
          </a:custGeom>
          <a:solidFill>
            <a:srgbClr val="CC298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algn="ctr"/>
            <a:endParaRPr lang="pt-PT" b="1" dirty="0">
              <a:solidFill>
                <a:srgbClr val="CC2980"/>
              </a:solidFill>
            </a:endParaRPr>
          </a:p>
        </p:txBody>
      </p:sp>
      <p:sp>
        <p:nvSpPr>
          <p:cNvPr id="19" name="Freeform 31">
            <a:extLst>
              <a:ext uri="{FF2B5EF4-FFF2-40B4-BE49-F238E27FC236}">
                <a16:creationId xmlns:a16="http://schemas.microsoft.com/office/drawing/2014/main" id="{D7B94B82-9867-436D-A8A0-FD22DF92F439}"/>
              </a:ext>
            </a:extLst>
          </p:cNvPr>
          <p:cNvSpPr>
            <a:spLocks/>
          </p:cNvSpPr>
          <p:nvPr/>
        </p:nvSpPr>
        <p:spPr bwMode="auto">
          <a:xfrm>
            <a:off x="353137" y="1675813"/>
            <a:ext cx="1359985" cy="1271367"/>
          </a:xfrm>
          <a:custGeom>
            <a:avLst/>
            <a:gdLst>
              <a:gd name="T0" fmla="*/ 207 w 1442"/>
              <a:gd name="T1" fmla="*/ 1053 h 1347"/>
              <a:gd name="T2" fmla="*/ 346 w 1442"/>
              <a:gd name="T3" fmla="*/ 201 h 1347"/>
              <a:gd name="T4" fmla="*/ 1235 w 1442"/>
              <a:gd name="T5" fmla="*/ 326 h 1347"/>
              <a:gd name="T6" fmla="*/ 1073 w 1442"/>
              <a:gd name="T7" fmla="*/ 1147 h 1347"/>
              <a:gd name="T8" fmla="*/ 207 w 1442"/>
              <a:gd name="T9" fmla="*/ 1053 h 1347"/>
            </a:gdLst>
            <a:ahLst/>
            <a:cxnLst>
              <a:cxn ang="0">
                <a:pos x="T0" y="T1"/>
              </a:cxn>
              <a:cxn ang="0">
                <a:pos x="T2" y="T3"/>
              </a:cxn>
              <a:cxn ang="0">
                <a:pos x="T4" y="T5"/>
              </a:cxn>
              <a:cxn ang="0">
                <a:pos x="T6" y="T7"/>
              </a:cxn>
              <a:cxn ang="0">
                <a:pos x="T8" y="T9"/>
              </a:cxn>
            </a:cxnLst>
            <a:rect l="0" t="0" r="r" b="b"/>
            <a:pathLst>
              <a:path w="1442" h="1347">
                <a:moveTo>
                  <a:pt x="207" y="1053"/>
                </a:moveTo>
                <a:cubicBezTo>
                  <a:pt x="0" y="783"/>
                  <a:pt x="62" y="401"/>
                  <a:pt x="346" y="201"/>
                </a:cubicBezTo>
                <a:cubicBezTo>
                  <a:pt x="629" y="0"/>
                  <a:pt x="1028" y="56"/>
                  <a:pt x="1235" y="326"/>
                </a:cubicBezTo>
                <a:cubicBezTo>
                  <a:pt x="1442" y="596"/>
                  <a:pt x="1357" y="946"/>
                  <a:pt x="1073" y="1147"/>
                </a:cubicBezTo>
                <a:cubicBezTo>
                  <a:pt x="790" y="1347"/>
                  <a:pt x="415" y="1324"/>
                  <a:pt x="207" y="1053"/>
                </a:cubicBezTo>
              </a:path>
            </a:pathLst>
          </a:custGeom>
          <a:solidFill>
            <a:srgbClr val="0070AD"/>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dirty="0"/>
          </a:p>
        </p:txBody>
      </p:sp>
      <p:pic>
        <p:nvPicPr>
          <p:cNvPr id="24" name="Obraz 23">
            <a:extLst>
              <a:ext uri="{FF2B5EF4-FFF2-40B4-BE49-F238E27FC236}">
                <a16:creationId xmlns:a16="http://schemas.microsoft.com/office/drawing/2014/main" id="{80FB6258-655D-4CF2-9C25-BCBDBF8699D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984776" y="3682966"/>
            <a:ext cx="5367807" cy="1934344"/>
          </a:xfrm>
          <a:prstGeom prst="rect">
            <a:avLst/>
          </a:prstGeom>
        </p:spPr>
      </p:pic>
      <p:pic>
        <p:nvPicPr>
          <p:cNvPr id="25" name="Obraz 24">
            <a:extLst>
              <a:ext uri="{FF2B5EF4-FFF2-40B4-BE49-F238E27FC236}">
                <a16:creationId xmlns:a16="http://schemas.microsoft.com/office/drawing/2014/main" id="{091BC582-DA4E-4839-9168-97950F6E380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51384" y="3682966"/>
            <a:ext cx="5367807" cy="1934344"/>
          </a:xfrm>
          <a:prstGeom prst="rect">
            <a:avLst/>
          </a:prstGeom>
        </p:spPr>
      </p:pic>
    </p:spTree>
    <p:extLst>
      <p:ext uri="{BB962C8B-B14F-4D97-AF65-F5344CB8AC3E}">
        <p14:creationId xmlns:p14="http://schemas.microsoft.com/office/powerpoint/2010/main" val="747415819"/>
      </p:ext>
    </p:extLst>
  </p:cSld>
  <p:clrMapOvr>
    <a:masterClrMapping/>
  </p:clrMapOvr>
</p:sld>
</file>

<file path=ppt/slides/slide1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pl-PL" dirty="0"/>
              <a:t>Agenda</a:t>
            </a:r>
            <a:endParaRPr lang="en-GB" dirty="0"/>
          </a:p>
        </p:txBody>
      </p:sp>
      <p:sp>
        <p:nvSpPr>
          <p:cNvPr id="5" name="Text Placeholder 4"/>
          <p:cNvSpPr>
            <a:spLocks noGrp="1"/>
          </p:cNvSpPr>
          <p:nvPr>
            <p:ph type="body" sz="quarter" idx="10"/>
          </p:nvPr>
        </p:nvSpPr>
        <p:spPr/>
        <p:txBody>
          <a:bodyPr/>
          <a:lstStyle/>
          <a:p>
            <a:pPr lvl="1"/>
            <a:r>
              <a:rPr lang="en-US" dirty="0">
                <a:solidFill>
                  <a:schemeClr val="bg1">
                    <a:lumMod val="95000"/>
                  </a:schemeClr>
                </a:solidFill>
              </a:rPr>
              <a:t>What’s new in C# 8.0</a:t>
            </a:r>
          </a:p>
          <a:p>
            <a:pPr lvl="2"/>
            <a:r>
              <a:rPr lang="en-US" dirty="0">
                <a:solidFill>
                  <a:schemeClr val="bg1">
                    <a:lumMod val="95000"/>
                  </a:schemeClr>
                </a:solidFill>
              </a:rPr>
              <a:t>Nullable reference types,</a:t>
            </a:r>
          </a:p>
          <a:p>
            <a:pPr lvl="2"/>
            <a:r>
              <a:rPr lang="en-US" dirty="0">
                <a:solidFill>
                  <a:schemeClr val="bg1">
                    <a:lumMod val="95000"/>
                  </a:schemeClr>
                </a:solidFill>
              </a:rPr>
              <a:t>async streams,</a:t>
            </a:r>
          </a:p>
          <a:p>
            <a:pPr lvl="2"/>
            <a:r>
              <a:rPr lang="en-US" dirty="0">
                <a:solidFill>
                  <a:schemeClr val="bg1">
                    <a:lumMod val="95000"/>
                  </a:schemeClr>
                </a:solidFill>
              </a:rPr>
              <a:t>ranges and indices,</a:t>
            </a:r>
          </a:p>
          <a:p>
            <a:pPr lvl="2"/>
            <a:r>
              <a:rPr lang="en-US" dirty="0">
                <a:solidFill>
                  <a:schemeClr val="bg1">
                    <a:lumMod val="95000"/>
                  </a:schemeClr>
                </a:solidFill>
              </a:rPr>
              <a:t>default interface members,</a:t>
            </a:r>
          </a:p>
          <a:p>
            <a:pPr lvl="2"/>
            <a:r>
              <a:rPr lang="en-US" dirty="0">
                <a:solidFill>
                  <a:schemeClr val="bg1">
                    <a:lumMod val="95000"/>
                  </a:schemeClr>
                </a:solidFill>
              </a:rPr>
              <a:t>recursive patterns,</a:t>
            </a:r>
          </a:p>
          <a:p>
            <a:pPr lvl="2"/>
            <a:r>
              <a:rPr lang="en-US" dirty="0">
                <a:solidFill>
                  <a:schemeClr val="bg1">
                    <a:lumMod val="95000"/>
                  </a:schemeClr>
                </a:solidFill>
              </a:rPr>
              <a:t>switch expressions,</a:t>
            </a:r>
          </a:p>
          <a:p>
            <a:pPr lvl="2"/>
            <a:r>
              <a:rPr lang="en-US" dirty="0">
                <a:solidFill>
                  <a:schemeClr val="bg1">
                    <a:lumMod val="95000"/>
                  </a:schemeClr>
                </a:solidFill>
              </a:rPr>
              <a:t>target-typed new-expressions,</a:t>
            </a:r>
          </a:p>
          <a:p>
            <a:pPr lvl="2"/>
            <a:r>
              <a:rPr lang="en-US" dirty="0">
                <a:solidFill>
                  <a:schemeClr val="bg1">
                    <a:lumMod val="95000"/>
                  </a:schemeClr>
                </a:solidFill>
              </a:rPr>
              <a:t>extension everything,</a:t>
            </a:r>
          </a:p>
          <a:p>
            <a:pPr lvl="2"/>
            <a:r>
              <a:rPr lang="en-US" dirty="0">
                <a:solidFill>
                  <a:schemeClr val="bg1">
                    <a:lumMod val="95000"/>
                  </a:schemeClr>
                </a:solidFill>
              </a:rPr>
              <a:t>using declarations.</a:t>
            </a:r>
            <a:endParaRPr lang="en-GB" dirty="0">
              <a:solidFill>
                <a:schemeClr val="bg1">
                  <a:lumMod val="95000"/>
                </a:schemeClr>
              </a:solidFill>
            </a:endParaRPr>
          </a:p>
          <a:p>
            <a:pPr lvl="2"/>
            <a:endParaRPr lang="en-GB" dirty="0">
              <a:solidFill>
                <a:schemeClr val="bg1">
                  <a:lumMod val="95000"/>
                </a:schemeClr>
              </a:solidFill>
            </a:endParaRPr>
          </a:p>
        </p:txBody>
      </p:sp>
      <p:sp>
        <p:nvSpPr>
          <p:cNvPr id="6" name="Text Placeholder 5"/>
          <p:cNvSpPr>
            <a:spLocks noGrp="1"/>
          </p:cNvSpPr>
          <p:nvPr>
            <p:ph type="body" sz="quarter" idx="11"/>
          </p:nvPr>
        </p:nvSpPr>
        <p:spPr/>
        <p:txBody>
          <a:bodyPr/>
          <a:lstStyle/>
          <a:p>
            <a:r>
              <a:rPr lang="en-US" dirty="0"/>
              <a:t>We are going to talk about…</a:t>
            </a:r>
          </a:p>
        </p:txBody>
      </p:sp>
      <p:sp>
        <p:nvSpPr>
          <p:cNvPr id="7" name="Text Placeholder 4">
            <a:extLst>
              <a:ext uri="{FF2B5EF4-FFF2-40B4-BE49-F238E27FC236}">
                <a16:creationId xmlns:a16="http://schemas.microsoft.com/office/drawing/2014/main" id="{63765791-BF79-472B-ACEA-FA2DB95D860D}"/>
              </a:ext>
            </a:extLst>
          </p:cNvPr>
          <p:cNvSpPr txBox="1">
            <a:spLocks/>
          </p:cNvSpPr>
          <p:nvPr/>
        </p:nvSpPr>
        <p:spPr>
          <a:xfrm>
            <a:off x="227348" y="1815351"/>
            <a:ext cx="11700000" cy="4466201"/>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r>
              <a:rPr lang="en-US" dirty="0"/>
              <a:t>What’s new in C# 8.0</a:t>
            </a:r>
          </a:p>
          <a:p>
            <a:pPr lvl="2"/>
            <a:r>
              <a:rPr lang="en-US" dirty="0"/>
              <a:t>Nullable reference types,</a:t>
            </a:r>
          </a:p>
          <a:p>
            <a:pPr lvl="2"/>
            <a:r>
              <a:rPr lang="en-US" dirty="0"/>
              <a:t>async streams,</a:t>
            </a:r>
          </a:p>
          <a:p>
            <a:pPr lvl="2"/>
            <a:r>
              <a:rPr lang="en-US" dirty="0"/>
              <a:t>ranges and indices,</a:t>
            </a:r>
          </a:p>
          <a:p>
            <a:pPr lvl="2"/>
            <a:r>
              <a:rPr lang="en-US" dirty="0"/>
              <a:t>default interface members,</a:t>
            </a:r>
          </a:p>
          <a:p>
            <a:pPr lvl="2"/>
            <a:r>
              <a:rPr lang="en-US" dirty="0"/>
              <a:t>recursive patterns,</a:t>
            </a:r>
          </a:p>
          <a:p>
            <a:pPr lvl="2"/>
            <a:r>
              <a:rPr lang="en-US" dirty="0"/>
              <a:t>switch expressions,</a:t>
            </a:r>
          </a:p>
          <a:p>
            <a:pPr lvl="2"/>
            <a:r>
              <a:rPr lang="en-US" dirty="0"/>
              <a:t>target-typed new-expressions,</a:t>
            </a:r>
          </a:p>
        </p:txBody>
      </p:sp>
    </p:spTree>
    <p:extLst>
      <p:ext uri="{BB962C8B-B14F-4D97-AF65-F5344CB8AC3E}">
        <p14:creationId xmlns:p14="http://schemas.microsoft.com/office/powerpoint/2010/main" val="374544361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
                                            <p:txEl>
                                              <p:pRg st="7" end="7"/>
                                            </p:txEl>
                                          </p:spTgt>
                                        </p:tgtEl>
                                        <p:attrNameLst>
                                          <p:attrName>style.visibility</p:attrName>
                                        </p:attrNameLst>
                                      </p:cBhvr>
                                      <p:to>
                                        <p:strVal val="visible"/>
                                      </p:to>
                                    </p:set>
                                    <p:animEffect transition="in" filter="fade">
                                      <p:cBhvr>
                                        <p:cTn id="7" dur="500"/>
                                        <p:tgtEl>
                                          <p:spTgt spid="7">
                                            <p:txEl>
                                              <p:pRg st="7" end="7"/>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1">
            <a:extLst>
              <a:ext uri="{FF2B5EF4-FFF2-40B4-BE49-F238E27FC236}">
                <a16:creationId xmlns:a16="http://schemas.microsoft.com/office/drawing/2014/main" id="{32B5666A-D1A8-4BE0-8141-9EEE0E25BB45}"/>
              </a:ext>
            </a:extLst>
          </p:cNvPr>
          <p:cNvSpPr>
            <a:spLocks noGrp="1"/>
          </p:cNvSpPr>
          <p:nvPr>
            <p:ph type="pic" sz="quarter" idx="10"/>
          </p:nvPr>
        </p:nvSpPr>
        <p:spPr/>
      </p:sp>
      <p:sp>
        <p:nvSpPr>
          <p:cNvPr id="6" name="Symbol zastępczy tekstu 5">
            <a:extLst>
              <a:ext uri="{FF2B5EF4-FFF2-40B4-BE49-F238E27FC236}">
                <a16:creationId xmlns:a16="http://schemas.microsoft.com/office/drawing/2014/main" id="{EC19D1F0-CA19-48E4-B6B7-FE7D3388EB92}"/>
              </a:ext>
            </a:extLst>
          </p:cNvPr>
          <p:cNvSpPr>
            <a:spLocks noGrp="1"/>
          </p:cNvSpPr>
          <p:nvPr>
            <p:ph type="body" sz="quarter" idx="11"/>
          </p:nvPr>
        </p:nvSpPr>
        <p:spPr/>
        <p:txBody>
          <a:bodyPr/>
          <a:lstStyle/>
          <a:p>
            <a:r>
              <a:rPr lang="en-US" dirty="0"/>
              <a:t>What’s new in C# 8.0</a:t>
            </a:r>
          </a:p>
          <a:p>
            <a:r>
              <a:rPr lang="en-US" sz="2400" dirty="0"/>
              <a:t>Target-typed new-expressions</a:t>
            </a:r>
          </a:p>
        </p:txBody>
      </p:sp>
      <p:sp>
        <p:nvSpPr>
          <p:cNvPr id="7" name="Freeform 37">
            <a:extLst>
              <a:ext uri="{FF2B5EF4-FFF2-40B4-BE49-F238E27FC236}">
                <a16:creationId xmlns:a16="http://schemas.microsoft.com/office/drawing/2014/main" id="{E361BA3E-AEE7-40D3-9A03-9487A03CD3D2}"/>
              </a:ext>
            </a:extLst>
          </p:cNvPr>
          <p:cNvSpPr>
            <a:spLocks/>
          </p:cNvSpPr>
          <p:nvPr/>
        </p:nvSpPr>
        <p:spPr bwMode="auto">
          <a:xfrm>
            <a:off x="8830800" y="3578400"/>
            <a:ext cx="844550" cy="793750"/>
          </a:xfrm>
          <a:custGeom>
            <a:avLst/>
            <a:gdLst>
              <a:gd name="T0" fmla="*/ 51 w 440"/>
              <a:gd name="T1" fmla="*/ 298 h 410"/>
              <a:gd name="T2" fmla="*/ 128 w 440"/>
              <a:gd name="T3" fmla="*/ 48 h 410"/>
              <a:gd name="T4" fmla="*/ 389 w 440"/>
              <a:gd name="T5" fmla="*/ 122 h 410"/>
              <a:gd name="T6" fmla="*/ 307 w 440"/>
              <a:gd name="T7" fmla="*/ 362 h 410"/>
              <a:gd name="T8" fmla="*/ 51 w 440"/>
              <a:gd name="T9" fmla="*/ 298 h 410"/>
            </a:gdLst>
            <a:ahLst/>
            <a:cxnLst>
              <a:cxn ang="0">
                <a:pos x="T0" y="T1"/>
              </a:cxn>
              <a:cxn ang="0">
                <a:pos x="T2" y="T3"/>
              </a:cxn>
              <a:cxn ang="0">
                <a:pos x="T4" y="T5"/>
              </a:cxn>
              <a:cxn ang="0">
                <a:pos x="T6" y="T7"/>
              </a:cxn>
              <a:cxn ang="0">
                <a:pos x="T8" y="T9"/>
              </a:cxn>
            </a:cxnLst>
            <a:rect l="0" t="0" r="r" b="b"/>
            <a:pathLst>
              <a:path w="440" h="410">
                <a:moveTo>
                  <a:pt x="51" y="298"/>
                </a:moveTo>
                <a:cubicBezTo>
                  <a:pt x="0" y="209"/>
                  <a:pt x="34" y="97"/>
                  <a:pt x="128" y="48"/>
                </a:cubicBezTo>
                <a:cubicBezTo>
                  <a:pt x="221" y="0"/>
                  <a:pt x="338" y="33"/>
                  <a:pt x="389" y="122"/>
                </a:cubicBezTo>
                <a:cubicBezTo>
                  <a:pt x="440" y="212"/>
                  <a:pt x="400" y="313"/>
                  <a:pt x="307" y="362"/>
                </a:cubicBezTo>
                <a:cubicBezTo>
                  <a:pt x="214" y="410"/>
                  <a:pt x="102" y="388"/>
                  <a:pt x="51" y="298"/>
                </a:cubicBezTo>
              </a:path>
            </a:pathLst>
          </a:custGeom>
          <a:solidFill>
            <a:srgbClr val="860864"/>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8" name="Oval 20">
            <a:extLst>
              <a:ext uri="{FF2B5EF4-FFF2-40B4-BE49-F238E27FC236}">
                <a16:creationId xmlns:a16="http://schemas.microsoft.com/office/drawing/2014/main" id="{7598E238-1436-4A21-B219-D44190EE3518}"/>
              </a:ext>
            </a:extLst>
          </p:cNvPr>
          <p:cNvSpPr/>
          <p:nvPr/>
        </p:nvSpPr>
        <p:spPr>
          <a:xfrm>
            <a:off x="6899617" y="3501008"/>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9" name="Oval 20">
            <a:extLst>
              <a:ext uri="{FF2B5EF4-FFF2-40B4-BE49-F238E27FC236}">
                <a16:creationId xmlns:a16="http://schemas.microsoft.com/office/drawing/2014/main" id="{A380547D-1F50-4C59-B502-90F2CA0406E7}"/>
              </a:ext>
            </a:extLst>
          </p:cNvPr>
          <p:cNvSpPr/>
          <p:nvPr/>
        </p:nvSpPr>
        <p:spPr>
          <a:xfrm>
            <a:off x="8904312" y="4263464"/>
            <a:ext cx="1356623" cy="128178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10" name="Group 9">
            <a:extLst>
              <a:ext uri="{FF2B5EF4-FFF2-40B4-BE49-F238E27FC236}">
                <a16:creationId xmlns:a16="http://schemas.microsoft.com/office/drawing/2014/main" id="{72FDF6C5-6E8C-491B-B893-C2C77CDA70E5}"/>
              </a:ext>
            </a:extLst>
          </p:cNvPr>
          <p:cNvGrpSpPr>
            <a:grpSpLocks noChangeAspect="1"/>
          </p:cNvGrpSpPr>
          <p:nvPr/>
        </p:nvGrpSpPr>
        <p:grpSpPr>
          <a:xfrm>
            <a:off x="7427891" y="3886953"/>
            <a:ext cx="995806" cy="1145392"/>
            <a:chOff x="-1809750" y="4141788"/>
            <a:chExt cx="369887" cy="425450"/>
          </a:xfrm>
        </p:grpSpPr>
        <p:sp>
          <p:nvSpPr>
            <p:cNvPr id="12" name="Freeform 6">
              <a:extLst>
                <a:ext uri="{FF2B5EF4-FFF2-40B4-BE49-F238E27FC236}">
                  <a16:creationId xmlns:a16="http://schemas.microsoft.com/office/drawing/2014/main" id="{CBF5A89D-CEC4-49FE-8889-72B217C8D567}"/>
                </a:ext>
              </a:extLst>
            </p:cNvPr>
            <p:cNvSpPr>
              <a:spLocks/>
            </p:cNvSpPr>
            <p:nvPr/>
          </p:nvSpPr>
          <p:spPr bwMode="auto">
            <a:xfrm>
              <a:off x="-1627188" y="4141788"/>
              <a:ext cx="7938" cy="79375"/>
            </a:xfrm>
            <a:custGeom>
              <a:avLst/>
              <a:gdLst>
                <a:gd name="T0" fmla="*/ 1 w 2"/>
                <a:gd name="T1" fmla="*/ 21 h 21"/>
                <a:gd name="T2" fmla="*/ 0 w 2"/>
                <a:gd name="T3" fmla="*/ 20 h 21"/>
                <a:gd name="T4" fmla="*/ 0 w 2"/>
                <a:gd name="T5" fmla="*/ 1 h 21"/>
                <a:gd name="T6" fmla="*/ 1 w 2"/>
                <a:gd name="T7" fmla="*/ 0 h 21"/>
                <a:gd name="T8" fmla="*/ 2 w 2"/>
                <a:gd name="T9" fmla="*/ 1 h 21"/>
                <a:gd name="T10" fmla="*/ 2 w 2"/>
                <a:gd name="T11" fmla="*/ 20 h 21"/>
                <a:gd name="T12" fmla="*/ 1 w 2"/>
                <a:gd name="T13" fmla="*/ 21 h 21"/>
              </a:gdLst>
              <a:ahLst/>
              <a:cxnLst>
                <a:cxn ang="0">
                  <a:pos x="T0" y="T1"/>
                </a:cxn>
                <a:cxn ang="0">
                  <a:pos x="T2" y="T3"/>
                </a:cxn>
                <a:cxn ang="0">
                  <a:pos x="T4" y="T5"/>
                </a:cxn>
                <a:cxn ang="0">
                  <a:pos x="T6" y="T7"/>
                </a:cxn>
                <a:cxn ang="0">
                  <a:pos x="T8" y="T9"/>
                </a:cxn>
                <a:cxn ang="0">
                  <a:pos x="T10" y="T11"/>
                </a:cxn>
                <a:cxn ang="0">
                  <a:pos x="T12" y="T13"/>
                </a:cxn>
              </a:cxnLst>
              <a:rect l="0" t="0" r="r" b="b"/>
              <a:pathLst>
                <a:path w="2" h="21">
                  <a:moveTo>
                    <a:pt x="1" y="21"/>
                  </a:moveTo>
                  <a:cubicBezTo>
                    <a:pt x="0" y="21"/>
                    <a:pt x="0" y="21"/>
                    <a:pt x="0" y="20"/>
                  </a:cubicBezTo>
                  <a:cubicBezTo>
                    <a:pt x="0" y="1"/>
                    <a:pt x="0" y="1"/>
                    <a:pt x="0" y="1"/>
                  </a:cubicBezTo>
                  <a:cubicBezTo>
                    <a:pt x="0" y="1"/>
                    <a:pt x="0" y="0"/>
                    <a:pt x="1" y="0"/>
                  </a:cubicBezTo>
                  <a:cubicBezTo>
                    <a:pt x="2" y="0"/>
                    <a:pt x="2" y="1"/>
                    <a:pt x="2" y="1"/>
                  </a:cubicBezTo>
                  <a:cubicBezTo>
                    <a:pt x="2" y="20"/>
                    <a:pt x="2" y="20"/>
                    <a:pt x="2" y="20"/>
                  </a:cubicBezTo>
                  <a:cubicBezTo>
                    <a:pt x="2" y="21"/>
                    <a:pt x="2" y="21"/>
                    <a:pt x="1" y="21"/>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7">
              <a:extLst>
                <a:ext uri="{FF2B5EF4-FFF2-40B4-BE49-F238E27FC236}">
                  <a16:creationId xmlns:a16="http://schemas.microsoft.com/office/drawing/2014/main" id="{DF7C14B8-1093-4EAC-948C-16255ECEABEC}"/>
                </a:ext>
              </a:extLst>
            </p:cNvPr>
            <p:cNvSpPr>
              <a:spLocks/>
            </p:cNvSpPr>
            <p:nvPr/>
          </p:nvSpPr>
          <p:spPr bwMode="auto">
            <a:xfrm>
              <a:off x="-1809750" y="4240213"/>
              <a:ext cx="76200" cy="46038"/>
            </a:xfrm>
            <a:custGeom>
              <a:avLst/>
              <a:gdLst>
                <a:gd name="T0" fmla="*/ 18 w 20"/>
                <a:gd name="T1" fmla="*/ 12 h 12"/>
                <a:gd name="T2" fmla="*/ 17 w 20"/>
                <a:gd name="T3" fmla="*/ 12 h 12"/>
                <a:gd name="T4" fmla="*/ 1 w 20"/>
                <a:gd name="T5" fmla="*/ 3 h 12"/>
                <a:gd name="T6" fmla="*/ 1 w 20"/>
                <a:gd name="T7" fmla="*/ 1 h 12"/>
                <a:gd name="T8" fmla="*/ 3 w 20"/>
                <a:gd name="T9" fmla="*/ 1 h 12"/>
                <a:gd name="T10" fmla="*/ 19 w 20"/>
                <a:gd name="T11" fmla="*/ 10 h 12"/>
                <a:gd name="T12" fmla="*/ 19 w 20"/>
                <a:gd name="T13" fmla="*/ 12 h 12"/>
                <a:gd name="T14" fmla="*/ 18 w 20"/>
                <a:gd name="T15" fmla="*/ 12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 h="12">
                  <a:moveTo>
                    <a:pt x="18" y="12"/>
                  </a:moveTo>
                  <a:cubicBezTo>
                    <a:pt x="18" y="12"/>
                    <a:pt x="18" y="12"/>
                    <a:pt x="17" y="12"/>
                  </a:cubicBezTo>
                  <a:cubicBezTo>
                    <a:pt x="1" y="3"/>
                    <a:pt x="1" y="3"/>
                    <a:pt x="1" y="3"/>
                  </a:cubicBezTo>
                  <a:cubicBezTo>
                    <a:pt x="1" y="2"/>
                    <a:pt x="0" y="2"/>
                    <a:pt x="1" y="1"/>
                  </a:cubicBezTo>
                  <a:cubicBezTo>
                    <a:pt x="1" y="0"/>
                    <a:pt x="2" y="0"/>
                    <a:pt x="3" y="1"/>
                  </a:cubicBezTo>
                  <a:cubicBezTo>
                    <a:pt x="19" y="10"/>
                    <a:pt x="19" y="10"/>
                    <a:pt x="19" y="10"/>
                  </a:cubicBezTo>
                  <a:cubicBezTo>
                    <a:pt x="19" y="10"/>
                    <a:pt x="20" y="11"/>
                    <a:pt x="19" y="12"/>
                  </a:cubicBezTo>
                  <a:cubicBezTo>
                    <a:pt x="19" y="12"/>
                    <a:pt x="19" y="12"/>
                    <a:pt x="18" y="12"/>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 name="Freeform 8">
              <a:extLst>
                <a:ext uri="{FF2B5EF4-FFF2-40B4-BE49-F238E27FC236}">
                  <a16:creationId xmlns:a16="http://schemas.microsoft.com/office/drawing/2014/main" id="{A73AAA8D-244B-41DF-B38F-F52EF70E560C}"/>
                </a:ext>
              </a:extLst>
            </p:cNvPr>
            <p:cNvSpPr>
              <a:spLocks/>
            </p:cNvSpPr>
            <p:nvPr/>
          </p:nvSpPr>
          <p:spPr bwMode="auto">
            <a:xfrm>
              <a:off x="-1809750" y="4411663"/>
              <a:ext cx="73025" cy="46038"/>
            </a:xfrm>
            <a:custGeom>
              <a:avLst/>
              <a:gdLst>
                <a:gd name="T0" fmla="*/ 1 w 19"/>
                <a:gd name="T1" fmla="*/ 12 h 12"/>
                <a:gd name="T2" fmla="*/ 0 w 19"/>
                <a:gd name="T3" fmla="*/ 11 h 12"/>
                <a:gd name="T4" fmla="*/ 0 w 19"/>
                <a:gd name="T5" fmla="*/ 9 h 12"/>
                <a:gd name="T6" fmla="*/ 17 w 19"/>
                <a:gd name="T7" fmla="*/ 0 h 12"/>
                <a:gd name="T8" fmla="*/ 18 w 19"/>
                <a:gd name="T9" fmla="*/ 1 h 12"/>
                <a:gd name="T10" fmla="*/ 18 w 19"/>
                <a:gd name="T11" fmla="*/ 2 h 12"/>
                <a:gd name="T12" fmla="*/ 2 w 19"/>
                <a:gd name="T13" fmla="*/ 12 h 12"/>
                <a:gd name="T14" fmla="*/ 1 w 19"/>
                <a:gd name="T15" fmla="*/ 12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 h="12">
                  <a:moveTo>
                    <a:pt x="1" y="12"/>
                  </a:moveTo>
                  <a:cubicBezTo>
                    <a:pt x="1" y="12"/>
                    <a:pt x="0" y="12"/>
                    <a:pt x="0" y="11"/>
                  </a:cubicBezTo>
                  <a:cubicBezTo>
                    <a:pt x="0" y="11"/>
                    <a:pt x="0" y="10"/>
                    <a:pt x="0" y="9"/>
                  </a:cubicBezTo>
                  <a:cubicBezTo>
                    <a:pt x="17" y="0"/>
                    <a:pt x="17" y="0"/>
                    <a:pt x="17" y="0"/>
                  </a:cubicBezTo>
                  <a:cubicBezTo>
                    <a:pt x="17" y="0"/>
                    <a:pt x="18" y="0"/>
                    <a:pt x="18" y="1"/>
                  </a:cubicBezTo>
                  <a:cubicBezTo>
                    <a:pt x="19" y="1"/>
                    <a:pt x="18" y="2"/>
                    <a:pt x="18" y="2"/>
                  </a:cubicBezTo>
                  <a:cubicBezTo>
                    <a:pt x="2" y="12"/>
                    <a:pt x="2" y="12"/>
                    <a:pt x="2" y="12"/>
                  </a:cubicBezTo>
                  <a:cubicBezTo>
                    <a:pt x="1" y="12"/>
                    <a:pt x="1" y="12"/>
                    <a:pt x="1" y="12"/>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 name="Freeform 9">
              <a:extLst>
                <a:ext uri="{FF2B5EF4-FFF2-40B4-BE49-F238E27FC236}">
                  <a16:creationId xmlns:a16="http://schemas.microsoft.com/office/drawing/2014/main" id="{8CEBF566-CC83-40B1-A3EA-FDE6127D88FE}"/>
                </a:ext>
              </a:extLst>
            </p:cNvPr>
            <p:cNvSpPr>
              <a:spLocks/>
            </p:cNvSpPr>
            <p:nvPr/>
          </p:nvSpPr>
          <p:spPr bwMode="auto">
            <a:xfrm>
              <a:off x="-1516063" y="4416425"/>
              <a:ext cx="71438" cy="44450"/>
            </a:xfrm>
            <a:custGeom>
              <a:avLst/>
              <a:gdLst>
                <a:gd name="T0" fmla="*/ 17 w 19"/>
                <a:gd name="T1" fmla="*/ 12 h 12"/>
                <a:gd name="T2" fmla="*/ 17 w 19"/>
                <a:gd name="T3" fmla="*/ 12 h 12"/>
                <a:gd name="T4" fmla="*/ 1 w 19"/>
                <a:gd name="T5" fmla="*/ 3 h 12"/>
                <a:gd name="T6" fmla="*/ 0 w 19"/>
                <a:gd name="T7" fmla="*/ 1 h 12"/>
                <a:gd name="T8" fmla="*/ 2 w 19"/>
                <a:gd name="T9" fmla="*/ 1 h 12"/>
                <a:gd name="T10" fmla="*/ 18 w 19"/>
                <a:gd name="T11" fmla="*/ 10 h 12"/>
                <a:gd name="T12" fmla="*/ 18 w 19"/>
                <a:gd name="T13" fmla="*/ 12 h 12"/>
                <a:gd name="T14" fmla="*/ 17 w 19"/>
                <a:gd name="T15" fmla="*/ 12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 h="12">
                  <a:moveTo>
                    <a:pt x="17" y="12"/>
                  </a:moveTo>
                  <a:cubicBezTo>
                    <a:pt x="17" y="12"/>
                    <a:pt x="17" y="12"/>
                    <a:pt x="17" y="12"/>
                  </a:cubicBezTo>
                  <a:cubicBezTo>
                    <a:pt x="1" y="3"/>
                    <a:pt x="1" y="3"/>
                    <a:pt x="1" y="3"/>
                  </a:cubicBezTo>
                  <a:cubicBezTo>
                    <a:pt x="0" y="2"/>
                    <a:pt x="0" y="2"/>
                    <a:pt x="0" y="1"/>
                  </a:cubicBezTo>
                  <a:cubicBezTo>
                    <a:pt x="0" y="0"/>
                    <a:pt x="1" y="0"/>
                    <a:pt x="2" y="1"/>
                  </a:cubicBezTo>
                  <a:cubicBezTo>
                    <a:pt x="18" y="10"/>
                    <a:pt x="18" y="10"/>
                    <a:pt x="18" y="10"/>
                  </a:cubicBezTo>
                  <a:cubicBezTo>
                    <a:pt x="19" y="10"/>
                    <a:pt x="19" y="11"/>
                    <a:pt x="18" y="12"/>
                  </a:cubicBezTo>
                  <a:cubicBezTo>
                    <a:pt x="18" y="12"/>
                    <a:pt x="18" y="12"/>
                    <a:pt x="17" y="12"/>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 name="Freeform 10">
              <a:extLst>
                <a:ext uri="{FF2B5EF4-FFF2-40B4-BE49-F238E27FC236}">
                  <a16:creationId xmlns:a16="http://schemas.microsoft.com/office/drawing/2014/main" id="{60F07C09-B425-4D2A-A80E-E6014B183B61}"/>
                </a:ext>
              </a:extLst>
            </p:cNvPr>
            <p:cNvSpPr>
              <a:spLocks/>
            </p:cNvSpPr>
            <p:nvPr/>
          </p:nvSpPr>
          <p:spPr bwMode="auto">
            <a:xfrm>
              <a:off x="-1512888" y="4248150"/>
              <a:ext cx="73025" cy="46038"/>
            </a:xfrm>
            <a:custGeom>
              <a:avLst/>
              <a:gdLst>
                <a:gd name="T0" fmla="*/ 1 w 19"/>
                <a:gd name="T1" fmla="*/ 12 h 12"/>
                <a:gd name="T2" fmla="*/ 0 w 19"/>
                <a:gd name="T3" fmla="*/ 11 h 12"/>
                <a:gd name="T4" fmla="*/ 0 w 19"/>
                <a:gd name="T5" fmla="*/ 9 h 12"/>
                <a:gd name="T6" fmla="*/ 17 w 19"/>
                <a:gd name="T7" fmla="*/ 0 h 12"/>
                <a:gd name="T8" fmla="*/ 18 w 19"/>
                <a:gd name="T9" fmla="*/ 1 h 12"/>
                <a:gd name="T10" fmla="*/ 18 w 19"/>
                <a:gd name="T11" fmla="*/ 2 h 12"/>
                <a:gd name="T12" fmla="*/ 2 w 19"/>
                <a:gd name="T13" fmla="*/ 12 h 12"/>
                <a:gd name="T14" fmla="*/ 1 w 19"/>
                <a:gd name="T15" fmla="*/ 12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 h="12">
                  <a:moveTo>
                    <a:pt x="1" y="12"/>
                  </a:moveTo>
                  <a:cubicBezTo>
                    <a:pt x="1" y="12"/>
                    <a:pt x="0" y="12"/>
                    <a:pt x="0" y="11"/>
                  </a:cubicBezTo>
                  <a:cubicBezTo>
                    <a:pt x="0" y="11"/>
                    <a:pt x="0" y="10"/>
                    <a:pt x="0" y="9"/>
                  </a:cubicBezTo>
                  <a:cubicBezTo>
                    <a:pt x="17" y="0"/>
                    <a:pt x="17" y="0"/>
                    <a:pt x="17" y="0"/>
                  </a:cubicBezTo>
                  <a:cubicBezTo>
                    <a:pt x="17" y="0"/>
                    <a:pt x="18" y="0"/>
                    <a:pt x="18" y="1"/>
                  </a:cubicBezTo>
                  <a:cubicBezTo>
                    <a:pt x="19" y="1"/>
                    <a:pt x="18" y="2"/>
                    <a:pt x="18" y="2"/>
                  </a:cubicBezTo>
                  <a:cubicBezTo>
                    <a:pt x="2" y="12"/>
                    <a:pt x="2" y="12"/>
                    <a:pt x="2" y="12"/>
                  </a:cubicBezTo>
                  <a:cubicBezTo>
                    <a:pt x="1" y="12"/>
                    <a:pt x="1" y="12"/>
                    <a:pt x="1" y="12"/>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 name="Freeform 11">
              <a:extLst>
                <a:ext uri="{FF2B5EF4-FFF2-40B4-BE49-F238E27FC236}">
                  <a16:creationId xmlns:a16="http://schemas.microsoft.com/office/drawing/2014/main" id="{52A043EA-24F7-4471-94E3-249CC1FD43CF}"/>
                </a:ext>
              </a:extLst>
            </p:cNvPr>
            <p:cNvSpPr>
              <a:spLocks/>
            </p:cNvSpPr>
            <p:nvPr/>
          </p:nvSpPr>
          <p:spPr bwMode="auto">
            <a:xfrm>
              <a:off x="-1728788" y="4244975"/>
              <a:ext cx="212725" cy="261938"/>
            </a:xfrm>
            <a:custGeom>
              <a:avLst/>
              <a:gdLst>
                <a:gd name="T0" fmla="*/ 54 w 56"/>
                <a:gd name="T1" fmla="*/ 23 h 69"/>
                <a:gd name="T2" fmla="*/ 24 w 56"/>
                <a:gd name="T3" fmla="*/ 2 h 69"/>
                <a:gd name="T4" fmla="*/ 8 w 56"/>
                <a:gd name="T5" fmla="*/ 10 h 69"/>
                <a:gd name="T6" fmla="*/ 2 w 56"/>
                <a:gd name="T7" fmla="*/ 34 h 69"/>
                <a:gd name="T8" fmla="*/ 14 w 56"/>
                <a:gd name="T9" fmla="*/ 51 h 69"/>
                <a:gd name="T10" fmla="*/ 14 w 56"/>
                <a:gd name="T11" fmla="*/ 52 h 69"/>
                <a:gd name="T12" fmla="*/ 14 w 56"/>
                <a:gd name="T13" fmla="*/ 54 h 69"/>
                <a:gd name="T14" fmla="*/ 14 w 56"/>
                <a:gd name="T15" fmla="*/ 60 h 69"/>
                <a:gd name="T16" fmla="*/ 14 w 56"/>
                <a:gd name="T17" fmla="*/ 60 h 69"/>
                <a:gd name="T18" fmla="*/ 14 w 56"/>
                <a:gd name="T19" fmla="*/ 60 h 69"/>
                <a:gd name="T20" fmla="*/ 14 w 56"/>
                <a:gd name="T21" fmla="*/ 62 h 69"/>
                <a:gd name="T22" fmla="*/ 14 w 56"/>
                <a:gd name="T23" fmla="*/ 67 h 69"/>
                <a:gd name="T24" fmla="*/ 37 w 56"/>
                <a:gd name="T25" fmla="*/ 66 h 69"/>
                <a:gd name="T26" fmla="*/ 39 w 56"/>
                <a:gd name="T27" fmla="*/ 65 h 69"/>
                <a:gd name="T28" fmla="*/ 39 w 56"/>
                <a:gd name="T29" fmla="*/ 65 h 69"/>
                <a:gd name="T30" fmla="*/ 39 w 56"/>
                <a:gd name="T31" fmla="*/ 65 h 69"/>
                <a:gd name="T32" fmla="*/ 41 w 56"/>
                <a:gd name="T33" fmla="*/ 62 h 69"/>
                <a:gd name="T34" fmla="*/ 41 w 56"/>
                <a:gd name="T35" fmla="*/ 61 h 69"/>
                <a:gd name="T36" fmla="*/ 41 w 56"/>
                <a:gd name="T37" fmla="*/ 54 h 69"/>
                <a:gd name="T38" fmla="*/ 41 w 56"/>
                <a:gd name="T39" fmla="*/ 53 h 69"/>
                <a:gd name="T40" fmla="*/ 42 w 56"/>
                <a:gd name="T41" fmla="*/ 51 h 69"/>
                <a:gd name="T42" fmla="*/ 54 w 56"/>
                <a:gd name="T43" fmla="*/ 23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6" h="69">
                  <a:moveTo>
                    <a:pt x="54" y="23"/>
                  </a:moveTo>
                  <a:cubicBezTo>
                    <a:pt x="52" y="10"/>
                    <a:pt x="39" y="0"/>
                    <a:pt x="24" y="2"/>
                  </a:cubicBezTo>
                  <a:cubicBezTo>
                    <a:pt x="18" y="3"/>
                    <a:pt x="12" y="5"/>
                    <a:pt x="8" y="10"/>
                  </a:cubicBezTo>
                  <a:cubicBezTo>
                    <a:pt x="2" y="17"/>
                    <a:pt x="0" y="25"/>
                    <a:pt x="2" y="34"/>
                  </a:cubicBezTo>
                  <a:cubicBezTo>
                    <a:pt x="3" y="41"/>
                    <a:pt x="7" y="47"/>
                    <a:pt x="14" y="51"/>
                  </a:cubicBezTo>
                  <a:cubicBezTo>
                    <a:pt x="14" y="52"/>
                    <a:pt x="14" y="52"/>
                    <a:pt x="14" y="52"/>
                  </a:cubicBezTo>
                  <a:cubicBezTo>
                    <a:pt x="14" y="53"/>
                    <a:pt x="14" y="53"/>
                    <a:pt x="14" y="54"/>
                  </a:cubicBezTo>
                  <a:cubicBezTo>
                    <a:pt x="14" y="56"/>
                    <a:pt x="14" y="58"/>
                    <a:pt x="14" y="60"/>
                  </a:cubicBezTo>
                  <a:cubicBezTo>
                    <a:pt x="14" y="60"/>
                    <a:pt x="14" y="60"/>
                    <a:pt x="14" y="60"/>
                  </a:cubicBezTo>
                  <a:cubicBezTo>
                    <a:pt x="14" y="60"/>
                    <a:pt x="14" y="60"/>
                    <a:pt x="14" y="60"/>
                  </a:cubicBezTo>
                  <a:cubicBezTo>
                    <a:pt x="14" y="62"/>
                    <a:pt x="14" y="62"/>
                    <a:pt x="14" y="62"/>
                  </a:cubicBezTo>
                  <a:cubicBezTo>
                    <a:pt x="14" y="67"/>
                    <a:pt x="14" y="67"/>
                    <a:pt x="14" y="67"/>
                  </a:cubicBezTo>
                  <a:cubicBezTo>
                    <a:pt x="21" y="66"/>
                    <a:pt x="27" y="69"/>
                    <a:pt x="37" y="66"/>
                  </a:cubicBezTo>
                  <a:cubicBezTo>
                    <a:pt x="38" y="66"/>
                    <a:pt x="38" y="66"/>
                    <a:pt x="39" y="65"/>
                  </a:cubicBezTo>
                  <a:cubicBezTo>
                    <a:pt x="39" y="65"/>
                    <a:pt x="39" y="65"/>
                    <a:pt x="39" y="65"/>
                  </a:cubicBezTo>
                  <a:cubicBezTo>
                    <a:pt x="39" y="65"/>
                    <a:pt x="39" y="65"/>
                    <a:pt x="39" y="65"/>
                  </a:cubicBezTo>
                  <a:cubicBezTo>
                    <a:pt x="40" y="64"/>
                    <a:pt x="41" y="63"/>
                    <a:pt x="41" y="62"/>
                  </a:cubicBezTo>
                  <a:cubicBezTo>
                    <a:pt x="41" y="61"/>
                    <a:pt x="41" y="61"/>
                    <a:pt x="41" y="61"/>
                  </a:cubicBezTo>
                  <a:cubicBezTo>
                    <a:pt x="41" y="59"/>
                    <a:pt x="41" y="56"/>
                    <a:pt x="41" y="54"/>
                  </a:cubicBezTo>
                  <a:cubicBezTo>
                    <a:pt x="41" y="53"/>
                    <a:pt x="41" y="53"/>
                    <a:pt x="41" y="53"/>
                  </a:cubicBezTo>
                  <a:cubicBezTo>
                    <a:pt x="41" y="52"/>
                    <a:pt x="41" y="52"/>
                    <a:pt x="42" y="51"/>
                  </a:cubicBezTo>
                  <a:cubicBezTo>
                    <a:pt x="52" y="45"/>
                    <a:pt x="56" y="34"/>
                    <a:pt x="54" y="23"/>
                  </a:cubicBezTo>
                  <a:close/>
                </a:path>
              </a:pathLst>
            </a:custGeom>
            <a:solidFill>
              <a:srgbClr val="86086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 name="Freeform 12">
              <a:extLst>
                <a:ext uri="{FF2B5EF4-FFF2-40B4-BE49-F238E27FC236}">
                  <a16:creationId xmlns:a16="http://schemas.microsoft.com/office/drawing/2014/main" id="{B98D8152-B768-4BFD-A14D-B602B35FD498}"/>
                </a:ext>
              </a:extLst>
            </p:cNvPr>
            <p:cNvSpPr>
              <a:spLocks/>
            </p:cNvSpPr>
            <p:nvPr/>
          </p:nvSpPr>
          <p:spPr bwMode="auto">
            <a:xfrm>
              <a:off x="-1673225" y="4503738"/>
              <a:ext cx="95250" cy="19050"/>
            </a:xfrm>
            <a:custGeom>
              <a:avLst/>
              <a:gdLst>
                <a:gd name="T0" fmla="*/ 25 w 25"/>
                <a:gd name="T1" fmla="*/ 4 h 5"/>
                <a:gd name="T2" fmla="*/ 25 w 25"/>
                <a:gd name="T3" fmla="*/ 2 h 5"/>
                <a:gd name="T4" fmla="*/ 24 w 25"/>
                <a:gd name="T5" fmla="*/ 1 h 5"/>
                <a:gd name="T6" fmla="*/ 24 w 25"/>
                <a:gd name="T7" fmla="*/ 0 h 5"/>
                <a:gd name="T8" fmla="*/ 24 w 25"/>
                <a:gd name="T9" fmla="*/ 0 h 5"/>
                <a:gd name="T10" fmla="*/ 24 w 25"/>
                <a:gd name="T11" fmla="*/ 0 h 5"/>
                <a:gd name="T12" fmla="*/ 23 w 25"/>
                <a:gd name="T13" fmla="*/ 0 h 5"/>
                <a:gd name="T14" fmla="*/ 23 w 25"/>
                <a:gd name="T15" fmla="*/ 0 h 5"/>
                <a:gd name="T16" fmla="*/ 22 w 25"/>
                <a:gd name="T17" fmla="*/ 0 h 5"/>
                <a:gd name="T18" fmla="*/ 1 w 25"/>
                <a:gd name="T19" fmla="*/ 1 h 5"/>
                <a:gd name="T20" fmla="*/ 1 w 25"/>
                <a:gd name="T21" fmla="*/ 1 h 5"/>
                <a:gd name="T22" fmla="*/ 1 w 25"/>
                <a:gd name="T23" fmla="*/ 2 h 5"/>
                <a:gd name="T24" fmla="*/ 2 w 25"/>
                <a:gd name="T25" fmla="*/ 5 h 5"/>
                <a:gd name="T26" fmla="*/ 3 w 25"/>
                <a:gd name="T27" fmla="*/ 5 h 5"/>
                <a:gd name="T28" fmla="*/ 22 w 25"/>
                <a:gd name="T29" fmla="*/ 5 h 5"/>
                <a:gd name="T30" fmla="*/ 25 w 25"/>
                <a:gd name="T31" fmla="*/ 4 h 5"/>
                <a:gd name="T32" fmla="*/ 25 w 25"/>
                <a:gd name="T33" fmla="*/ 4 h 5"/>
                <a:gd name="T34" fmla="*/ 25 w 25"/>
                <a:gd name="T35" fmla="*/ 4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5" h="5">
                  <a:moveTo>
                    <a:pt x="25" y="4"/>
                  </a:moveTo>
                  <a:cubicBezTo>
                    <a:pt x="25" y="3"/>
                    <a:pt x="25" y="3"/>
                    <a:pt x="25" y="2"/>
                  </a:cubicBezTo>
                  <a:cubicBezTo>
                    <a:pt x="25" y="2"/>
                    <a:pt x="25" y="1"/>
                    <a:pt x="24" y="1"/>
                  </a:cubicBezTo>
                  <a:cubicBezTo>
                    <a:pt x="24" y="1"/>
                    <a:pt x="24" y="0"/>
                    <a:pt x="24" y="0"/>
                  </a:cubicBezTo>
                  <a:cubicBezTo>
                    <a:pt x="24" y="0"/>
                    <a:pt x="24" y="0"/>
                    <a:pt x="24" y="0"/>
                  </a:cubicBezTo>
                  <a:cubicBezTo>
                    <a:pt x="24" y="0"/>
                    <a:pt x="24" y="0"/>
                    <a:pt x="24" y="0"/>
                  </a:cubicBezTo>
                  <a:cubicBezTo>
                    <a:pt x="23" y="0"/>
                    <a:pt x="23" y="0"/>
                    <a:pt x="23" y="0"/>
                  </a:cubicBezTo>
                  <a:cubicBezTo>
                    <a:pt x="23" y="0"/>
                    <a:pt x="23" y="0"/>
                    <a:pt x="23" y="0"/>
                  </a:cubicBezTo>
                  <a:cubicBezTo>
                    <a:pt x="22" y="0"/>
                    <a:pt x="22" y="0"/>
                    <a:pt x="22" y="0"/>
                  </a:cubicBezTo>
                  <a:cubicBezTo>
                    <a:pt x="12" y="3"/>
                    <a:pt x="7" y="0"/>
                    <a:pt x="1" y="1"/>
                  </a:cubicBezTo>
                  <a:cubicBezTo>
                    <a:pt x="1" y="1"/>
                    <a:pt x="1" y="1"/>
                    <a:pt x="1" y="1"/>
                  </a:cubicBezTo>
                  <a:cubicBezTo>
                    <a:pt x="1" y="1"/>
                    <a:pt x="1" y="2"/>
                    <a:pt x="1" y="2"/>
                  </a:cubicBezTo>
                  <a:cubicBezTo>
                    <a:pt x="0" y="4"/>
                    <a:pt x="1" y="5"/>
                    <a:pt x="2" y="5"/>
                  </a:cubicBezTo>
                  <a:cubicBezTo>
                    <a:pt x="2" y="5"/>
                    <a:pt x="3" y="5"/>
                    <a:pt x="3" y="5"/>
                  </a:cubicBezTo>
                  <a:cubicBezTo>
                    <a:pt x="22" y="5"/>
                    <a:pt x="22" y="5"/>
                    <a:pt x="22" y="5"/>
                  </a:cubicBezTo>
                  <a:cubicBezTo>
                    <a:pt x="23" y="5"/>
                    <a:pt x="24" y="5"/>
                    <a:pt x="25" y="4"/>
                  </a:cubicBezTo>
                  <a:cubicBezTo>
                    <a:pt x="25" y="4"/>
                    <a:pt x="25" y="4"/>
                    <a:pt x="25" y="4"/>
                  </a:cubicBezTo>
                  <a:cubicBezTo>
                    <a:pt x="25" y="4"/>
                    <a:pt x="25" y="4"/>
                    <a:pt x="25" y="4"/>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9" name="Freeform 13">
              <a:extLst>
                <a:ext uri="{FF2B5EF4-FFF2-40B4-BE49-F238E27FC236}">
                  <a16:creationId xmlns:a16="http://schemas.microsoft.com/office/drawing/2014/main" id="{C6D6E93A-F963-42E1-837C-26DAE1116AB1}"/>
                </a:ext>
              </a:extLst>
            </p:cNvPr>
            <p:cNvSpPr>
              <a:spLocks/>
            </p:cNvSpPr>
            <p:nvPr/>
          </p:nvSpPr>
          <p:spPr bwMode="auto">
            <a:xfrm>
              <a:off x="-1665288" y="4529138"/>
              <a:ext cx="80963" cy="38100"/>
            </a:xfrm>
            <a:custGeom>
              <a:avLst/>
              <a:gdLst>
                <a:gd name="T0" fmla="*/ 19 w 21"/>
                <a:gd name="T1" fmla="*/ 5 h 10"/>
                <a:gd name="T2" fmla="*/ 13 w 21"/>
                <a:gd name="T3" fmla="*/ 10 h 10"/>
                <a:gd name="T4" fmla="*/ 8 w 21"/>
                <a:gd name="T5" fmla="*/ 10 h 10"/>
                <a:gd name="T6" fmla="*/ 3 w 21"/>
                <a:gd name="T7" fmla="*/ 5 h 10"/>
                <a:gd name="T8" fmla="*/ 3 w 21"/>
                <a:gd name="T9" fmla="*/ 5 h 10"/>
                <a:gd name="T10" fmla="*/ 1 w 21"/>
                <a:gd name="T11" fmla="*/ 2 h 10"/>
                <a:gd name="T12" fmla="*/ 3 w 21"/>
                <a:gd name="T13" fmla="*/ 0 h 10"/>
                <a:gd name="T14" fmla="*/ 19 w 21"/>
                <a:gd name="T15" fmla="*/ 0 h 10"/>
                <a:gd name="T16" fmla="*/ 21 w 21"/>
                <a:gd name="T17" fmla="*/ 2 h 10"/>
                <a:gd name="T18" fmla="*/ 19 w 21"/>
                <a:gd name="T19" fmla="*/ 5 h 10"/>
                <a:gd name="T20" fmla="*/ 19 w 21"/>
                <a:gd name="T21" fmla="*/ 5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10">
                  <a:moveTo>
                    <a:pt x="19" y="5"/>
                  </a:moveTo>
                  <a:cubicBezTo>
                    <a:pt x="19" y="8"/>
                    <a:pt x="16" y="10"/>
                    <a:pt x="13" y="10"/>
                  </a:cubicBezTo>
                  <a:cubicBezTo>
                    <a:pt x="12" y="10"/>
                    <a:pt x="10" y="10"/>
                    <a:pt x="8" y="10"/>
                  </a:cubicBezTo>
                  <a:cubicBezTo>
                    <a:pt x="6" y="10"/>
                    <a:pt x="3" y="8"/>
                    <a:pt x="3" y="5"/>
                  </a:cubicBezTo>
                  <a:cubicBezTo>
                    <a:pt x="3" y="5"/>
                    <a:pt x="3" y="5"/>
                    <a:pt x="3" y="5"/>
                  </a:cubicBezTo>
                  <a:cubicBezTo>
                    <a:pt x="1" y="5"/>
                    <a:pt x="0" y="3"/>
                    <a:pt x="1" y="2"/>
                  </a:cubicBezTo>
                  <a:cubicBezTo>
                    <a:pt x="1" y="1"/>
                    <a:pt x="2" y="0"/>
                    <a:pt x="3" y="0"/>
                  </a:cubicBezTo>
                  <a:cubicBezTo>
                    <a:pt x="8" y="0"/>
                    <a:pt x="13" y="0"/>
                    <a:pt x="19" y="0"/>
                  </a:cubicBezTo>
                  <a:cubicBezTo>
                    <a:pt x="20" y="0"/>
                    <a:pt x="21" y="1"/>
                    <a:pt x="21" y="2"/>
                  </a:cubicBezTo>
                  <a:cubicBezTo>
                    <a:pt x="21" y="4"/>
                    <a:pt x="20" y="5"/>
                    <a:pt x="19" y="5"/>
                  </a:cubicBezTo>
                  <a:cubicBezTo>
                    <a:pt x="19" y="5"/>
                    <a:pt x="19" y="5"/>
                    <a:pt x="19" y="5"/>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1775634811"/>
      </p:ext>
    </p:extLst>
  </p:cSld>
  <p:clrMapOvr>
    <a:masterClrMapping/>
  </p:clrMapOvr>
</p:sld>
</file>

<file path=ppt/slides/slide1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ytuł 3">
            <a:extLst>
              <a:ext uri="{FF2B5EF4-FFF2-40B4-BE49-F238E27FC236}">
                <a16:creationId xmlns:a16="http://schemas.microsoft.com/office/drawing/2014/main" id="{BE6E47FB-5E55-45DB-B712-E4993D47A776}"/>
              </a:ext>
            </a:extLst>
          </p:cNvPr>
          <p:cNvSpPr>
            <a:spLocks noGrp="1"/>
          </p:cNvSpPr>
          <p:nvPr>
            <p:ph type="title"/>
          </p:nvPr>
        </p:nvSpPr>
        <p:spPr/>
        <p:txBody>
          <a:bodyPr/>
          <a:lstStyle/>
          <a:p>
            <a:r>
              <a:rPr lang="en-US" sz="3200" dirty="0"/>
              <a:t>Target-typed new-expressions</a:t>
            </a:r>
          </a:p>
        </p:txBody>
      </p:sp>
      <p:sp>
        <p:nvSpPr>
          <p:cNvPr id="5" name="Symbol zastępczy tekstu 4">
            <a:extLst>
              <a:ext uri="{FF2B5EF4-FFF2-40B4-BE49-F238E27FC236}">
                <a16:creationId xmlns:a16="http://schemas.microsoft.com/office/drawing/2014/main" id="{566C6C9B-DE4F-4D57-8491-6FC8D45FC924}"/>
              </a:ext>
            </a:extLst>
          </p:cNvPr>
          <p:cNvSpPr>
            <a:spLocks noGrp="1"/>
          </p:cNvSpPr>
          <p:nvPr>
            <p:ph type="body" sz="quarter" idx="10"/>
          </p:nvPr>
        </p:nvSpPr>
        <p:spPr/>
        <p:txBody>
          <a:bodyPr/>
          <a:lstStyle/>
          <a:p>
            <a:endParaRPr lang="en-US" dirty="0"/>
          </a:p>
        </p:txBody>
      </p:sp>
      <p:sp>
        <p:nvSpPr>
          <p:cNvPr id="6" name="Symbol zastępczy tekstu 5">
            <a:extLst>
              <a:ext uri="{FF2B5EF4-FFF2-40B4-BE49-F238E27FC236}">
                <a16:creationId xmlns:a16="http://schemas.microsoft.com/office/drawing/2014/main" id="{1302AB4B-7554-47F7-BBCD-39BD33559A94}"/>
              </a:ext>
            </a:extLst>
          </p:cNvPr>
          <p:cNvSpPr>
            <a:spLocks noGrp="1"/>
          </p:cNvSpPr>
          <p:nvPr>
            <p:ph type="body" sz="quarter" idx="11"/>
          </p:nvPr>
        </p:nvSpPr>
        <p:spPr/>
        <p:txBody>
          <a:bodyPr/>
          <a:lstStyle/>
          <a:p>
            <a:r>
              <a:rPr lang="en-US" dirty="0"/>
              <a:t>C# 7.3</a:t>
            </a:r>
          </a:p>
        </p:txBody>
      </p:sp>
      <p:sp>
        <p:nvSpPr>
          <p:cNvPr id="7" name="Symbol zastępczy tekstu 6">
            <a:extLst>
              <a:ext uri="{FF2B5EF4-FFF2-40B4-BE49-F238E27FC236}">
                <a16:creationId xmlns:a16="http://schemas.microsoft.com/office/drawing/2014/main" id="{5D8A2B1E-A86F-4A25-94A4-5CF446FD2951}"/>
              </a:ext>
            </a:extLst>
          </p:cNvPr>
          <p:cNvSpPr>
            <a:spLocks noGrp="1"/>
          </p:cNvSpPr>
          <p:nvPr>
            <p:ph type="body" sz="quarter" idx="12"/>
          </p:nvPr>
        </p:nvSpPr>
        <p:spPr/>
        <p:txBody>
          <a:bodyPr/>
          <a:lstStyle/>
          <a:p>
            <a:r>
              <a:rPr lang="en-US" dirty="0"/>
              <a:t>1</a:t>
            </a:r>
          </a:p>
        </p:txBody>
      </p:sp>
    </p:spTree>
    <p:extLst>
      <p:ext uri="{BB962C8B-B14F-4D97-AF65-F5344CB8AC3E}">
        <p14:creationId xmlns:p14="http://schemas.microsoft.com/office/powerpoint/2010/main" val="3548198221"/>
      </p:ext>
    </p:extLst>
  </p:cSld>
  <p:clrMapOvr>
    <a:masterClrMapping/>
  </p:clrMapOvr>
</p:sld>
</file>

<file path=ppt/slides/slide1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ytuł 3">
            <a:extLst>
              <a:ext uri="{FF2B5EF4-FFF2-40B4-BE49-F238E27FC236}">
                <a16:creationId xmlns:a16="http://schemas.microsoft.com/office/drawing/2014/main" id="{BE6E47FB-5E55-45DB-B712-E4993D47A776}"/>
              </a:ext>
            </a:extLst>
          </p:cNvPr>
          <p:cNvSpPr>
            <a:spLocks noGrp="1"/>
          </p:cNvSpPr>
          <p:nvPr>
            <p:ph type="title"/>
          </p:nvPr>
        </p:nvSpPr>
        <p:spPr/>
        <p:txBody>
          <a:bodyPr/>
          <a:lstStyle/>
          <a:p>
            <a:r>
              <a:rPr lang="en-US" sz="3200" dirty="0"/>
              <a:t>Target-typed new-expressions</a:t>
            </a:r>
          </a:p>
        </p:txBody>
      </p:sp>
      <p:sp>
        <p:nvSpPr>
          <p:cNvPr id="5" name="Symbol zastępczy tekstu 4">
            <a:extLst>
              <a:ext uri="{FF2B5EF4-FFF2-40B4-BE49-F238E27FC236}">
                <a16:creationId xmlns:a16="http://schemas.microsoft.com/office/drawing/2014/main" id="{566C6C9B-DE4F-4D57-8491-6FC8D45FC924}"/>
              </a:ext>
            </a:extLst>
          </p:cNvPr>
          <p:cNvSpPr>
            <a:spLocks noGrp="1"/>
          </p:cNvSpPr>
          <p:nvPr>
            <p:ph type="body" sz="quarter" idx="10"/>
          </p:nvPr>
        </p:nvSpPr>
        <p:spPr/>
        <p:txBody>
          <a:bodyPr/>
          <a:lstStyle/>
          <a:p>
            <a:endParaRPr lang="en-US" dirty="0"/>
          </a:p>
        </p:txBody>
      </p:sp>
      <p:sp>
        <p:nvSpPr>
          <p:cNvPr id="6" name="Symbol zastępczy tekstu 5">
            <a:extLst>
              <a:ext uri="{FF2B5EF4-FFF2-40B4-BE49-F238E27FC236}">
                <a16:creationId xmlns:a16="http://schemas.microsoft.com/office/drawing/2014/main" id="{1302AB4B-7554-47F7-BBCD-39BD33559A94}"/>
              </a:ext>
            </a:extLst>
          </p:cNvPr>
          <p:cNvSpPr>
            <a:spLocks noGrp="1"/>
          </p:cNvSpPr>
          <p:nvPr>
            <p:ph type="body" sz="quarter" idx="11"/>
          </p:nvPr>
        </p:nvSpPr>
        <p:spPr/>
        <p:txBody>
          <a:bodyPr/>
          <a:lstStyle/>
          <a:p>
            <a:r>
              <a:rPr lang="en-US" dirty="0"/>
              <a:t>C# 8.0</a:t>
            </a:r>
          </a:p>
        </p:txBody>
      </p:sp>
      <p:sp>
        <p:nvSpPr>
          <p:cNvPr id="7" name="Symbol zastępczy tekstu 6">
            <a:extLst>
              <a:ext uri="{FF2B5EF4-FFF2-40B4-BE49-F238E27FC236}">
                <a16:creationId xmlns:a16="http://schemas.microsoft.com/office/drawing/2014/main" id="{5D8A2B1E-A86F-4A25-94A4-5CF446FD2951}"/>
              </a:ext>
            </a:extLst>
          </p:cNvPr>
          <p:cNvSpPr>
            <a:spLocks noGrp="1"/>
          </p:cNvSpPr>
          <p:nvPr>
            <p:ph type="body" sz="quarter" idx="12"/>
          </p:nvPr>
        </p:nvSpPr>
        <p:spPr/>
        <p:txBody>
          <a:bodyPr/>
          <a:lstStyle/>
          <a:p>
            <a:r>
              <a:rPr lang="en-US" dirty="0"/>
              <a:t>2</a:t>
            </a:r>
          </a:p>
        </p:txBody>
      </p:sp>
    </p:spTree>
    <p:extLst>
      <p:ext uri="{BB962C8B-B14F-4D97-AF65-F5344CB8AC3E}">
        <p14:creationId xmlns:p14="http://schemas.microsoft.com/office/powerpoint/2010/main" val="24675321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ymbol zastępczy tekstu 5">
            <a:extLst>
              <a:ext uri="{FF2B5EF4-FFF2-40B4-BE49-F238E27FC236}">
                <a16:creationId xmlns:a16="http://schemas.microsoft.com/office/drawing/2014/main" id="{EC19D1F0-CA19-48E4-B6B7-FE7D3388EB92}"/>
              </a:ext>
            </a:extLst>
          </p:cNvPr>
          <p:cNvSpPr>
            <a:spLocks noGrp="1"/>
          </p:cNvSpPr>
          <p:nvPr>
            <p:ph type="body" sz="quarter" idx="11"/>
          </p:nvPr>
        </p:nvSpPr>
        <p:spPr/>
        <p:txBody>
          <a:bodyPr/>
          <a:lstStyle/>
          <a:p>
            <a:r>
              <a:rPr lang="en-US" dirty="0"/>
              <a:t>What’s new in C# 7.1</a:t>
            </a:r>
          </a:p>
          <a:p>
            <a:r>
              <a:rPr lang="en-US" sz="2400" dirty="0"/>
              <a:t>Async Main method</a:t>
            </a:r>
          </a:p>
          <a:p>
            <a:endParaRPr lang="en-US" dirty="0"/>
          </a:p>
        </p:txBody>
      </p:sp>
      <p:sp>
        <p:nvSpPr>
          <p:cNvPr id="28" name="Freeform 37">
            <a:extLst>
              <a:ext uri="{FF2B5EF4-FFF2-40B4-BE49-F238E27FC236}">
                <a16:creationId xmlns:a16="http://schemas.microsoft.com/office/drawing/2014/main" id="{C163FEF7-EB42-4298-AED9-19E8D9ACF2E4}"/>
              </a:ext>
            </a:extLst>
          </p:cNvPr>
          <p:cNvSpPr>
            <a:spLocks/>
          </p:cNvSpPr>
          <p:nvPr/>
        </p:nvSpPr>
        <p:spPr bwMode="auto">
          <a:xfrm>
            <a:off x="8472264" y="3933056"/>
            <a:ext cx="844550" cy="793750"/>
          </a:xfrm>
          <a:custGeom>
            <a:avLst/>
            <a:gdLst>
              <a:gd name="T0" fmla="*/ 51 w 440"/>
              <a:gd name="T1" fmla="*/ 298 h 410"/>
              <a:gd name="T2" fmla="*/ 128 w 440"/>
              <a:gd name="T3" fmla="*/ 48 h 410"/>
              <a:gd name="T4" fmla="*/ 389 w 440"/>
              <a:gd name="T5" fmla="*/ 122 h 410"/>
              <a:gd name="T6" fmla="*/ 307 w 440"/>
              <a:gd name="T7" fmla="*/ 362 h 410"/>
              <a:gd name="T8" fmla="*/ 51 w 440"/>
              <a:gd name="T9" fmla="*/ 298 h 410"/>
            </a:gdLst>
            <a:ahLst/>
            <a:cxnLst>
              <a:cxn ang="0">
                <a:pos x="T0" y="T1"/>
              </a:cxn>
              <a:cxn ang="0">
                <a:pos x="T2" y="T3"/>
              </a:cxn>
              <a:cxn ang="0">
                <a:pos x="T4" y="T5"/>
              </a:cxn>
              <a:cxn ang="0">
                <a:pos x="T6" y="T7"/>
              </a:cxn>
              <a:cxn ang="0">
                <a:pos x="T8" y="T9"/>
              </a:cxn>
            </a:cxnLst>
            <a:rect l="0" t="0" r="r" b="b"/>
            <a:pathLst>
              <a:path w="440" h="410">
                <a:moveTo>
                  <a:pt x="51" y="298"/>
                </a:moveTo>
                <a:cubicBezTo>
                  <a:pt x="0" y="209"/>
                  <a:pt x="34" y="97"/>
                  <a:pt x="128" y="48"/>
                </a:cubicBezTo>
                <a:cubicBezTo>
                  <a:pt x="221" y="0"/>
                  <a:pt x="338" y="33"/>
                  <a:pt x="389" y="122"/>
                </a:cubicBezTo>
                <a:cubicBezTo>
                  <a:pt x="440" y="212"/>
                  <a:pt x="400" y="313"/>
                  <a:pt x="307" y="362"/>
                </a:cubicBezTo>
                <a:cubicBezTo>
                  <a:pt x="214" y="410"/>
                  <a:pt x="102" y="388"/>
                  <a:pt x="51" y="298"/>
                </a:cubicBezTo>
              </a:path>
            </a:pathLst>
          </a:custGeom>
          <a:solidFill>
            <a:srgbClr val="860864"/>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3" name="Oval 20">
            <a:extLst>
              <a:ext uri="{FF2B5EF4-FFF2-40B4-BE49-F238E27FC236}">
                <a16:creationId xmlns:a16="http://schemas.microsoft.com/office/drawing/2014/main" id="{EE9B31FA-25FA-4CC1-863F-BB3D69944DF9}"/>
              </a:ext>
            </a:extLst>
          </p:cNvPr>
          <p:cNvSpPr/>
          <p:nvPr/>
        </p:nvSpPr>
        <p:spPr>
          <a:xfrm>
            <a:off x="8897441" y="2431978"/>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42" name="Oval 20">
            <a:extLst>
              <a:ext uri="{FF2B5EF4-FFF2-40B4-BE49-F238E27FC236}">
                <a16:creationId xmlns:a16="http://schemas.microsoft.com/office/drawing/2014/main" id="{9C48F09E-5C3B-4BEA-BD8F-85A5DCB0325B}"/>
              </a:ext>
            </a:extLst>
          </p:cNvPr>
          <p:cNvSpPr/>
          <p:nvPr/>
        </p:nvSpPr>
        <p:spPr>
          <a:xfrm>
            <a:off x="8948712" y="4379462"/>
            <a:ext cx="1356623" cy="128178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27" name="Group 588">
            <a:extLst>
              <a:ext uri="{FF2B5EF4-FFF2-40B4-BE49-F238E27FC236}">
                <a16:creationId xmlns:a16="http://schemas.microsoft.com/office/drawing/2014/main" id="{26E82035-CA4E-4F33-A0E4-B5B4DD4BF094}"/>
              </a:ext>
            </a:extLst>
          </p:cNvPr>
          <p:cNvGrpSpPr/>
          <p:nvPr/>
        </p:nvGrpSpPr>
        <p:grpSpPr>
          <a:xfrm>
            <a:off x="9135016" y="2711003"/>
            <a:ext cx="1375490" cy="1288668"/>
            <a:chOff x="2894013" y="4765678"/>
            <a:chExt cx="477837" cy="447676"/>
          </a:xfrm>
        </p:grpSpPr>
        <p:sp>
          <p:nvSpPr>
            <p:cNvPr id="30" name="Oval 177">
              <a:extLst>
                <a:ext uri="{FF2B5EF4-FFF2-40B4-BE49-F238E27FC236}">
                  <a16:creationId xmlns:a16="http://schemas.microsoft.com/office/drawing/2014/main" id="{99DEB78D-8CE1-4B91-A9A6-C00DD78E8F2A}"/>
                </a:ext>
              </a:extLst>
            </p:cNvPr>
            <p:cNvSpPr>
              <a:spLocks noChangeArrowheads="1"/>
            </p:cNvSpPr>
            <p:nvPr/>
          </p:nvSpPr>
          <p:spPr bwMode="auto">
            <a:xfrm>
              <a:off x="2894013" y="4960940"/>
              <a:ext cx="146050" cy="131763"/>
            </a:xfrm>
            <a:prstGeom prst="ellipse">
              <a:avLst/>
            </a:prstGeom>
            <a:solidFill>
              <a:schemeClr val="accent5"/>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1" name="Freeform 178">
              <a:extLst>
                <a:ext uri="{FF2B5EF4-FFF2-40B4-BE49-F238E27FC236}">
                  <a16:creationId xmlns:a16="http://schemas.microsoft.com/office/drawing/2014/main" id="{3078C225-2D3F-414D-81B0-F7EC24795CC4}"/>
                </a:ext>
              </a:extLst>
            </p:cNvPr>
            <p:cNvSpPr>
              <a:spLocks/>
            </p:cNvSpPr>
            <p:nvPr/>
          </p:nvSpPr>
          <p:spPr bwMode="auto">
            <a:xfrm>
              <a:off x="3178175" y="4765678"/>
              <a:ext cx="163512" cy="155575"/>
            </a:xfrm>
            <a:custGeom>
              <a:avLst/>
              <a:gdLst>
                <a:gd name="T0" fmla="*/ 75 w 85"/>
                <a:gd name="T1" fmla="*/ 21 h 80"/>
                <a:gd name="T2" fmla="*/ 60 w 85"/>
                <a:gd name="T3" fmla="*/ 70 h 80"/>
                <a:gd name="T4" fmla="*/ 10 w 85"/>
                <a:gd name="T5" fmla="*/ 59 h 80"/>
                <a:gd name="T6" fmla="*/ 25 w 85"/>
                <a:gd name="T7" fmla="*/ 11 h 80"/>
                <a:gd name="T8" fmla="*/ 75 w 85"/>
                <a:gd name="T9" fmla="*/ 21 h 80"/>
              </a:gdLst>
              <a:ahLst/>
              <a:cxnLst>
                <a:cxn ang="0">
                  <a:pos x="T0" y="T1"/>
                </a:cxn>
                <a:cxn ang="0">
                  <a:pos x="T2" y="T3"/>
                </a:cxn>
                <a:cxn ang="0">
                  <a:pos x="T4" y="T5"/>
                </a:cxn>
                <a:cxn ang="0">
                  <a:pos x="T6" y="T7"/>
                </a:cxn>
                <a:cxn ang="0">
                  <a:pos x="T8" y="T9"/>
                </a:cxn>
              </a:cxnLst>
              <a:rect l="0" t="0" r="r" b="b"/>
              <a:pathLst>
                <a:path w="85" h="80">
                  <a:moveTo>
                    <a:pt x="75" y="21"/>
                  </a:moveTo>
                  <a:cubicBezTo>
                    <a:pt x="85" y="38"/>
                    <a:pt x="78" y="59"/>
                    <a:pt x="60" y="70"/>
                  </a:cubicBezTo>
                  <a:cubicBezTo>
                    <a:pt x="42" y="80"/>
                    <a:pt x="19" y="76"/>
                    <a:pt x="10" y="59"/>
                  </a:cubicBezTo>
                  <a:cubicBezTo>
                    <a:pt x="0" y="43"/>
                    <a:pt x="7" y="21"/>
                    <a:pt x="25" y="11"/>
                  </a:cubicBezTo>
                  <a:cubicBezTo>
                    <a:pt x="44" y="0"/>
                    <a:pt x="66" y="5"/>
                    <a:pt x="75" y="21"/>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2" name="Freeform 179">
              <a:extLst>
                <a:ext uri="{FF2B5EF4-FFF2-40B4-BE49-F238E27FC236}">
                  <a16:creationId xmlns:a16="http://schemas.microsoft.com/office/drawing/2014/main" id="{0BB7F345-0634-4056-A928-AFF8185C5A08}"/>
                </a:ext>
              </a:extLst>
            </p:cNvPr>
            <p:cNvSpPr>
              <a:spLocks/>
            </p:cNvSpPr>
            <p:nvPr/>
          </p:nvSpPr>
          <p:spPr bwMode="auto">
            <a:xfrm>
              <a:off x="3008313" y="4984753"/>
              <a:ext cx="127000" cy="42863"/>
            </a:xfrm>
            <a:custGeom>
              <a:avLst/>
              <a:gdLst>
                <a:gd name="T0" fmla="*/ 62 w 66"/>
                <a:gd name="T1" fmla="*/ 11 h 22"/>
                <a:gd name="T2" fmla="*/ 6 w 66"/>
                <a:gd name="T3" fmla="*/ 21 h 22"/>
                <a:gd name="T4" fmla="*/ 1 w 66"/>
                <a:gd name="T5" fmla="*/ 18 h 22"/>
                <a:gd name="T6" fmla="*/ 1 w 66"/>
                <a:gd name="T7" fmla="*/ 17 h 22"/>
                <a:gd name="T8" fmla="*/ 4 w 66"/>
                <a:gd name="T9" fmla="*/ 11 h 22"/>
                <a:gd name="T10" fmla="*/ 60 w 66"/>
                <a:gd name="T11" fmla="*/ 1 h 22"/>
                <a:gd name="T12" fmla="*/ 65 w 66"/>
                <a:gd name="T13" fmla="*/ 4 h 22"/>
                <a:gd name="T14" fmla="*/ 65 w 66"/>
                <a:gd name="T15" fmla="*/ 5 h 22"/>
                <a:gd name="T16" fmla="*/ 62 w 66"/>
                <a:gd name="T17" fmla="*/ 11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6" h="22">
                  <a:moveTo>
                    <a:pt x="62" y="11"/>
                  </a:moveTo>
                  <a:cubicBezTo>
                    <a:pt x="6" y="21"/>
                    <a:pt x="6" y="21"/>
                    <a:pt x="6" y="21"/>
                  </a:cubicBezTo>
                  <a:cubicBezTo>
                    <a:pt x="4" y="22"/>
                    <a:pt x="2" y="20"/>
                    <a:pt x="1" y="18"/>
                  </a:cubicBezTo>
                  <a:cubicBezTo>
                    <a:pt x="1" y="17"/>
                    <a:pt x="1" y="17"/>
                    <a:pt x="1" y="17"/>
                  </a:cubicBezTo>
                  <a:cubicBezTo>
                    <a:pt x="0" y="14"/>
                    <a:pt x="2" y="12"/>
                    <a:pt x="4" y="11"/>
                  </a:cubicBezTo>
                  <a:cubicBezTo>
                    <a:pt x="60" y="1"/>
                    <a:pt x="60" y="1"/>
                    <a:pt x="60" y="1"/>
                  </a:cubicBezTo>
                  <a:cubicBezTo>
                    <a:pt x="62" y="0"/>
                    <a:pt x="65" y="2"/>
                    <a:pt x="65" y="4"/>
                  </a:cubicBezTo>
                  <a:cubicBezTo>
                    <a:pt x="65" y="5"/>
                    <a:pt x="65" y="5"/>
                    <a:pt x="65" y="5"/>
                  </a:cubicBezTo>
                  <a:cubicBezTo>
                    <a:pt x="66" y="8"/>
                    <a:pt x="64" y="10"/>
                    <a:pt x="62" y="11"/>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4" name="Freeform 180">
              <a:extLst>
                <a:ext uri="{FF2B5EF4-FFF2-40B4-BE49-F238E27FC236}">
                  <a16:creationId xmlns:a16="http://schemas.microsoft.com/office/drawing/2014/main" id="{1500BCCE-1ED6-4452-B61A-DEF38DD845F2}"/>
                </a:ext>
              </a:extLst>
            </p:cNvPr>
            <p:cNvSpPr>
              <a:spLocks/>
            </p:cNvSpPr>
            <p:nvPr/>
          </p:nvSpPr>
          <p:spPr bwMode="auto">
            <a:xfrm>
              <a:off x="3144838" y="4881565"/>
              <a:ext cx="88900" cy="106363"/>
            </a:xfrm>
            <a:custGeom>
              <a:avLst/>
              <a:gdLst>
                <a:gd name="T0" fmla="*/ 44 w 46"/>
                <a:gd name="T1" fmla="*/ 9 h 55"/>
                <a:gd name="T2" fmla="*/ 9 w 46"/>
                <a:gd name="T3" fmla="*/ 53 h 55"/>
                <a:gd name="T4" fmla="*/ 3 w 46"/>
                <a:gd name="T5" fmla="*/ 54 h 55"/>
                <a:gd name="T6" fmla="*/ 2 w 46"/>
                <a:gd name="T7" fmla="*/ 53 h 55"/>
                <a:gd name="T8" fmla="*/ 1 w 46"/>
                <a:gd name="T9" fmla="*/ 47 h 55"/>
                <a:gd name="T10" fmla="*/ 36 w 46"/>
                <a:gd name="T11" fmla="*/ 2 h 55"/>
                <a:gd name="T12" fmla="*/ 42 w 46"/>
                <a:gd name="T13" fmla="*/ 2 h 55"/>
                <a:gd name="T14" fmla="*/ 43 w 46"/>
                <a:gd name="T15" fmla="*/ 2 h 55"/>
                <a:gd name="T16" fmla="*/ 44 w 46"/>
                <a:gd name="T17" fmla="*/ 9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6" h="55">
                  <a:moveTo>
                    <a:pt x="44" y="9"/>
                  </a:moveTo>
                  <a:cubicBezTo>
                    <a:pt x="9" y="53"/>
                    <a:pt x="9" y="53"/>
                    <a:pt x="9" y="53"/>
                  </a:cubicBezTo>
                  <a:cubicBezTo>
                    <a:pt x="8" y="55"/>
                    <a:pt x="5" y="55"/>
                    <a:pt x="3" y="54"/>
                  </a:cubicBezTo>
                  <a:cubicBezTo>
                    <a:pt x="2" y="53"/>
                    <a:pt x="2" y="53"/>
                    <a:pt x="2" y="53"/>
                  </a:cubicBezTo>
                  <a:cubicBezTo>
                    <a:pt x="0" y="52"/>
                    <a:pt x="0" y="49"/>
                    <a:pt x="1" y="47"/>
                  </a:cubicBezTo>
                  <a:cubicBezTo>
                    <a:pt x="36" y="2"/>
                    <a:pt x="36" y="2"/>
                    <a:pt x="36" y="2"/>
                  </a:cubicBezTo>
                  <a:cubicBezTo>
                    <a:pt x="37" y="0"/>
                    <a:pt x="40" y="0"/>
                    <a:pt x="42" y="2"/>
                  </a:cubicBezTo>
                  <a:cubicBezTo>
                    <a:pt x="43" y="2"/>
                    <a:pt x="43" y="2"/>
                    <a:pt x="43" y="2"/>
                  </a:cubicBezTo>
                  <a:cubicBezTo>
                    <a:pt x="45" y="4"/>
                    <a:pt x="46" y="7"/>
                    <a:pt x="44" y="9"/>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5" name="Freeform 181">
              <a:extLst>
                <a:ext uri="{FF2B5EF4-FFF2-40B4-BE49-F238E27FC236}">
                  <a16:creationId xmlns:a16="http://schemas.microsoft.com/office/drawing/2014/main" id="{88D02EEF-863A-4AE1-AD7A-392A4D2B6076}"/>
                </a:ext>
              </a:extLst>
            </p:cNvPr>
            <p:cNvSpPr>
              <a:spLocks/>
            </p:cNvSpPr>
            <p:nvPr/>
          </p:nvSpPr>
          <p:spPr bwMode="auto">
            <a:xfrm>
              <a:off x="3149600" y="4995866"/>
              <a:ext cx="96837" cy="96838"/>
            </a:xfrm>
            <a:custGeom>
              <a:avLst/>
              <a:gdLst>
                <a:gd name="T0" fmla="*/ 9 w 51"/>
                <a:gd name="T1" fmla="*/ 1 h 50"/>
                <a:gd name="T2" fmla="*/ 49 w 51"/>
                <a:gd name="T3" fmla="*/ 41 h 50"/>
                <a:gd name="T4" fmla="*/ 49 w 51"/>
                <a:gd name="T5" fmla="*/ 48 h 50"/>
                <a:gd name="T6" fmla="*/ 48 w 51"/>
                <a:gd name="T7" fmla="*/ 49 h 50"/>
                <a:gd name="T8" fmla="*/ 42 w 51"/>
                <a:gd name="T9" fmla="*/ 49 h 50"/>
                <a:gd name="T10" fmla="*/ 2 w 51"/>
                <a:gd name="T11" fmla="*/ 9 h 50"/>
                <a:gd name="T12" fmla="*/ 2 w 51"/>
                <a:gd name="T13" fmla="*/ 2 h 50"/>
                <a:gd name="T14" fmla="*/ 3 w 51"/>
                <a:gd name="T15" fmla="*/ 1 h 50"/>
                <a:gd name="T16" fmla="*/ 9 w 51"/>
                <a:gd name="T17" fmla="*/ 1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1" h="50">
                  <a:moveTo>
                    <a:pt x="9" y="1"/>
                  </a:moveTo>
                  <a:cubicBezTo>
                    <a:pt x="49" y="41"/>
                    <a:pt x="49" y="41"/>
                    <a:pt x="49" y="41"/>
                  </a:cubicBezTo>
                  <a:cubicBezTo>
                    <a:pt x="51" y="43"/>
                    <a:pt x="51" y="46"/>
                    <a:pt x="49" y="48"/>
                  </a:cubicBezTo>
                  <a:cubicBezTo>
                    <a:pt x="48" y="49"/>
                    <a:pt x="48" y="49"/>
                    <a:pt x="48" y="49"/>
                  </a:cubicBezTo>
                  <a:cubicBezTo>
                    <a:pt x="47" y="50"/>
                    <a:pt x="44" y="50"/>
                    <a:pt x="42" y="49"/>
                  </a:cubicBezTo>
                  <a:cubicBezTo>
                    <a:pt x="2" y="9"/>
                    <a:pt x="2" y="9"/>
                    <a:pt x="2" y="9"/>
                  </a:cubicBezTo>
                  <a:cubicBezTo>
                    <a:pt x="0" y="7"/>
                    <a:pt x="0" y="4"/>
                    <a:pt x="2" y="2"/>
                  </a:cubicBezTo>
                  <a:cubicBezTo>
                    <a:pt x="3" y="1"/>
                    <a:pt x="3" y="1"/>
                    <a:pt x="3" y="1"/>
                  </a:cubicBezTo>
                  <a:cubicBezTo>
                    <a:pt x="5" y="0"/>
                    <a:pt x="7" y="0"/>
                    <a:pt x="9" y="1"/>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6" name="Freeform 182">
              <a:extLst>
                <a:ext uri="{FF2B5EF4-FFF2-40B4-BE49-F238E27FC236}">
                  <a16:creationId xmlns:a16="http://schemas.microsoft.com/office/drawing/2014/main" id="{CE161E87-7E82-4577-AE81-3D8F13C7F54F}"/>
                </a:ext>
              </a:extLst>
            </p:cNvPr>
            <p:cNvSpPr>
              <a:spLocks/>
            </p:cNvSpPr>
            <p:nvPr/>
          </p:nvSpPr>
          <p:spPr bwMode="auto">
            <a:xfrm>
              <a:off x="3087688" y="4927603"/>
              <a:ext cx="117475" cy="119063"/>
            </a:xfrm>
            <a:custGeom>
              <a:avLst/>
              <a:gdLst>
                <a:gd name="T0" fmla="*/ 59 w 61"/>
                <a:gd name="T1" fmla="*/ 27 h 61"/>
                <a:gd name="T2" fmla="*/ 35 w 61"/>
                <a:gd name="T3" fmla="*/ 59 h 61"/>
                <a:gd name="T4" fmla="*/ 2 w 61"/>
                <a:gd name="T5" fmla="*/ 35 h 61"/>
                <a:gd name="T6" fmla="*/ 27 w 61"/>
                <a:gd name="T7" fmla="*/ 2 h 61"/>
                <a:gd name="T8" fmla="*/ 59 w 61"/>
                <a:gd name="T9" fmla="*/ 27 h 61"/>
              </a:gdLst>
              <a:ahLst/>
              <a:cxnLst>
                <a:cxn ang="0">
                  <a:pos x="T0" y="T1"/>
                </a:cxn>
                <a:cxn ang="0">
                  <a:pos x="T2" y="T3"/>
                </a:cxn>
                <a:cxn ang="0">
                  <a:pos x="T4" y="T5"/>
                </a:cxn>
                <a:cxn ang="0">
                  <a:pos x="T6" y="T7"/>
                </a:cxn>
                <a:cxn ang="0">
                  <a:pos x="T8" y="T9"/>
                </a:cxn>
              </a:cxnLst>
              <a:rect l="0" t="0" r="r" b="b"/>
              <a:pathLst>
                <a:path w="61" h="61">
                  <a:moveTo>
                    <a:pt x="59" y="27"/>
                  </a:moveTo>
                  <a:cubicBezTo>
                    <a:pt x="61" y="42"/>
                    <a:pt x="50" y="57"/>
                    <a:pt x="35" y="59"/>
                  </a:cubicBezTo>
                  <a:cubicBezTo>
                    <a:pt x="19" y="61"/>
                    <a:pt x="4" y="50"/>
                    <a:pt x="2" y="35"/>
                  </a:cubicBezTo>
                  <a:cubicBezTo>
                    <a:pt x="0" y="19"/>
                    <a:pt x="11" y="4"/>
                    <a:pt x="27" y="2"/>
                  </a:cubicBezTo>
                  <a:cubicBezTo>
                    <a:pt x="42" y="0"/>
                    <a:pt x="57" y="11"/>
                    <a:pt x="59" y="27"/>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7" name="Freeform 183">
              <a:extLst>
                <a:ext uri="{FF2B5EF4-FFF2-40B4-BE49-F238E27FC236}">
                  <a16:creationId xmlns:a16="http://schemas.microsoft.com/office/drawing/2014/main" id="{96867774-6F64-478B-949B-4AB202FF51ED}"/>
                </a:ext>
              </a:extLst>
            </p:cNvPr>
            <p:cNvSpPr>
              <a:spLocks/>
            </p:cNvSpPr>
            <p:nvPr/>
          </p:nvSpPr>
          <p:spPr bwMode="auto">
            <a:xfrm>
              <a:off x="3187700" y="5040316"/>
              <a:ext cx="184150" cy="173038"/>
            </a:xfrm>
            <a:custGeom>
              <a:avLst/>
              <a:gdLst>
                <a:gd name="T0" fmla="*/ 91 w 96"/>
                <a:gd name="T1" fmla="*/ 33 h 89"/>
                <a:gd name="T2" fmla="*/ 58 w 96"/>
                <a:gd name="T3" fmla="*/ 83 h 89"/>
                <a:gd name="T4" fmla="*/ 5 w 96"/>
                <a:gd name="T5" fmla="*/ 55 h 89"/>
                <a:gd name="T6" fmla="*/ 38 w 96"/>
                <a:gd name="T7" fmla="*/ 6 h 89"/>
                <a:gd name="T8" fmla="*/ 91 w 96"/>
                <a:gd name="T9" fmla="*/ 33 h 89"/>
              </a:gdLst>
              <a:ahLst/>
              <a:cxnLst>
                <a:cxn ang="0">
                  <a:pos x="T0" y="T1"/>
                </a:cxn>
                <a:cxn ang="0">
                  <a:pos x="T2" y="T3"/>
                </a:cxn>
                <a:cxn ang="0">
                  <a:pos x="T4" y="T5"/>
                </a:cxn>
                <a:cxn ang="0">
                  <a:pos x="T6" y="T7"/>
                </a:cxn>
                <a:cxn ang="0">
                  <a:pos x="T8" y="T9"/>
                </a:cxn>
              </a:cxnLst>
              <a:rect l="0" t="0" r="r" b="b"/>
              <a:pathLst>
                <a:path w="96" h="89">
                  <a:moveTo>
                    <a:pt x="91" y="33"/>
                  </a:moveTo>
                  <a:cubicBezTo>
                    <a:pt x="96" y="55"/>
                    <a:pt x="82" y="77"/>
                    <a:pt x="58" y="83"/>
                  </a:cubicBezTo>
                  <a:cubicBezTo>
                    <a:pt x="34" y="89"/>
                    <a:pt x="10" y="77"/>
                    <a:pt x="5" y="55"/>
                  </a:cubicBezTo>
                  <a:cubicBezTo>
                    <a:pt x="0" y="34"/>
                    <a:pt x="14" y="12"/>
                    <a:pt x="38" y="6"/>
                  </a:cubicBezTo>
                  <a:cubicBezTo>
                    <a:pt x="62" y="0"/>
                    <a:pt x="85" y="12"/>
                    <a:pt x="91" y="33"/>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3382584038"/>
      </p:ext>
    </p:extLst>
  </p:cSld>
  <p:clrMapOvr>
    <a:masterClrMapping/>
  </p:clrMapOvr>
</p:sld>
</file>

<file path=ppt/slides/slide1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pl-PL" dirty="0"/>
              <a:t>Agenda</a:t>
            </a:r>
            <a:endParaRPr lang="en-GB" dirty="0"/>
          </a:p>
        </p:txBody>
      </p:sp>
      <p:sp>
        <p:nvSpPr>
          <p:cNvPr id="5" name="Text Placeholder 4"/>
          <p:cNvSpPr>
            <a:spLocks noGrp="1"/>
          </p:cNvSpPr>
          <p:nvPr>
            <p:ph type="body" sz="quarter" idx="10"/>
          </p:nvPr>
        </p:nvSpPr>
        <p:spPr/>
        <p:txBody>
          <a:bodyPr/>
          <a:lstStyle/>
          <a:p>
            <a:pPr lvl="1"/>
            <a:r>
              <a:rPr lang="en-US" dirty="0">
                <a:solidFill>
                  <a:schemeClr val="bg1">
                    <a:lumMod val="95000"/>
                  </a:schemeClr>
                </a:solidFill>
              </a:rPr>
              <a:t>What’s new in C# 8.0</a:t>
            </a:r>
          </a:p>
          <a:p>
            <a:pPr lvl="2"/>
            <a:r>
              <a:rPr lang="en-US" dirty="0">
                <a:solidFill>
                  <a:schemeClr val="bg1">
                    <a:lumMod val="95000"/>
                  </a:schemeClr>
                </a:solidFill>
              </a:rPr>
              <a:t>Nullable reference types,</a:t>
            </a:r>
          </a:p>
          <a:p>
            <a:pPr lvl="2"/>
            <a:r>
              <a:rPr lang="en-US" dirty="0">
                <a:solidFill>
                  <a:schemeClr val="bg1">
                    <a:lumMod val="95000"/>
                  </a:schemeClr>
                </a:solidFill>
              </a:rPr>
              <a:t>async streams,</a:t>
            </a:r>
          </a:p>
          <a:p>
            <a:pPr lvl="2"/>
            <a:r>
              <a:rPr lang="en-US" dirty="0">
                <a:solidFill>
                  <a:schemeClr val="bg1">
                    <a:lumMod val="95000"/>
                  </a:schemeClr>
                </a:solidFill>
              </a:rPr>
              <a:t>ranges and indices,</a:t>
            </a:r>
          </a:p>
          <a:p>
            <a:pPr lvl="2"/>
            <a:r>
              <a:rPr lang="en-US" dirty="0">
                <a:solidFill>
                  <a:schemeClr val="bg1">
                    <a:lumMod val="95000"/>
                  </a:schemeClr>
                </a:solidFill>
              </a:rPr>
              <a:t>default interface members,</a:t>
            </a:r>
          </a:p>
          <a:p>
            <a:pPr lvl="2"/>
            <a:r>
              <a:rPr lang="en-US" dirty="0">
                <a:solidFill>
                  <a:schemeClr val="bg1">
                    <a:lumMod val="95000"/>
                  </a:schemeClr>
                </a:solidFill>
              </a:rPr>
              <a:t>recursive patterns,</a:t>
            </a:r>
          </a:p>
          <a:p>
            <a:pPr lvl="2"/>
            <a:r>
              <a:rPr lang="en-US" dirty="0">
                <a:solidFill>
                  <a:schemeClr val="bg1">
                    <a:lumMod val="95000"/>
                  </a:schemeClr>
                </a:solidFill>
              </a:rPr>
              <a:t>switch expressions,</a:t>
            </a:r>
          </a:p>
          <a:p>
            <a:pPr lvl="2"/>
            <a:r>
              <a:rPr lang="en-US" dirty="0">
                <a:solidFill>
                  <a:schemeClr val="bg1">
                    <a:lumMod val="95000"/>
                  </a:schemeClr>
                </a:solidFill>
              </a:rPr>
              <a:t>target-typed new-expressions,</a:t>
            </a:r>
          </a:p>
          <a:p>
            <a:pPr lvl="2"/>
            <a:r>
              <a:rPr lang="en-US" dirty="0">
                <a:solidFill>
                  <a:schemeClr val="bg1">
                    <a:lumMod val="95000"/>
                  </a:schemeClr>
                </a:solidFill>
              </a:rPr>
              <a:t>extension everything,</a:t>
            </a:r>
          </a:p>
          <a:p>
            <a:pPr lvl="2"/>
            <a:r>
              <a:rPr lang="en-US" dirty="0">
                <a:solidFill>
                  <a:schemeClr val="bg1">
                    <a:lumMod val="95000"/>
                  </a:schemeClr>
                </a:solidFill>
              </a:rPr>
              <a:t>using declarations.</a:t>
            </a:r>
            <a:endParaRPr lang="en-GB" dirty="0">
              <a:solidFill>
                <a:schemeClr val="bg1">
                  <a:lumMod val="95000"/>
                </a:schemeClr>
              </a:solidFill>
            </a:endParaRPr>
          </a:p>
          <a:p>
            <a:pPr lvl="2"/>
            <a:endParaRPr lang="en-GB" dirty="0">
              <a:solidFill>
                <a:schemeClr val="bg1">
                  <a:lumMod val="95000"/>
                </a:schemeClr>
              </a:solidFill>
            </a:endParaRPr>
          </a:p>
        </p:txBody>
      </p:sp>
      <p:sp>
        <p:nvSpPr>
          <p:cNvPr id="6" name="Text Placeholder 5"/>
          <p:cNvSpPr>
            <a:spLocks noGrp="1"/>
          </p:cNvSpPr>
          <p:nvPr>
            <p:ph type="body" sz="quarter" idx="11"/>
          </p:nvPr>
        </p:nvSpPr>
        <p:spPr/>
        <p:txBody>
          <a:bodyPr/>
          <a:lstStyle/>
          <a:p>
            <a:r>
              <a:rPr lang="en-US" dirty="0"/>
              <a:t>We are going to talk about…</a:t>
            </a:r>
          </a:p>
        </p:txBody>
      </p:sp>
      <p:sp>
        <p:nvSpPr>
          <p:cNvPr id="7" name="Text Placeholder 4">
            <a:extLst>
              <a:ext uri="{FF2B5EF4-FFF2-40B4-BE49-F238E27FC236}">
                <a16:creationId xmlns:a16="http://schemas.microsoft.com/office/drawing/2014/main" id="{63765791-BF79-472B-ACEA-FA2DB95D860D}"/>
              </a:ext>
            </a:extLst>
          </p:cNvPr>
          <p:cNvSpPr txBox="1">
            <a:spLocks/>
          </p:cNvSpPr>
          <p:nvPr/>
        </p:nvSpPr>
        <p:spPr>
          <a:xfrm>
            <a:off x="227348" y="1815350"/>
            <a:ext cx="11700000" cy="4466201"/>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r>
              <a:rPr lang="en-US" dirty="0"/>
              <a:t>What’s new in C# 8.0</a:t>
            </a:r>
          </a:p>
          <a:p>
            <a:pPr lvl="2"/>
            <a:r>
              <a:rPr lang="en-US" dirty="0"/>
              <a:t>Nullable reference types,</a:t>
            </a:r>
          </a:p>
          <a:p>
            <a:pPr lvl="2"/>
            <a:r>
              <a:rPr lang="en-US" dirty="0"/>
              <a:t>async streams,</a:t>
            </a:r>
          </a:p>
          <a:p>
            <a:pPr lvl="2"/>
            <a:r>
              <a:rPr lang="en-US" dirty="0"/>
              <a:t>ranges and indices,</a:t>
            </a:r>
          </a:p>
          <a:p>
            <a:pPr lvl="2"/>
            <a:r>
              <a:rPr lang="en-US" dirty="0"/>
              <a:t>default interface members,</a:t>
            </a:r>
          </a:p>
          <a:p>
            <a:pPr lvl="2"/>
            <a:r>
              <a:rPr lang="en-US" dirty="0"/>
              <a:t>recursive patterns,</a:t>
            </a:r>
          </a:p>
          <a:p>
            <a:pPr lvl="2"/>
            <a:r>
              <a:rPr lang="en-US" dirty="0"/>
              <a:t>switch expressions,</a:t>
            </a:r>
          </a:p>
          <a:p>
            <a:pPr lvl="2"/>
            <a:r>
              <a:rPr lang="en-US" dirty="0"/>
              <a:t>target-typed new-expressions,</a:t>
            </a:r>
          </a:p>
          <a:p>
            <a:pPr lvl="2"/>
            <a:r>
              <a:rPr lang="en-US" dirty="0"/>
              <a:t>extension everything.</a:t>
            </a:r>
            <a:endParaRPr lang="en-GB" dirty="0"/>
          </a:p>
        </p:txBody>
      </p:sp>
    </p:spTree>
    <p:extLst>
      <p:ext uri="{BB962C8B-B14F-4D97-AF65-F5344CB8AC3E}">
        <p14:creationId xmlns:p14="http://schemas.microsoft.com/office/powerpoint/2010/main" val="203438169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
                                            <p:txEl>
                                              <p:pRg st="8" end="8"/>
                                            </p:txEl>
                                          </p:spTgt>
                                        </p:tgtEl>
                                        <p:attrNameLst>
                                          <p:attrName>style.visibility</p:attrName>
                                        </p:attrNameLst>
                                      </p:cBhvr>
                                      <p:to>
                                        <p:strVal val="visible"/>
                                      </p:to>
                                    </p:set>
                                    <p:animEffect transition="in" filter="fade">
                                      <p:cBhvr>
                                        <p:cTn id="7" dur="500"/>
                                        <p:tgtEl>
                                          <p:spTgt spid="7">
                                            <p:txEl>
                                              <p:pRg st="8" end="8"/>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1">
            <a:extLst>
              <a:ext uri="{FF2B5EF4-FFF2-40B4-BE49-F238E27FC236}">
                <a16:creationId xmlns:a16="http://schemas.microsoft.com/office/drawing/2014/main" id="{A5665095-8E9E-4D58-BDB7-1567809E1C30}"/>
              </a:ext>
            </a:extLst>
          </p:cNvPr>
          <p:cNvSpPr>
            <a:spLocks noGrp="1"/>
          </p:cNvSpPr>
          <p:nvPr>
            <p:ph type="pic" sz="quarter" idx="10"/>
          </p:nvPr>
        </p:nvSpPr>
        <p:spPr/>
      </p:sp>
      <p:sp>
        <p:nvSpPr>
          <p:cNvPr id="6" name="Symbol zastępczy tekstu 5">
            <a:extLst>
              <a:ext uri="{FF2B5EF4-FFF2-40B4-BE49-F238E27FC236}">
                <a16:creationId xmlns:a16="http://schemas.microsoft.com/office/drawing/2014/main" id="{EC19D1F0-CA19-48E4-B6B7-FE7D3388EB92}"/>
              </a:ext>
            </a:extLst>
          </p:cNvPr>
          <p:cNvSpPr>
            <a:spLocks noGrp="1"/>
          </p:cNvSpPr>
          <p:nvPr>
            <p:ph type="body" sz="quarter" idx="11"/>
          </p:nvPr>
        </p:nvSpPr>
        <p:spPr/>
        <p:txBody>
          <a:bodyPr/>
          <a:lstStyle/>
          <a:p>
            <a:r>
              <a:rPr lang="en-US" dirty="0"/>
              <a:t>What’s new in C# 8.0</a:t>
            </a:r>
          </a:p>
          <a:p>
            <a:r>
              <a:rPr lang="en-US" sz="2400" dirty="0"/>
              <a:t>Extension everything</a:t>
            </a:r>
          </a:p>
        </p:txBody>
      </p:sp>
      <p:sp>
        <p:nvSpPr>
          <p:cNvPr id="28" name="Freeform 37">
            <a:extLst>
              <a:ext uri="{FF2B5EF4-FFF2-40B4-BE49-F238E27FC236}">
                <a16:creationId xmlns:a16="http://schemas.microsoft.com/office/drawing/2014/main" id="{C163FEF7-EB42-4298-AED9-19E8D9ACF2E4}"/>
              </a:ext>
            </a:extLst>
          </p:cNvPr>
          <p:cNvSpPr>
            <a:spLocks/>
          </p:cNvSpPr>
          <p:nvPr/>
        </p:nvSpPr>
        <p:spPr bwMode="auto">
          <a:xfrm>
            <a:off x="8830800" y="3578400"/>
            <a:ext cx="844550" cy="793750"/>
          </a:xfrm>
          <a:custGeom>
            <a:avLst/>
            <a:gdLst>
              <a:gd name="T0" fmla="*/ 51 w 440"/>
              <a:gd name="T1" fmla="*/ 298 h 410"/>
              <a:gd name="T2" fmla="*/ 128 w 440"/>
              <a:gd name="T3" fmla="*/ 48 h 410"/>
              <a:gd name="T4" fmla="*/ 389 w 440"/>
              <a:gd name="T5" fmla="*/ 122 h 410"/>
              <a:gd name="T6" fmla="*/ 307 w 440"/>
              <a:gd name="T7" fmla="*/ 362 h 410"/>
              <a:gd name="T8" fmla="*/ 51 w 440"/>
              <a:gd name="T9" fmla="*/ 298 h 410"/>
            </a:gdLst>
            <a:ahLst/>
            <a:cxnLst>
              <a:cxn ang="0">
                <a:pos x="T0" y="T1"/>
              </a:cxn>
              <a:cxn ang="0">
                <a:pos x="T2" y="T3"/>
              </a:cxn>
              <a:cxn ang="0">
                <a:pos x="T4" y="T5"/>
              </a:cxn>
              <a:cxn ang="0">
                <a:pos x="T6" y="T7"/>
              </a:cxn>
              <a:cxn ang="0">
                <a:pos x="T8" y="T9"/>
              </a:cxn>
            </a:cxnLst>
            <a:rect l="0" t="0" r="r" b="b"/>
            <a:pathLst>
              <a:path w="440" h="410">
                <a:moveTo>
                  <a:pt x="51" y="298"/>
                </a:moveTo>
                <a:cubicBezTo>
                  <a:pt x="0" y="209"/>
                  <a:pt x="34" y="97"/>
                  <a:pt x="128" y="48"/>
                </a:cubicBezTo>
                <a:cubicBezTo>
                  <a:pt x="221" y="0"/>
                  <a:pt x="338" y="33"/>
                  <a:pt x="389" y="122"/>
                </a:cubicBezTo>
                <a:cubicBezTo>
                  <a:pt x="440" y="212"/>
                  <a:pt x="400" y="313"/>
                  <a:pt x="307" y="362"/>
                </a:cubicBezTo>
                <a:cubicBezTo>
                  <a:pt x="214" y="410"/>
                  <a:pt x="102" y="388"/>
                  <a:pt x="51" y="298"/>
                </a:cubicBezTo>
              </a:path>
            </a:pathLst>
          </a:custGeom>
          <a:solidFill>
            <a:srgbClr val="860864"/>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3" name="Oval 20">
            <a:extLst>
              <a:ext uri="{FF2B5EF4-FFF2-40B4-BE49-F238E27FC236}">
                <a16:creationId xmlns:a16="http://schemas.microsoft.com/office/drawing/2014/main" id="{EE9B31FA-25FA-4CC1-863F-BB3D69944DF9}"/>
              </a:ext>
            </a:extLst>
          </p:cNvPr>
          <p:cNvSpPr/>
          <p:nvPr/>
        </p:nvSpPr>
        <p:spPr>
          <a:xfrm>
            <a:off x="6899617" y="3501008"/>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42" name="Oval 20">
            <a:extLst>
              <a:ext uri="{FF2B5EF4-FFF2-40B4-BE49-F238E27FC236}">
                <a16:creationId xmlns:a16="http://schemas.microsoft.com/office/drawing/2014/main" id="{9C48F09E-5C3B-4BEA-BD8F-85A5DCB0325B}"/>
              </a:ext>
            </a:extLst>
          </p:cNvPr>
          <p:cNvSpPr/>
          <p:nvPr/>
        </p:nvSpPr>
        <p:spPr>
          <a:xfrm>
            <a:off x="8904312" y="4263464"/>
            <a:ext cx="1356623" cy="128178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7" name="Group 619">
            <a:extLst>
              <a:ext uri="{FF2B5EF4-FFF2-40B4-BE49-F238E27FC236}">
                <a16:creationId xmlns:a16="http://schemas.microsoft.com/office/drawing/2014/main" id="{D8FDBFB1-F7B4-4987-A0FA-10705EDA3469}"/>
              </a:ext>
            </a:extLst>
          </p:cNvPr>
          <p:cNvGrpSpPr/>
          <p:nvPr/>
        </p:nvGrpSpPr>
        <p:grpSpPr>
          <a:xfrm>
            <a:off x="7386059" y="3860085"/>
            <a:ext cx="1090678" cy="1257126"/>
            <a:chOff x="1778001" y="2597037"/>
            <a:chExt cx="395288" cy="455613"/>
          </a:xfrm>
        </p:grpSpPr>
        <p:sp>
          <p:nvSpPr>
            <p:cNvPr id="9" name="Freeform 42">
              <a:extLst>
                <a:ext uri="{FF2B5EF4-FFF2-40B4-BE49-F238E27FC236}">
                  <a16:creationId xmlns:a16="http://schemas.microsoft.com/office/drawing/2014/main" id="{B9744EAA-A088-41C1-AA67-F10A21298D4C}"/>
                </a:ext>
              </a:extLst>
            </p:cNvPr>
            <p:cNvSpPr>
              <a:spLocks/>
            </p:cNvSpPr>
            <p:nvPr/>
          </p:nvSpPr>
          <p:spPr bwMode="auto">
            <a:xfrm>
              <a:off x="1890714" y="2597037"/>
              <a:ext cx="174625" cy="455613"/>
            </a:xfrm>
            <a:custGeom>
              <a:avLst/>
              <a:gdLst>
                <a:gd name="T0" fmla="*/ 59 w 91"/>
                <a:gd name="T1" fmla="*/ 235 h 235"/>
                <a:gd name="T2" fmla="*/ 53 w 91"/>
                <a:gd name="T3" fmla="*/ 232 h 235"/>
                <a:gd name="T4" fmla="*/ 53 w 91"/>
                <a:gd name="T5" fmla="*/ 219 h 235"/>
                <a:gd name="T6" fmla="*/ 58 w 91"/>
                <a:gd name="T7" fmla="*/ 171 h 235"/>
                <a:gd name="T8" fmla="*/ 30 w 91"/>
                <a:gd name="T9" fmla="*/ 113 h 235"/>
                <a:gd name="T10" fmla="*/ 6 w 91"/>
                <a:gd name="T11" fmla="*/ 52 h 235"/>
                <a:gd name="T12" fmla="*/ 18 w 91"/>
                <a:gd name="T13" fmla="*/ 4 h 235"/>
                <a:gd name="T14" fmla="*/ 31 w 91"/>
                <a:gd name="T15" fmla="*/ 3 h 235"/>
                <a:gd name="T16" fmla="*/ 32 w 91"/>
                <a:gd name="T17" fmla="*/ 15 h 235"/>
                <a:gd name="T18" fmla="*/ 23 w 91"/>
                <a:gd name="T19" fmla="*/ 48 h 235"/>
                <a:gd name="T20" fmla="*/ 23 w 91"/>
                <a:gd name="T21" fmla="*/ 49 h 235"/>
                <a:gd name="T22" fmla="*/ 46 w 91"/>
                <a:gd name="T23" fmla="*/ 104 h 235"/>
                <a:gd name="T24" fmla="*/ 74 w 91"/>
                <a:gd name="T25" fmla="*/ 164 h 235"/>
                <a:gd name="T26" fmla="*/ 65 w 91"/>
                <a:gd name="T27" fmla="*/ 232 h 235"/>
                <a:gd name="T28" fmla="*/ 59 w 91"/>
                <a:gd name="T29" fmla="*/ 235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1" h="235">
                  <a:moveTo>
                    <a:pt x="59" y="235"/>
                  </a:moveTo>
                  <a:cubicBezTo>
                    <a:pt x="57" y="235"/>
                    <a:pt x="54" y="234"/>
                    <a:pt x="53" y="232"/>
                  </a:cubicBezTo>
                  <a:cubicBezTo>
                    <a:pt x="50" y="228"/>
                    <a:pt x="50" y="223"/>
                    <a:pt x="53" y="219"/>
                  </a:cubicBezTo>
                  <a:cubicBezTo>
                    <a:pt x="54" y="219"/>
                    <a:pt x="70" y="203"/>
                    <a:pt x="58" y="171"/>
                  </a:cubicBezTo>
                  <a:cubicBezTo>
                    <a:pt x="48" y="147"/>
                    <a:pt x="39" y="129"/>
                    <a:pt x="30" y="113"/>
                  </a:cubicBezTo>
                  <a:cubicBezTo>
                    <a:pt x="18" y="90"/>
                    <a:pt x="9" y="73"/>
                    <a:pt x="6" y="52"/>
                  </a:cubicBezTo>
                  <a:cubicBezTo>
                    <a:pt x="0" y="26"/>
                    <a:pt x="18" y="5"/>
                    <a:pt x="18" y="4"/>
                  </a:cubicBezTo>
                  <a:cubicBezTo>
                    <a:pt x="22" y="0"/>
                    <a:pt x="27" y="0"/>
                    <a:pt x="31" y="3"/>
                  </a:cubicBezTo>
                  <a:cubicBezTo>
                    <a:pt x="34" y="6"/>
                    <a:pt x="35" y="12"/>
                    <a:pt x="32" y="15"/>
                  </a:cubicBezTo>
                  <a:cubicBezTo>
                    <a:pt x="31" y="16"/>
                    <a:pt x="19" y="31"/>
                    <a:pt x="23" y="48"/>
                  </a:cubicBezTo>
                  <a:cubicBezTo>
                    <a:pt x="23" y="49"/>
                    <a:pt x="23" y="49"/>
                    <a:pt x="23" y="49"/>
                  </a:cubicBezTo>
                  <a:cubicBezTo>
                    <a:pt x="26" y="67"/>
                    <a:pt x="35" y="83"/>
                    <a:pt x="46" y="104"/>
                  </a:cubicBezTo>
                  <a:cubicBezTo>
                    <a:pt x="54" y="121"/>
                    <a:pt x="64" y="140"/>
                    <a:pt x="74" y="164"/>
                  </a:cubicBezTo>
                  <a:cubicBezTo>
                    <a:pt x="91" y="208"/>
                    <a:pt x="66" y="231"/>
                    <a:pt x="65" y="232"/>
                  </a:cubicBezTo>
                  <a:cubicBezTo>
                    <a:pt x="63" y="234"/>
                    <a:pt x="61" y="235"/>
                    <a:pt x="59" y="235"/>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0" name="Freeform 43">
              <a:extLst>
                <a:ext uri="{FF2B5EF4-FFF2-40B4-BE49-F238E27FC236}">
                  <a16:creationId xmlns:a16="http://schemas.microsoft.com/office/drawing/2014/main" id="{C406175E-9E11-478C-ACA9-9C82B550621E}"/>
                </a:ext>
              </a:extLst>
            </p:cNvPr>
            <p:cNvSpPr>
              <a:spLocks/>
            </p:cNvSpPr>
            <p:nvPr/>
          </p:nvSpPr>
          <p:spPr bwMode="auto">
            <a:xfrm>
              <a:off x="1968501" y="2630375"/>
              <a:ext cx="119063" cy="50800"/>
            </a:xfrm>
            <a:custGeom>
              <a:avLst/>
              <a:gdLst>
                <a:gd name="T0" fmla="*/ 52 w 62"/>
                <a:gd name="T1" fmla="*/ 26 h 26"/>
                <a:gd name="T2" fmla="*/ 51 w 62"/>
                <a:gd name="T3" fmla="*/ 26 h 26"/>
                <a:gd name="T4" fmla="*/ 7 w 62"/>
                <a:gd name="T5" fmla="*/ 18 h 26"/>
                <a:gd name="T6" fmla="*/ 1 w 62"/>
                <a:gd name="T7" fmla="*/ 8 h 26"/>
                <a:gd name="T8" fmla="*/ 11 w 62"/>
                <a:gd name="T9" fmla="*/ 1 h 26"/>
                <a:gd name="T10" fmla="*/ 54 w 62"/>
                <a:gd name="T11" fmla="*/ 9 h 26"/>
                <a:gd name="T12" fmla="*/ 61 w 62"/>
                <a:gd name="T13" fmla="*/ 19 h 26"/>
                <a:gd name="T14" fmla="*/ 52 w 62"/>
                <a:gd name="T15" fmla="*/ 26 h 2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2" h="26">
                  <a:moveTo>
                    <a:pt x="52" y="26"/>
                  </a:moveTo>
                  <a:cubicBezTo>
                    <a:pt x="52" y="26"/>
                    <a:pt x="51" y="26"/>
                    <a:pt x="51" y="26"/>
                  </a:cubicBezTo>
                  <a:cubicBezTo>
                    <a:pt x="7" y="18"/>
                    <a:pt x="7" y="18"/>
                    <a:pt x="7" y="18"/>
                  </a:cubicBezTo>
                  <a:cubicBezTo>
                    <a:pt x="3" y="17"/>
                    <a:pt x="0" y="12"/>
                    <a:pt x="1" y="8"/>
                  </a:cubicBezTo>
                  <a:cubicBezTo>
                    <a:pt x="1" y="3"/>
                    <a:pt x="6" y="0"/>
                    <a:pt x="11" y="1"/>
                  </a:cubicBezTo>
                  <a:cubicBezTo>
                    <a:pt x="54" y="9"/>
                    <a:pt x="54" y="9"/>
                    <a:pt x="54" y="9"/>
                  </a:cubicBezTo>
                  <a:cubicBezTo>
                    <a:pt x="59" y="10"/>
                    <a:pt x="62" y="14"/>
                    <a:pt x="61" y="19"/>
                  </a:cubicBezTo>
                  <a:cubicBezTo>
                    <a:pt x="60" y="23"/>
                    <a:pt x="56" y="26"/>
                    <a:pt x="52" y="26"/>
                  </a:cubicBezTo>
                  <a:close/>
                </a:path>
              </a:pathLst>
            </a:custGeom>
            <a:solidFill>
              <a:srgbClr val="01D1D0"/>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1" name="Freeform 44">
              <a:extLst>
                <a:ext uri="{FF2B5EF4-FFF2-40B4-BE49-F238E27FC236}">
                  <a16:creationId xmlns:a16="http://schemas.microsoft.com/office/drawing/2014/main" id="{26A5A282-2456-40FF-A8D3-560C5119CA29}"/>
                </a:ext>
              </a:extLst>
            </p:cNvPr>
            <p:cNvSpPr>
              <a:spLocks/>
            </p:cNvSpPr>
            <p:nvPr/>
          </p:nvSpPr>
          <p:spPr bwMode="auto">
            <a:xfrm>
              <a:off x="1951039" y="2673237"/>
              <a:ext cx="141288" cy="65088"/>
            </a:xfrm>
            <a:custGeom>
              <a:avLst/>
              <a:gdLst>
                <a:gd name="T0" fmla="*/ 65 w 74"/>
                <a:gd name="T1" fmla="*/ 34 h 34"/>
                <a:gd name="T2" fmla="*/ 62 w 74"/>
                <a:gd name="T3" fmla="*/ 33 h 34"/>
                <a:gd name="T4" fmla="*/ 7 w 74"/>
                <a:gd name="T5" fmla="*/ 18 h 34"/>
                <a:gd name="T6" fmla="*/ 1 w 74"/>
                <a:gd name="T7" fmla="*/ 7 h 34"/>
                <a:gd name="T8" fmla="*/ 12 w 74"/>
                <a:gd name="T9" fmla="*/ 1 h 34"/>
                <a:gd name="T10" fmla="*/ 67 w 74"/>
                <a:gd name="T11" fmla="*/ 16 h 34"/>
                <a:gd name="T12" fmla="*/ 73 w 74"/>
                <a:gd name="T13" fmla="*/ 27 h 34"/>
                <a:gd name="T14" fmla="*/ 65 w 74"/>
                <a:gd name="T15" fmla="*/ 34 h 3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4" h="34">
                  <a:moveTo>
                    <a:pt x="65" y="34"/>
                  </a:moveTo>
                  <a:cubicBezTo>
                    <a:pt x="64" y="34"/>
                    <a:pt x="63" y="33"/>
                    <a:pt x="62" y="33"/>
                  </a:cubicBezTo>
                  <a:cubicBezTo>
                    <a:pt x="7" y="18"/>
                    <a:pt x="7" y="18"/>
                    <a:pt x="7" y="18"/>
                  </a:cubicBezTo>
                  <a:cubicBezTo>
                    <a:pt x="2" y="17"/>
                    <a:pt x="0" y="12"/>
                    <a:pt x="1" y="7"/>
                  </a:cubicBezTo>
                  <a:cubicBezTo>
                    <a:pt x="2" y="3"/>
                    <a:pt x="7" y="0"/>
                    <a:pt x="12" y="1"/>
                  </a:cubicBezTo>
                  <a:cubicBezTo>
                    <a:pt x="67" y="16"/>
                    <a:pt x="67" y="16"/>
                    <a:pt x="67" y="16"/>
                  </a:cubicBezTo>
                  <a:cubicBezTo>
                    <a:pt x="72" y="18"/>
                    <a:pt x="74" y="23"/>
                    <a:pt x="73" y="27"/>
                  </a:cubicBezTo>
                  <a:cubicBezTo>
                    <a:pt x="72" y="31"/>
                    <a:pt x="69" y="34"/>
                    <a:pt x="65" y="34"/>
                  </a:cubicBezTo>
                  <a:close/>
                </a:path>
              </a:pathLst>
            </a:custGeom>
            <a:solidFill>
              <a:srgbClr val="01D1D0"/>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2" name="Freeform 45">
              <a:extLst>
                <a:ext uri="{FF2B5EF4-FFF2-40B4-BE49-F238E27FC236}">
                  <a16:creationId xmlns:a16="http://schemas.microsoft.com/office/drawing/2014/main" id="{D53B8B1C-A14D-4700-BBC5-4B460755FF27}"/>
                </a:ext>
              </a:extLst>
            </p:cNvPr>
            <p:cNvSpPr>
              <a:spLocks/>
            </p:cNvSpPr>
            <p:nvPr/>
          </p:nvSpPr>
          <p:spPr bwMode="auto">
            <a:xfrm>
              <a:off x="1965326" y="2717687"/>
              <a:ext cx="88900" cy="57150"/>
            </a:xfrm>
            <a:custGeom>
              <a:avLst/>
              <a:gdLst>
                <a:gd name="T0" fmla="*/ 36 w 46"/>
                <a:gd name="T1" fmla="*/ 30 h 30"/>
                <a:gd name="T2" fmla="*/ 32 w 46"/>
                <a:gd name="T3" fmla="*/ 30 h 30"/>
                <a:gd name="T4" fmla="*/ 6 w 46"/>
                <a:gd name="T5" fmla="*/ 18 h 30"/>
                <a:gd name="T6" fmla="*/ 2 w 46"/>
                <a:gd name="T7" fmla="*/ 7 h 30"/>
                <a:gd name="T8" fmla="*/ 13 w 46"/>
                <a:gd name="T9" fmla="*/ 2 h 30"/>
                <a:gd name="T10" fmla="*/ 39 w 46"/>
                <a:gd name="T11" fmla="*/ 14 h 30"/>
                <a:gd name="T12" fmla="*/ 44 w 46"/>
                <a:gd name="T13" fmla="*/ 25 h 30"/>
                <a:gd name="T14" fmla="*/ 36 w 46"/>
                <a:gd name="T15" fmla="*/ 30 h 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6" h="30">
                  <a:moveTo>
                    <a:pt x="36" y="30"/>
                  </a:moveTo>
                  <a:cubicBezTo>
                    <a:pt x="35" y="30"/>
                    <a:pt x="34" y="30"/>
                    <a:pt x="32" y="30"/>
                  </a:cubicBezTo>
                  <a:cubicBezTo>
                    <a:pt x="6" y="18"/>
                    <a:pt x="6" y="18"/>
                    <a:pt x="6" y="18"/>
                  </a:cubicBezTo>
                  <a:cubicBezTo>
                    <a:pt x="2" y="16"/>
                    <a:pt x="0" y="11"/>
                    <a:pt x="2" y="7"/>
                  </a:cubicBezTo>
                  <a:cubicBezTo>
                    <a:pt x="4" y="2"/>
                    <a:pt x="9" y="0"/>
                    <a:pt x="13" y="2"/>
                  </a:cubicBezTo>
                  <a:cubicBezTo>
                    <a:pt x="39" y="14"/>
                    <a:pt x="39" y="14"/>
                    <a:pt x="39" y="14"/>
                  </a:cubicBezTo>
                  <a:cubicBezTo>
                    <a:pt x="44" y="16"/>
                    <a:pt x="46" y="21"/>
                    <a:pt x="44" y="25"/>
                  </a:cubicBezTo>
                  <a:cubicBezTo>
                    <a:pt x="42" y="28"/>
                    <a:pt x="39" y="30"/>
                    <a:pt x="36" y="30"/>
                  </a:cubicBezTo>
                  <a:close/>
                </a:path>
              </a:pathLst>
            </a:custGeom>
            <a:solidFill>
              <a:srgbClr val="01D1D0"/>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3" name="Freeform 46">
              <a:extLst>
                <a:ext uri="{FF2B5EF4-FFF2-40B4-BE49-F238E27FC236}">
                  <a16:creationId xmlns:a16="http://schemas.microsoft.com/office/drawing/2014/main" id="{FCE94556-57A8-4E31-8F0E-81A9DE61FF8D}"/>
                </a:ext>
              </a:extLst>
            </p:cNvPr>
            <p:cNvSpPr>
              <a:spLocks/>
            </p:cNvSpPr>
            <p:nvPr/>
          </p:nvSpPr>
          <p:spPr bwMode="auto">
            <a:xfrm>
              <a:off x="1881189" y="2878025"/>
              <a:ext cx="95250" cy="53975"/>
            </a:xfrm>
            <a:custGeom>
              <a:avLst/>
              <a:gdLst>
                <a:gd name="T0" fmla="*/ 40 w 49"/>
                <a:gd name="T1" fmla="*/ 28 h 28"/>
                <a:gd name="T2" fmla="*/ 37 w 49"/>
                <a:gd name="T3" fmla="*/ 27 h 28"/>
                <a:gd name="T4" fmla="*/ 7 w 49"/>
                <a:gd name="T5" fmla="*/ 18 h 28"/>
                <a:gd name="T6" fmla="*/ 2 w 49"/>
                <a:gd name="T7" fmla="*/ 7 h 28"/>
                <a:gd name="T8" fmla="*/ 13 w 49"/>
                <a:gd name="T9" fmla="*/ 1 h 28"/>
                <a:gd name="T10" fmla="*/ 42 w 49"/>
                <a:gd name="T11" fmla="*/ 10 h 28"/>
                <a:gd name="T12" fmla="*/ 48 w 49"/>
                <a:gd name="T13" fmla="*/ 21 h 28"/>
                <a:gd name="T14" fmla="*/ 40 w 49"/>
                <a:gd name="T15" fmla="*/ 28 h 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9" h="28">
                  <a:moveTo>
                    <a:pt x="40" y="28"/>
                  </a:moveTo>
                  <a:cubicBezTo>
                    <a:pt x="39" y="28"/>
                    <a:pt x="38" y="27"/>
                    <a:pt x="37" y="27"/>
                  </a:cubicBezTo>
                  <a:cubicBezTo>
                    <a:pt x="7" y="18"/>
                    <a:pt x="7" y="18"/>
                    <a:pt x="7" y="18"/>
                  </a:cubicBezTo>
                  <a:cubicBezTo>
                    <a:pt x="3" y="17"/>
                    <a:pt x="0" y="12"/>
                    <a:pt x="2" y="7"/>
                  </a:cubicBezTo>
                  <a:cubicBezTo>
                    <a:pt x="3" y="3"/>
                    <a:pt x="8" y="0"/>
                    <a:pt x="13" y="1"/>
                  </a:cubicBezTo>
                  <a:cubicBezTo>
                    <a:pt x="42" y="10"/>
                    <a:pt x="42" y="10"/>
                    <a:pt x="42" y="10"/>
                  </a:cubicBezTo>
                  <a:cubicBezTo>
                    <a:pt x="47" y="12"/>
                    <a:pt x="49" y="17"/>
                    <a:pt x="48" y="21"/>
                  </a:cubicBezTo>
                  <a:cubicBezTo>
                    <a:pt x="47" y="25"/>
                    <a:pt x="43" y="28"/>
                    <a:pt x="40" y="28"/>
                  </a:cubicBezTo>
                  <a:close/>
                </a:path>
              </a:pathLst>
            </a:custGeom>
            <a:solidFill>
              <a:srgbClr val="01D1D0"/>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4" name="Freeform 47">
              <a:extLst>
                <a:ext uri="{FF2B5EF4-FFF2-40B4-BE49-F238E27FC236}">
                  <a16:creationId xmlns:a16="http://schemas.microsoft.com/office/drawing/2014/main" id="{D4396170-C119-4E63-8F6A-38FD7871DA0F}"/>
                </a:ext>
              </a:extLst>
            </p:cNvPr>
            <p:cNvSpPr>
              <a:spLocks/>
            </p:cNvSpPr>
            <p:nvPr/>
          </p:nvSpPr>
          <p:spPr bwMode="auto">
            <a:xfrm>
              <a:off x="1839914" y="2919300"/>
              <a:ext cx="150813" cy="61913"/>
            </a:xfrm>
            <a:custGeom>
              <a:avLst/>
              <a:gdLst>
                <a:gd name="T0" fmla="*/ 70 w 79"/>
                <a:gd name="T1" fmla="*/ 32 h 32"/>
                <a:gd name="T2" fmla="*/ 68 w 79"/>
                <a:gd name="T3" fmla="*/ 32 h 32"/>
                <a:gd name="T4" fmla="*/ 8 w 79"/>
                <a:gd name="T5" fmla="*/ 18 h 32"/>
                <a:gd name="T6" fmla="*/ 1 w 79"/>
                <a:gd name="T7" fmla="*/ 8 h 32"/>
                <a:gd name="T8" fmla="*/ 12 w 79"/>
                <a:gd name="T9" fmla="*/ 1 h 32"/>
                <a:gd name="T10" fmla="*/ 72 w 79"/>
                <a:gd name="T11" fmla="*/ 15 h 32"/>
                <a:gd name="T12" fmla="*/ 78 w 79"/>
                <a:gd name="T13" fmla="*/ 25 h 32"/>
                <a:gd name="T14" fmla="*/ 70 w 79"/>
                <a:gd name="T15" fmla="*/ 32 h 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 h="32">
                  <a:moveTo>
                    <a:pt x="70" y="32"/>
                  </a:moveTo>
                  <a:cubicBezTo>
                    <a:pt x="69" y="32"/>
                    <a:pt x="69" y="32"/>
                    <a:pt x="68" y="32"/>
                  </a:cubicBezTo>
                  <a:cubicBezTo>
                    <a:pt x="8" y="18"/>
                    <a:pt x="8" y="18"/>
                    <a:pt x="8" y="18"/>
                  </a:cubicBezTo>
                  <a:cubicBezTo>
                    <a:pt x="3" y="17"/>
                    <a:pt x="0" y="13"/>
                    <a:pt x="1" y="8"/>
                  </a:cubicBezTo>
                  <a:cubicBezTo>
                    <a:pt x="2" y="3"/>
                    <a:pt x="7" y="0"/>
                    <a:pt x="12" y="1"/>
                  </a:cubicBezTo>
                  <a:cubicBezTo>
                    <a:pt x="72" y="15"/>
                    <a:pt x="72" y="15"/>
                    <a:pt x="72" y="15"/>
                  </a:cubicBezTo>
                  <a:cubicBezTo>
                    <a:pt x="76" y="16"/>
                    <a:pt x="79" y="21"/>
                    <a:pt x="78" y="25"/>
                  </a:cubicBezTo>
                  <a:cubicBezTo>
                    <a:pt x="77" y="29"/>
                    <a:pt x="74" y="32"/>
                    <a:pt x="70" y="32"/>
                  </a:cubicBezTo>
                  <a:close/>
                </a:path>
              </a:pathLst>
            </a:custGeom>
            <a:solidFill>
              <a:srgbClr val="01D1D0"/>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5" name="Freeform 48">
              <a:extLst>
                <a:ext uri="{FF2B5EF4-FFF2-40B4-BE49-F238E27FC236}">
                  <a16:creationId xmlns:a16="http://schemas.microsoft.com/office/drawing/2014/main" id="{DD5AF9BA-D8C7-4731-B7EC-908598386028}"/>
                </a:ext>
              </a:extLst>
            </p:cNvPr>
            <p:cNvSpPr>
              <a:spLocks/>
            </p:cNvSpPr>
            <p:nvPr/>
          </p:nvSpPr>
          <p:spPr bwMode="auto">
            <a:xfrm>
              <a:off x="1849439" y="2968512"/>
              <a:ext cx="123825" cy="57150"/>
            </a:xfrm>
            <a:custGeom>
              <a:avLst/>
              <a:gdLst>
                <a:gd name="T0" fmla="*/ 55 w 65"/>
                <a:gd name="T1" fmla="*/ 29 h 29"/>
                <a:gd name="T2" fmla="*/ 53 w 65"/>
                <a:gd name="T3" fmla="*/ 29 h 29"/>
                <a:gd name="T4" fmla="*/ 8 w 65"/>
                <a:gd name="T5" fmla="*/ 18 h 29"/>
                <a:gd name="T6" fmla="*/ 1 w 65"/>
                <a:gd name="T7" fmla="*/ 8 h 29"/>
                <a:gd name="T8" fmla="*/ 12 w 65"/>
                <a:gd name="T9" fmla="*/ 1 h 29"/>
                <a:gd name="T10" fmla="*/ 57 w 65"/>
                <a:gd name="T11" fmla="*/ 12 h 29"/>
                <a:gd name="T12" fmla="*/ 63 w 65"/>
                <a:gd name="T13" fmla="*/ 22 h 29"/>
                <a:gd name="T14" fmla="*/ 55 w 65"/>
                <a:gd name="T15" fmla="*/ 29 h 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5" h="29">
                  <a:moveTo>
                    <a:pt x="55" y="29"/>
                  </a:moveTo>
                  <a:cubicBezTo>
                    <a:pt x="54" y="29"/>
                    <a:pt x="54" y="29"/>
                    <a:pt x="53" y="29"/>
                  </a:cubicBezTo>
                  <a:cubicBezTo>
                    <a:pt x="8" y="18"/>
                    <a:pt x="8" y="18"/>
                    <a:pt x="8" y="18"/>
                  </a:cubicBezTo>
                  <a:cubicBezTo>
                    <a:pt x="3" y="17"/>
                    <a:pt x="0" y="13"/>
                    <a:pt x="1" y="8"/>
                  </a:cubicBezTo>
                  <a:cubicBezTo>
                    <a:pt x="2" y="3"/>
                    <a:pt x="7" y="0"/>
                    <a:pt x="12" y="1"/>
                  </a:cubicBezTo>
                  <a:cubicBezTo>
                    <a:pt x="57" y="12"/>
                    <a:pt x="57" y="12"/>
                    <a:pt x="57" y="12"/>
                  </a:cubicBezTo>
                  <a:cubicBezTo>
                    <a:pt x="62" y="13"/>
                    <a:pt x="65" y="18"/>
                    <a:pt x="63" y="22"/>
                  </a:cubicBezTo>
                  <a:cubicBezTo>
                    <a:pt x="63" y="26"/>
                    <a:pt x="59" y="29"/>
                    <a:pt x="55" y="29"/>
                  </a:cubicBezTo>
                  <a:close/>
                </a:path>
              </a:pathLst>
            </a:custGeom>
            <a:solidFill>
              <a:srgbClr val="01D1D0"/>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6" name="Freeform 49">
              <a:extLst>
                <a:ext uri="{FF2B5EF4-FFF2-40B4-BE49-F238E27FC236}">
                  <a16:creationId xmlns:a16="http://schemas.microsoft.com/office/drawing/2014/main" id="{52CAB5EE-7E1C-4985-ACF9-639968F6CB20}"/>
                </a:ext>
              </a:extLst>
            </p:cNvPr>
            <p:cNvSpPr>
              <a:spLocks/>
            </p:cNvSpPr>
            <p:nvPr/>
          </p:nvSpPr>
          <p:spPr bwMode="auto">
            <a:xfrm>
              <a:off x="1778001" y="2822462"/>
              <a:ext cx="171450" cy="206375"/>
            </a:xfrm>
            <a:custGeom>
              <a:avLst/>
              <a:gdLst>
                <a:gd name="T0" fmla="*/ 23 w 89"/>
                <a:gd name="T1" fmla="*/ 107 h 107"/>
                <a:gd name="T2" fmla="*/ 15 w 89"/>
                <a:gd name="T3" fmla="*/ 101 h 107"/>
                <a:gd name="T4" fmla="*/ 18 w 89"/>
                <a:gd name="T5" fmla="*/ 33 h 107"/>
                <a:gd name="T6" fmla="*/ 78 w 89"/>
                <a:gd name="T7" fmla="*/ 1 h 107"/>
                <a:gd name="T8" fmla="*/ 88 w 89"/>
                <a:gd name="T9" fmla="*/ 8 h 107"/>
                <a:gd name="T10" fmla="*/ 81 w 89"/>
                <a:gd name="T11" fmla="*/ 18 h 107"/>
                <a:gd name="T12" fmla="*/ 81 w 89"/>
                <a:gd name="T13" fmla="*/ 18 h 107"/>
                <a:gd name="T14" fmla="*/ 33 w 89"/>
                <a:gd name="T15" fmla="*/ 43 h 107"/>
                <a:gd name="T16" fmla="*/ 31 w 89"/>
                <a:gd name="T17" fmla="*/ 95 h 107"/>
                <a:gd name="T18" fmla="*/ 26 w 89"/>
                <a:gd name="T19" fmla="*/ 106 h 107"/>
                <a:gd name="T20" fmla="*/ 23 w 89"/>
                <a:gd name="T21" fmla="*/ 107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9" h="107">
                  <a:moveTo>
                    <a:pt x="23" y="107"/>
                  </a:moveTo>
                  <a:cubicBezTo>
                    <a:pt x="19" y="107"/>
                    <a:pt x="16" y="105"/>
                    <a:pt x="15" y="101"/>
                  </a:cubicBezTo>
                  <a:cubicBezTo>
                    <a:pt x="14" y="99"/>
                    <a:pt x="0" y="59"/>
                    <a:pt x="18" y="33"/>
                  </a:cubicBezTo>
                  <a:cubicBezTo>
                    <a:pt x="36" y="8"/>
                    <a:pt x="76" y="1"/>
                    <a:pt x="78" y="1"/>
                  </a:cubicBezTo>
                  <a:cubicBezTo>
                    <a:pt x="83" y="0"/>
                    <a:pt x="87" y="3"/>
                    <a:pt x="88" y="8"/>
                  </a:cubicBezTo>
                  <a:cubicBezTo>
                    <a:pt x="89" y="12"/>
                    <a:pt x="85" y="17"/>
                    <a:pt x="81" y="18"/>
                  </a:cubicBezTo>
                  <a:cubicBezTo>
                    <a:pt x="81" y="18"/>
                    <a:pt x="81" y="18"/>
                    <a:pt x="81" y="18"/>
                  </a:cubicBezTo>
                  <a:cubicBezTo>
                    <a:pt x="80" y="18"/>
                    <a:pt x="46" y="24"/>
                    <a:pt x="33" y="43"/>
                  </a:cubicBezTo>
                  <a:cubicBezTo>
                    <a:pt x="22" y="58"/>
                    <a:pt x="28" y="86"/>
                    <a:pt x="31" y="95"/>
                  </a:cubicBezTo>
                  <a:cubicBezTo>
                    <a:pt x="33" y="100"/>
                    <a:pt x="30" y="105"/>
                    <a:pt x="26" y="106"/>
                  </a:cubicBezTo>
                  <a:cubicBezTo>
                    <a:pt x="25" y="107"/>
                    <a:pt x="24" y="107"/>
                    <a:pt x="23" y="107"/>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 name="Freeform 50">
              <a:extLst>
                <a:ext uri="{FF2B5EF4-FFF2-40B4-BE49-F238E27FC236}">
                  <a16:creationId xmlns:a16="http://schemas.microsoft.com/office/drawing/2014/main" id="{E9EEDDEB-81D7-4621-8A2A-2F5C4785F1AD}"/>
                </a:ext>
              </a:extLst>
            </p:cNvPr>
            <p:cNvSpPr>
              <a:spLocks/>
            </p:cNvSpPr>
            <p:nvPr/>
          </p:nvSpPr>
          <p:spPr bwMode="auto">
            <a:xfrm>
              <a:off x="1998664" y="2622437"/>
              <a:ext cx="174625" cy="207963"/>
            </a:xfrm>
            <a:custGeom>
              <a:avLst/>
              <a:gdLst>
                <a:gd name="T0" fmla="*/ 9 w 91"/>
                <a:gd name="T1" fmla="*/ 107 h 107"/>
                <a:gd name="T2" fmla="*/ 0 w 91"/>
                <a:gd name="T3" fmla="*/ 99 h 107"/>
                <a:gd name="T4" fmla="*/ 8 w 91"/>
                <a:gd name="T5" fmla="*/ 90 h 107"/>
                <a:gd name="T6" fmla="*/ 56 w 91"/>
                <a:gd name="T7" fmla="*/ 64 h 107"/>
                <a:gd name="T8" fmla="*/ 57 w 91"/>
                <a:gd name="T9" fmla="*/ 14 h 107"/>
                <a:gd name="T10" fmla="*/ 61 w 91"/>
                <a:gd name="T11" fmla="*/ 2 h 107"/>
                <a:gd name="T12" fmla="*/ 73 w 91"/>
                <a:gd name="T13" fmla="*/ 6 h 107"/>
                <a:gd name="T14" fmla="*/ 70 w 91"/>
                <a:gd name="T15" fmla="*/ 73 h 107"/>
                <a:gd name="T16" fmla="*/ 9 w 91"/>
                <a:gd name="T17" fmla="*/ 107 h 107"/>
                <a:gd name="T18" fmla="*/ 9 w 91"/>
                <a:gd name="T19" fmla="*/ 107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1" h="107">
                  <a:moveTo>
                    <a:pt x="9" y="107"/>
                  </a:moveTo>
                  <a:cubicBezTo>
                    <a:pt x="4" y="107"/>
                    <a:pt x="0" y="104"/>
                    <a:pt x="0" y="99"/>
                  </a:cubicBezTo>
                  <a:cubicBezTo>
                    <a:pt x="0" y="94"/>
                    <a:pt x="4" y="90"/>
                    <a:pt x="8" y="90"/>
                  </a:cubicBezTo>
                  <a:cubicBezTo>
                    <a:pt x="9" y="90"/>
                    <a:pt x="39" y="89"/>
                    <a:pt x="56" y="64"/>
                  </a:cubicBezTo>
                  <a:cubicBezTo>
                    <a:pt x="71" y="40"/>
                    <a:pt x="57" y="14"/>
                    <a:pt x="57" y="14"/>
                  </a:cubicBezTo>
                  <a:cubicBezTo>
                    <a:pt x="55" y="10"/>
                    <a:pt x="57" y="4"/>
                    <a:pt x="61" y="2"/>
                  </a:cubicBezTo>
                  <a:cubicBezTo>
                    <a:pt x="65" y="0"/>
                    <a:pt x="70" y="1"/>
                    <a:pt x="73" y="6"/>
                  </a:cubicBezTo>
                  <a:cubicBezTo>
                    <a:pt x="73" y="7"/>
                    <a:pt x="91" y="41"/>
                    <a:pt x="70" y="73"/>
                  </a:cubicBezTo>
                  <a:cubicBezTo>
                    <a:pt x="49" y="106"/>
                    <a:pt x="10" y="107"/>
                    <a:pt x="9" y="107"/>
                  </a:cubicBezTo>
                  <a:cubicBezTo>
                    <a:pt x="9" y="107"/>
                    <a:pt x="9" y="107"/>
                    <a:pt x="9" y="107"/>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3499871193"/>
      </p:ext>
    </p:extLst>
  </p:cSld>
  <p:clrMapOvr>
    <a:masterClrMapping/>
  </p:clrMapOvr>
</p:sld>
</file>

<file path=ppt/slides/slide1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ytuł 3">
            <a:extLst>
              <a:ext uri="{FF2B5EF4-FFF2-40B4-BE49-F238E27FC236}">
                <a16:creationId xmlns:a16="http://schemas.microsoft.com/office/drawing/2014/main" id="{BE6E47FB-5E55-45DB-B712-E4993D47A776}"/>
              </a:ext>
            </a:extLst>
          </p:cNvPr>
          <p:cNvSpPr>
            <a:spLocks noGrp="1"/>
          </p:cNvSpPr>
          <p:nvPr>
            <p:ph type="title"/>
          </p:nvPr>
        </p:nvSpPr>
        <p:spPr/>
        <p:txBody>
          <a:bodyPr/>
          <a:lstStyle/>
          <a:p>
            <a:r>
              <a:rPr lang="en-US" sz="3200" dirty="0"/>
              <a:t>Extension everything</a:t>
            </a:r>
          </a:p>
        </p:txBody>
      </p:sp>
      <p:sp>
        <p:nvSpPr>
          <p:cNvPr id="5" name="Symbol zastępczy tekstu 4">
            <a:extLst>
              <a:ext uri="{FF2B5EF4-FFF2-40B4-BE49-F238E27FC236}">
                <a16:creationId xmlns:a16="http://schemas.microsoft.com/office/drawing/2014/main" id="{566C6C9B-DE4F-4D57-8491-6FC8D45FC924}"/>
              </a:ext>
            </a:extLst>
          </p:cNvPr>
          <p:cNvSpPr>
            <a:spLocks noGrp="1"/>
          </p:cNvSpPr>
          <p:nvPr>
            <p:ph type="body" sz="quarter" idx="10"/>
          </p:nvPr>
        </p:nvSpPr>
        <p:spPr/>
        <p:txBody>
          <a:bodyPr/>
          <a:lstStyle/>
          <a:p>
            <a:endParaRPr lang="en-US" dirty="0"/>
          </a:p>
        </p:txBody>
      </p:sp>
      <p:sp>
        <p:nvSpPr>
          <p:cNvPr id="6" name="Symbol zastępczy tekstu 5">
            <a:extLst>
              <a:ext uri="{FF2B5EF4-FFF2-40B4-BE49-F238E27FC236}">
                <a16:creationId xmlns:a16="http://schemas.microsoft.com/office/drawing/2014/main" id="{1302AB4B-7554-47F7-BBCD-39BD33559A94}"/>
              </a:ext>
            </a:extLst>
          </p:cNvPr>
          <p:cNvSpPr>
            <a:spLocks noGrp="1"/>
          </p:cNvSpPr>
          <p:nvPr>
            <p:ph type="body" sz="quarter" idx="11"/>
          </p:nvPr>
        </p:nvSpPr>
        <p:spPr/>
        <p:txBody>
          <a:bodyPr/>
          <a:lstStyle/>
          <a:p>
            <a:r>
              <a:rPr lang="en-US" dirty="0"/>
              <a:t>C# 7.3</a:t>
            </a:r>
          </a:p>
        </p:txBody>
      </p:sp>
      <p:sp>
        <p:nvSpPr>
          <p:cNvPr id="7" name="Symbol zastępczy tekstu 6">
            <a:extLst>
              <a:ext uri="{FF2B5EF4-FFF2-40B4-BE49-F238E27FC236}">
                <a16:creationId xmlns:a16="http://schemas.microsoft.com/office/drawing/2014/main" id="{5D8A2B1E-A86F-4A25-94A4-5CF446FD2951}"/>
              </a:ext>
            </a:extLst>
          </p:cNvPr>
          <p:cNvSpPr>
            <a:spLocks noGrp="1"/>
          </p:cNvSpPr>
          <p:nvPr>
            <p:ph type="body" sz="quarter" idx="12"/>
          </p:nvPr>
        </p:nvSpPr>
        <p:spPr/>
        <p:txBody>
          <a:bodyPr/>
          <a:lstStyle/>
          <a:p>
            <a:r>
              <a:rPr lang="en-US" dirty="0"/>
              <a:t>1</a:t>
            </a:r>
          </a:p>
        </p:txBody>
      </p:sp>
    </p:spTree>
    <p:extLst>
      <p:ext uri="{BB962C8B-B14F-4D97-AF65-F5344CB8AC3E}">
        <p14:creationId xmlns:p14="http://schemas.microsoft.com/office/powerpoint/2010/main" val="4102183945"/>
      </p:ext>
    </p:extLst>
  </p:cSld>
  <p:clrMapOvr>
    <a:masterClrMapping/>
  </p:clrMapOvr>
</p:sld>
</file>

<file path=ppt/slides/slide1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ytuł 3">
            <a:extLst>
              <a:ext uri="{FF2B5EF4-FFF2-40B4-BE49-F238E27FC236}">
                <a16:creationId xmlns:a16="http://schemas.microsoft.com/office/drawing/2014/main" id="{BE6E47FB-5E55-45DB-B712-E4993D47A776}"/>
              </a:ext>
            </a:extLst>
          </p:cNvPr>
          <p:cNvSpPr>
            <a:spLocks noGrp="1"/>
          </p:cNvSpPr>
          <p:nvPr>
            <p:ph type="title"/>
          </p:nvPr>
        </p:nvSpPr>
        <p:spPr/>
        <p:txBody>
          <a:bodyPr/>
          <a:lstStyle/>
          <a:p>
            <a:r>
              <a:rPr lang="en-US" sz="3200" dirty="0"/>
              <a:t>Extension everything</a:t>
            </a:r>
          </a:p>
        </p:txBody>
      </p:sp>
      <p:sp>
        <p:nvSpPr>
          <p:cNvPr id="5" name="Symbol zastępczy tekstu 4">
            <a:extLst>
              <a:ext uri="{FF2B5EF4-FFF2-40B4-BE49-F238E27FC236}">
                <a16:creationId xmlns:a16="http://schemas.microsoft.com/office/drawing/2014/main" id="{566C6C9B-DE4F-4D57-8491-6FC8D45FC924}"/>
              </a:ext>
            </a:extLst>
          </p:cNvPr>
          <p:cNvSpPr>
            <a:spLocks noGrp="1"/>
          </p:cNvSpPr>
          <p:nvPr>
            <p:ph type="body" sz="quarter" idx="10"/>
          </p:nvPr>
        </p:nvSpPr>
        <p:spPr/>
        <p:txBody>
          <a:bodyPr/>
          <a:lstStyle/>
          <a:p>
            <a:endParaRPr lang="en-US" dirty="0"/>
          </a:p>
        </p:txBody>
      </p:sp>
      <p:sp>
        <p:nvSpPr>
          <p:cNvPr id="6" name="Symbol zastępczy tekstu 5">
            <a:extLst>
              <a:ext uri="{FF2B5EF4-FFF2-40B4-BE49-F238E27FC236}">
                <a16:creationId xmlns:a16="http://schemas.microsoft.com/office/drawing/2014/main" id="{1302AB4B-7554-47F7-BBCD-39BD33559A94}"/>
              </a:ext>
            </a:extLst>
          </p:cNvPr>
          <p:cNvSpPr>
            <a:spLocks noGrp="1"/>
          </p:cNvSpPr>
          <p:nvPr>
            <p:ph type="body" sz="quarter" idx="11"/>
          </p:nvPr>
        </p:nvSpPr>
        <p:spPr/>
        <p:txBody>
          <a:bodyPr/>
          <a:lstStyle/>
          <a:p>
            <a:r>
              <a:rPr lang="en-US" dirty="0"/>
              <a:t>C# 8.0</a:t>
            </a:r>
          </a:p>
        </p:txBody>
      </p:sp>
      <p:sp>
        <p:nvSpPr>
          <p:cNvPr id="7" name="Symbol zastępczy tekstu 6">
            <a:extLst>
              <a:ext uri="{FF2B5EF4-FFF2-40B4-BE49-F238E27FC236}">
                <a16:creationId xmlns:a16="http://schemas.microsoft.com/office/drawing/2014/main" id="{5D8A2B1E-A86F-4A25-94A4-5CF446FD2951}"/>
              </a:ext>
            </a:extLst>
          </p:cNvPr>
          <p:cNvSpPr>
            <a:spLocks noGrp="1"/>
          </p:cNvSpPr>
          <p:nvPr>
            <p:ph type="body" sz="quarter" idx="12"/>
          </p:nvPr>
        </p:nvSpPr>
        <p:spPr/>
        <p:txBody>
          <a:bodyPr/>
          <a:lstStyle/>
          <a:p>
            <a:r>
              <a:rPr lang="en-US" dirty="0"/>
              <a:t>2</a:t>
            </a:r>
          </a:p>
        </p:txBody>
      </p:sp>
    </p:spTree>
    <p:extLst>
      <p:ext uri="{BB962C8B-B14F-4D97-AF65-F5344CB8AC3E}">
        <p14:creationId xmlns:p14="http://schemas.microsoft.com/office/powerpoint/2010/main" val="4266907693"/>
      </p:ext>
    </p:extLst>
  </p:cSld>
  <p:clrMapOvr>
    <a:masterClrMapping/>
  </p:clrMapOvr>
</p:sld>
</file>

<file path=ppt/slides/slide1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pl-PL" dirty="0"/>
              <a:t>Agenda</a:t>
            </a:r>
            <a:endParaRPr lang="en-GB" dirty="0"/>
          </a:p>
        </p:txBody>
      </p:sp>
      <p:sp>
        <p:nvSpPr>
          <p:cNvPr id="5" name="Text Placeholder 4"/>
          <p:cNvSpPr>
            <a:spLocks noGrp="1"/>
          </p:cNvSpPr>
          <p:nvPr>
            <p:ph type="body" sz="quarter" idx="10"/>
          </p:nvPr>
        </p:nvSpPr>
        <p:spPr/>
        <p:txBody>
          <a:bodyPr/>
          <a:lstStyle/>
          <a:p>
            <a:pPr lvl="1"/>
            <a:r>
              <a:rPr lang="en-US" dirty="0">
                <a:solidFill>
                  <a:schemeClr val="bg1">
                    <a:lumMod val="95000"/>
                  </a:schemeClr>
                </a:solidFill>
              </a:rPr>
              <a:t>What’s new in C# 8.0</a:t>
            </a:r>
          </a:p>
          <a:p>
            <a:pPr lvl="2"/>
            <a:r>
              <a:rPr lang="en-US" dirty="0">
                <a:solidFill>
                  <a:schemeClr val="bg1">
                    <a:lumMod val="95000"/>
                  </a:schemeClr>
                </a:solidFill>
              </a:rPr>
              <a:t>Nullable reference types,</a:t>
            </a:r>
          </a:p>
          <a:p>
            <a:pPr lvl="2"/>
            <a:r>
              <a:rPr lang="en-US" dirty="0">
                <a:solidFill>
                  <a:schemeClr val="bg1">
                    <a:lumMod val="95000"/>
                  </a:schemeClr>
                </a:solidFill>
              </a:rPr>
              <a:t>async streams,</a:t>
            </a:r>
          </a:p>
          <a:p>
            <a:pPr lvl="2"/>
            <a:r>
              <a:rPr lang="en-US" dirty="0">
                <a:solidFill>
                  <a:schemeClr val="bg1">
                    <a:lumMod val="95000"/>
                  </a:schemeClr>
                </a:solidFill>
              </a:rPr>
              <a:t>ranges and indices,</a:t>
            </a:r>
          </a:p>
          <a:p>
            <a:pPr lvl="2"/>
            <a:r>
              <a:rPr lang="en-US" dirty="0">
                <a:solidFill>
                  <a:schemeClr val="bg1">
                    <a:lumMod val="95000"/>
                  </a:schemeClr>
                </a:solidFill>
              </a:rPr>
              <a:t>default interface members,</a:t>
            </a:r>
          </a:p>
          <a:p>
            <a:pPr lvl="2"/>
            <a:r>
              <a:rPr lang="en-US" dirty="0">
                <a:solidFill>
                  <a:schemeClr val="bg1">
                    <a:lumMod val="95000"/>
                  </a:schemeClr>
                </a:solidFill>
              </a:rPr>
              <a:t>recursive patterns,</a:t>
            </a:r>
          </a:p>
          <a:p>
            <a:pPr lvl="2"/>
            <a:r>
              <a:rPr lang="en-US" dirty="0">
                <a:solidFill>
                  <a:schemeClr val="bg1">
                    <a:lumMod val="95000"/>
                  </a:schemeClr>
                </a:solidFill>
              </a:rPr>
              <a:t>switch expressions,</a:t>
            </a:r>
          </a:p>
          <a:p>
            <a:pPr lvl="2"/>
            <a:r>
              <a:rPr lang="en-US" dirty="0">
                <a:solidFill>
                  <a:schemeClr val="bg1">
                    <a:lumMod val="95000"/>
                  </a:schemeClr>
                </a:solidFill>
              </a:rPr>
              <a:t>target-typed new-expressions,</a:t>
            </a:r>
          </a:p>
          <a:p>
            <a:pPr lvl="2"/>
            <a:r>
              <a:rPr lang="en-US" dirty="0">
                <a:solidFill>
                  <a:schemeClr val="bg1">
                    <a:lumMod val="95000"/>
                  </a:schemeClr>
                </a:solidFill>
              </a:rPr>
              <a:t>extension everything,</a:t>
            </a:r>
          </a:p>
          <a:p>
            <a:pPr lvl="2"/>
            <a:r>
              <a:rPr lang="en-US" dirty="0">
                <a:solidFill>
                  <a:schemeClr val="bg1">
                    <a:lumMod val="95000"/>
                  </a:schemeClr>
                </a:solidFill>
              </a:rPr>
              <a:t>using declarations.</a:t>
            </a:r>
            <a:endParaRPr lang="en-GB" dirty="0">
              <a:solidFill>
                <a:schemeClr val="bg1">
                  <a:lumMod val="95000"/>
                </a:schemeClr>
              </a:solidFill>
            </a:endParaRPr>
          </a:p>
          <a:p>
            <a:pPr lvl="2"/>
            <a:endParaRPr lang="en-GB" dirty="0">
              <a:solidFill>
                <a:schemeClr val="bg1">
                  <a:lumMod val="95000"/>
                </a:schemeClr>
              </a:solidFill>
            </a:endParaRPr>
          </a:p>
        </p:txBody>
      </p:sp>
      <p:sp>
        <p:nvSpPr>
          <p:cNvPr id="6" name="Text Placeholder 5"/>
          <p:cNvSpPr>
            <a:spLocks noGrp="1"/>
          </p:cNvSpPr>
          <p:nvPr>
            <p:ph type="body" sz="quarter" idx="11"/>
          </p:nvPr>
        </p:nvSpPr>
        <p:spPr/>
        <p:txBody>
          <a:bodyPr/>
          <a:lstStyle/>
          <a:p>
            <a:r>
              <a:rPr lang="en-US" dirty="0"/>
              <a:t>We are going to talk about…</a:t>
            </a:r>
          </a:p>
        </p:txBody>
      </p:sp>
      <p:sp>
        <p:nvSpPr>
          <p:cNvPr id="7" name="Text Placeholder 4">
            <a:extLst>
              <a:ext uri="{FF2B5EF4-FFF2-40B4-BE49-F238E27FC236}">
                <a16:creationId xmlns:a16="http://schemas.microsoft.com/office/drawing/2014/main" id="{63765791-BF79-472B-ACEA-FA2DB95D860D}"/>
              </a:ext>
            </a:extLst>
          </p:cNvPr>
          <p:cNvSpPr txBox="1">
            <a:spLocks/>
          </p:cNvSpPr>
          <p:nvPr/>
        </p:nvSpPr>
        <p:spPr>
          <a:xfrm>
            <a:off x="227348" y="1815350"/>
            <a:ext cx="11700000" cy="4466201"/>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r>
              <a:rPr lang="en-US" dirty="0"/>
              <a:t>What’s new in C# 8.0</a:t>
            </a:r>
          </a:p>
          <a:p>
            <a:pPr lvl="2"/>
            <a:r>
              <a:rPr lang="en-US" dirty="0"/>
              <a:t>Nullable reference types,</a:t>
            </a:r>
          </a:p>
          <a:p>
            <a:pPr lvl="2"/>
            <a:r>
              <a:rPr lang="en-US" dirty="0"/>
              <a:t>async streams,</a:t>
            </a:r>
          </a:p>
          <a:p>
            <a:pPr lvl="2"/>
            <a:r>
              <a:rPr lang="en-US" dirty="0"/>
              <a:t>ranges and indices,</a:t>
            </a:r>
          </a:p>
          <a:p>
            <a:pPr lvl="2"/>
            <a:r>
              <a:rPr lang="en-US" dirty="0"/>
              <a:t>default interface members,</a:t>
            </a:r>
          </a:p>
          <a:p>
            <a:pPr lvl="2"/>
            <a:r>
              <a:rPr lang="en-US" dirty="0"/>
              <a:t>recursive patterns,</a:t>
            </a:r>
          </a:p>
          <a:p>
            <a:pPr lvl="2"/>
            <a:r>
              <a:rPr lang="en-US" dirty="0"/>
              <a:t>switch expressions,</a:t>
            </a:r>
          </a:p>
          <a:p>
            <a:pPr lvl="2"/>
            <a:r>
              <a:rPr lang="en-US" dirty="0"/>
              <a:t>target-typed new-expressions,</a:t>
            </a:r>
          </a:p>
          <a:p>
            <a:pPr lvl="2"/>
            <a:r>
              <a:rPr lang="en-US" dirty="0"/>
              <a:t>extension everything,</a:t>
            </a:r>
          </a:p>
          <a:p>
            <a:pPr lvl="2"/>
            <a:r>
              <a:rPr lang="en-US" dirty="0"/>
              <a:t>using declarations.</a:t>
            </a:r>
            <a:endParaRPr lang="en-GB" dirty="0"/>
          </a:p>
        </p:txBody>
      </p:sp>
    </p:spTree>
    <p:extLst>
      <p:ext uri="{BB962C8B-B14F-4D97-AF65-F5344CB8AC3E}">
        <p14:creationId xmlns:p14="http://schemas.microsoft.com/office/powerpoint/2010/main" val="50762270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
                                            <p:txEl>
                                              <p:pRg st="8" end="8"/>
                                            </p:txEl>
                                          </p:spTgt>
                                        </p:tgtEl>
                                        <p:attrNameLst>
                                          <p:attrName>style.visibility</p:attrName>
                                        </p:attrNameLst>
                                      </p:cBhvr>
                                      <p:to>
                                        <p:strVal val="visible"/>
                                      </p:to>
                                    </p:set>
                                    <p:animEffect transition="in" filter="fade">
                                      <p:cBhvr>
                                        <p:cTn id="7" dur="500"/>
                                        <p:tgtEl>
                                          <p:spTgt spid="7">
                                            <p:txEl>
                                              <p:pRg st="8" end="8"/>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7">
                                            <p:txEl>
                                              <p:pRg st="9" end="9"/>
                                            </p:txEl>
                                          </p:spTgt>
                                        </p:tgtEl>
                                        <p:attrNameLst>
                                          <p:attrName>style.visibility</p:attrName>
                                        </p:attrNameLst>
                                      </p:cBhvr>
                                      <p:to>
                                        <p:strVal val="visible"/>
                                      </p:to>
                                    </p:set>
                                    <p:animEffect transition="in" filter="fade">
                                      <p:cBhvr>
                                        <p:cTn id="12" dur="500"/>
                                        <p:tgtEl>
                                          <p:spTgt spid="7">
                                            <p:txEl>
                                              <p:pRg st="9" end="9"/>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1">
            <a:extLst>
              <a:ext uri="{FF2B5EF4-FFF2-40B4-BE49-F238E27FC236}">
                <a16:creationId xmlns:a16="http://schemas.microsoft.com/office/drawing/2014/main" id="{A5665095-8E9E-4D58-BDB7-1567809E1C30}"/>
              </a:ext>
            </a:extLst>
          </p:cNvPr>
          <p:cNvSpPr>
            <a:spLocks noGrp="1"/>
          </p:cNvSpPr>
          <p:nvPr>
            <p:ph type="pic" sz="quarter" idx="10"/>
          </p:nvPr>
        </p:nvSpPr>
        <p:spPr/>
      </p:sp>
      <p:sp>
        <p:nvSpPr>
          <p:cNvPr id="6" name="Symbol zastępczy tekstu 5">
            <a:extLst>
              <a:ext uri="{FF2B5EF4-FFF2-40B4-BE49-F238E27FC236}">
                <a16:creationId xmlns:a16="http://schemas.microsoft.com/office/drawing/2014/main" id="{EC19D1F0-CA19-48E4-B6B7-FE7D3388EB92}"/>
              </a:ext>
            </a:extLst>
          </p:cNvPr>
          <p:cNvSpPr>
            <a:spLocks noGrp="1"/>
          </p:cNvSpPr>
          <p:nvPr>
            <p:ph type="body" sz="quarter" idx="11"/>
          </p:nvPr>
        </p:nvSpPr>
        <p:spPr/>
        <p:txBody>
          <a:bodyPr/>
          <a:lstStyle/>
          <a:p>
            <a:r>
              <a:rPr lang="en-US" dirty="0"/>
              <a:t>What’s new in C# 8.0</a:t>
            </a:r>
          </a:p>
          <a:p>
            <a:r>
              <a:rPr lang="en-US" sz="2400" dirty="0"/>
              <a:t>Using declarations</a:t>
            </a:r>
          </a:p>
        </p:txBody>
      </p:sp>
      <p:sp>
        <p:nvSpPr>
          <p:cNvPr id="28" name="Freeform 37">
            <a:extLst>
              <a:ext uri="{FF2B5EF4-FFF2-40B4-BE49-F238E27FC236}">
                <a16:creationId xmlns:a16="http://schemas.microsoft.com/office/drawing/2014/main" id="{C163FEF7-EB42-4298-AED9-19E8D9ACF2E4}"/>
              </a:ext>
            </a:extLst>
          </p:cNvPr>
          <p:cNvSpPr>
            <a:spLocks/>
          </p:cNvSpPr>
          <p:nvPr/>
        </p:nvSpPr>
        <p:spPr bwMode="auto">
          <a:xfrm>
            <a:off x="8830800" y="3578400"/>
            <a:ext cx="844550" cy="793750"/>
          </a:xfrm>
          <a:custGeom>
            <a:avLst/>
            <a:gdLst>
              <a:gd name="T0" fmla="*/ 51 w 440"/>
              <a:gd name="T1" fmla="*/ 298 h 410"/>
              <a:gd name="T2" fmla="*/ 128 w 440"/>
              <a:gd name="T3" fmla="*/ 48 h 410"/>
              <a:gd name="T4" fmla="*/ 389 w 440"/>
              <a:gd name="T5" fmla="*/ 122 h 410"/>
              <a:gd name="T6" fmla="*/ 307 w 440"/>
              <a:gd name="T7" fmla="*/ 362 h 410"/>
              <a:gd name="T8" fmla="*/ 51 w 440"/>
              <a:gd name="T9" fmla="*/ 298 h 410"/>
            </a:gdLst>
            <a:ahLst/>
            <a:cxnLst>
              <a:cxn ang="0">
                <a:pos x="T0" y="T1"/>
              </a:cxn>
              <a:cxn ang="0">
                <a:pos x="T2" y="T3"/>
              </a:cxn>
              <a:cxn ang="0">
                <a:pos x="T4" y="T5"/>
              </a:cxn>
              <a:cxn ang="0">
                <a:pos x="T6" y="T7"/>
              </a:cxn>
              <a:cxn ang="0">
                <a:pos x="T8" y="T9"/>
              </a:cxn>
            </a:cxnLst>
            <a:rect l="0" t="0" r="r" b="b"/>
            <a:pathLst>
              <a:path w="440" h="410">
                <a:moveTo>
                  <a:pt x="51" y="298"/>
                </a:moveTo>
                <a:cubicBezTo>
                  <a:pt x="0" y="209"/>
                  <a:pt x="34" y="97"/>
                  <a:pt x="128" y="48"/>
                </a:cubicBezTo>
                <a:cubicBezTo>
                  <a:pt x="221" y="0"/>
                  <a:pt x="338" y="33"/>
                  <a:pt x="389" y="122"/>
                </a:cubicBezTo>
                <a:cubicBezTo>
                  <a:pt x="440" y="212"/>
                  <a:pt x="400" y="313"/>
                  <a:pt x="307" y="362"/>
                </a:cubicBezTo>
                <a:cubicBezTo>
                  <a:pt x="214" y="410"/>
                  <a:pt x="102" y="388"/>
                  <a:pt x="51" y="298"/>
                </a:cubicBezTo>
              </a:path>
            </a:pathLst>
          </a:custGeom>
          <a:solidFill>
            <a:srgbClr val="860864"/>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3" name="Oval 20">
            <a:extLst>
              <a:ext uri="{FF2B5EF4-FFF2-40B4-BE49-F238E27FC236}">
                <a16:creationId xmlns:a16="http://schemas.microsoft.com/office/drawing/2014/main" id="{EE9B31FA-25FA-4CC1-863F-BB3D69944DF9}"/>
              </a:ext>
            </a:extLst>
          </p:cNvPr>
          <p:cNvSpPr/>
          <p:nvPr/>
        </p:nvSpPr>
        <p:spPr>
          <a:xfrm>
            <a:off x="6899617" y="3501008"/>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42" name="Oval 20">
            <a:extLst>
              <a:ext uri="{FF2B5EF4-FFF2-40B4-BE49-F238E27FC236}">
                <a16:creationId xmlns:a16="http://schemas.microsoft.com/office/drawing/2014/main" id="{9C48F09E-5C3B-4BEA-BD8F-85A5DCB0325B}"/>
              </a:ext>
            </a:extLst>
          </p:cNvPr>
          <p:cNvSpPr/>
          <p:nvPr/>
        </p:nvSpPr>
        <p:spPr>
          <a:xfrm>
            <a:off x="8904312" y="4263464"/>
            <a:ext cx="1356623" cy="128178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18" name="Group 19">
            <a:extLst>
              <a:ext uri="{FF2B5EF4-FFF2-40B4-BE49-F238E27FC236}">
                <a16:creationId xmlns:a16="http://schemas.microsoft.com/office/drawing/2014/main" id="{CF5FE06C-4B1B-4C7D-9C1B-249749CBDA16}"/>
              </a:ext>
            </a:extLst>
          </p:cNvPr>
          <p:cNvGrpSpPr>
            <a:grpSpLocks noChangeAspect="1"/>
          </p:cNvGrpSpPr>
          <p:nvPr/>
        </p:nvGrpSpPr>
        <p:grpSpPr>
          <a:xfrm>
            <a:off x="7583918" y="3963965"/>
            <a:ext cx="665234" cy="1031966"/>
            <a:chOff x="-1876425" y="5237163"/>
            <a:chExt cx="247650" cy="384175"/>
          </a:xfrm>
        </p:grpSpPr>
        <p:sp>
          <p:nvSpPr>
            <p:cNvPr id="20" name="Freeform 18">
              <a:extLst>
                <a:ext uri="{FF2B5EF4-FFF2-40B4-BE49-F238E27FC236}">
                  <a16:creationId xmlns:a16="http://schemas.microsoft.com/office/drawing/2014/main" id="{CFC76FA8-53A5-4EF4-A1EA-68CAF7B15DCE}"/>
                </a:ext>
              </a:extLst>
            </p:cNvPr>
            <p:cNvSpPr>
              <a:spLocks/>
            </p:cNvSpPr>
            <p:nvPr/>
          </p:nvSpPr>
          <p:spPr bwMode="auto">
            <a:xfrm>
              <a:off x="-1876425" y="5237163"/>
              <a:ext cx="247650" cy="209550"/>
            </a:xfrm>
            <a:custGeom>
              <a:avLst/>
              <a:gdLst>
                <a:gd name="T0" fmla="*/ 31 w 65"/>
                <a:gd name="T1" fmla="*/ 43 h 55"/>
                <a:gd name="T2" fmla="*/ 0 w 65"/>
                <a:gd name="T3" fmla="*/ 22 h 55"/>
                <a:gd name="T4" fmla="*/ 31 w 65"/>
                <a:gd name="T5" fmla="*/ 0 h 55"/>
                <a:gd name="T6" fmla="*/ 31 w 65"/>
                <a:gd name="T7" fmla="*/ 12 h 55"/>
                <a:gd name="T8" fmla="*/ 43 w 65"/>
                <a:gd name="T9" fmla="*/ 12 h 55"/>
                <a:gd name="T10" fmla="*/ 65 w 65"/>
                <a:gd name="T11" fmla="*/ 33 h 55"/>
                <a:gd name="T12" fmla="*/ 53 w 65"/>
                <a:gd name="T13" fmla="*/ 55 h 55"/>
                <a:gd name="T14" fmla="*/ 53 w 65"/>
                <a:gd name="T15" fmla="*/ 40 h 55"/>
                <a:gd name="T16" fmla="*/ 42 w 65"/>
                <a:gd name="T17" fmla="*/ 31 h 55"/>
                <a:gd name="T18" fmla="*/ 31 w 65"/>
                <a:gd name="T19" fmla="*/ 31 h 55"/>
                <a:gd name="T20" fmla="*/ 31 w 65"/>
                <a:gd name="T21" fmla="*/ 4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5" h="55">
                  <a:moveTo>
                    <a:pt x="31" y="43"/>
                  </a:moveTo>
                  <a:cubicBezTo>
                    <a:pt x="0" y="22"/>
                    <a:pt x="0" y="22"/>
                    <a:pt x="0" y="22"/>
                  </a:cubicBezTo>
                  <a:cubicBezTo>
                    <a:pt x="31" y="0"/>
                    <a:pt x="31" y="0"/>
                    <a:pt x="31" y="0"/>
                  </a:cubicBezTo>
                  <a:cubicBezTo>
                    <a:pt x="31" y="12"/>
                    <a:pt x="31" y="12"/>
                    <a:pt x="31" y="12"/>
                  </a:cubicBezTo>
                  <a:cubicBezTo>
                    <a:pt x="31" y="12"/>
                    <a:pt x="37" y="12"/>
                    <a:pt x="43" y="12"/>
                  </a:cubicBezTo>
                  <a:cubicBezTo>
                    <a:pt x="51" y="12"/>
                    <a:pt x="65" y="19"/>
                    <a:pt x="65" y="33"/>
                  </a:cubicBezTo>
                  <a:cubicBezTo>
                    <a:pt x="65" y="43"/>
                    <a:pt x="57" y="53"/>
                    <a:pt x="53" y="55"/>
                  </a:cubicBezTo>
                  <a:cubicBezTo>
                    <a:pt x="53" y="55"/>
                    <a:pt x="53" y="42"/>
                    <a:pt x="53" y="40"/>
                  </a:cubicBezTo>
                  <a:cubicBezTo>
                    <a:pt x="53" y="38"/>
                    <a:pt x="52" y="31"/>
                    <a:pt x="42" y="31"/>
                  </a:cubicBezTo>
                  <a:cubicBezTo>
                    <a:pt x="31" y="31"/>
                    <a:pt x="31" y="31"/>
                    <a:pt x="31" y="31"/>
                  </a:cubicBezTo>
                  <a:lnTo>
                    <a:pt x="31" y="43"/>
                  </a:lnTo>
                  <a:close/>
                </a:path>
              </a:pathLst>
            </a:custGeom>
            <a:solidFill>
              <a:srgbClr val="93E41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1" name="Freeform 19">
              <a:extLst>
                <a:ext uri="{FF2B5EF4-FFF2-40B4-BE49-F238E27FC236}">
                  <a16:creationId xmlns:a16="http://schemas.microsoft.com/office/drawing/2014/main" id="{B7B3A445-F1FD-40C0-98FA-121865BFB7C8}"/>
                </a:ext>
              </a:extLst>
            </p:cNvPr>
            <p:cNvSpPr>
              <a:spLocks/>
            </p:cNvSpPr>
            <p:nvPr/>
          </p:nvSpPr>
          <p:spPr bwMode="auto">
            <a:xfrm>
              <a:off x="-1876425" y="5416550"/>
              <a:ext cx="247650" cy="204788"/>
            </a:xfrm>
            <a:custGeom>
              <a:avLst/>
              <a:gdLst>
                <a:gd name="T0" fmla="*/ 35 w 65"/>
                <a:gd name="T1" fmla="*/ 23 h 54"/>
                <a:gd name="T2" fmla="*/ 24 w 65"/>
                <a:gd name="T3" fmla="*/ 23 h 54"/>
                <a:gd name="T4" fmla="*/ 13 w 65"/>
                <a:gd name="T5" fmla="*/ 15 h 54"/>
                <a:gd name="T6" fmla="*/ 13 w 65"/>
                <a:gd name="T7" fmla="*/ 0 h 54"/>
                <a:gd name="T8" fmla="*/ 0 w 65"/>
                <a:gd name="T9" fmla="*/ 22 h 54"/>
                <a:gd name="T10" fmla="*/ 23 w 65"/>
                <a:gd name="T11" fmla="*/ 42 h 54"/>
                <a:gd name="T12" fmla="*/ 35 w 65"/>
                <a:gd name="T13" fmla="*/ 42 h 54"/>
                <a:gd name="T14" fmla="*/ 35 w 65"/>
                <a:gd name="T15" fmla="*/ 54 h 54"/>
                <a:gd name="T16" fmla="*/ 65 w 65"/>
                <a:gd name="T17" fmla="*/ 33 h 54"/>
                <a:gd name="T18" fmla="*/ 35 w 65"/>
                <a:gd name="T19" fmla="*/ 11 h 54"/>
                <a:gd name="T20" fmla="*/ 35 w 65"/>
                <a:gd name="T21" fmla="*/ 23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5" h="54">
                  <a:moveTo>
                    <a:pt x="35" y="23"/>
                  </a:moveTo>
                  <a:cubicBezTo>
                    <a:pt x="24" y="23"/>
                    <a:pt x="24" y="23"/>
                    <a:pt x="24" y="23"/>
                  </a:cubicBezTo>
                  <a:cubicBezTo>
                    <a:pt x="14" y="23"/>
                    <a:pt x="13" y="16"/>
                    <a:pt x="13" y="15"/>
                  </a:cubicBezTo>
                  <a:cubicBezTo>
                    <a:pt x="12" y="12"/>
                    <a:pt x="13" y="0"/>
                    <a:pt x="13" y="0"/>
                  </a:cubicBezTo>
                  <a:cubicBezTo>
                    <a:pt x="9" y="1"/>
                    <a:pt x="0" y="11"/>
                    <a:pt x="0" y="22"/>
                  </a:cubicBezTo>
                  <a:cubicBezTo>
                    <a:pt x="0" y="35"/>
                    <a:pt x="14" y="42"/>
                    <a:pt x="23" y="42"/>
                  </a:cubicBezTo>
                  <a:cubicBezTo>
                    <a:pt x="29" y="42"/>
                    <a:pt x="35" y="42"/>
                    <a:pt x="35" y="42"/>
                  </a:cubicBezTo>
                  <a:cubicBezTo>
                    <a:pt x="35" y="54"/>
                    <a:pt x="35" y="54"/>
                    <a:pt x="35" y="54"/>
                  </a:cubicBezTo>
                  <a:cubicBezTo>
                    <a:pt x="65" y="33"/>
                    <a:pt x="65" y="33"/>
                    <a:pt x="65" y="33"/>
                  </a:cubicBezTo>
                  <a:cubicBezTo>
                    <a:pt x="35" y="11"/>
                    <a:pt x="35" y="11"/>
                    <a:pt x="35" y="11"/>
                  </a:cubicBezTo>
                  <a:lnTo>
                    <a:pt x="35" y="23"/>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991541687"/>
      </p:ext>
    </p:extLst>
  </p:cSld>
  <p:clrMapOvr>
    <a:masterClrMapping/>
  </p:clrMapOvr>
</p:sld>
</file>

<file path=ppt/slides/slide1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ytuł 3">
            <a:extLst>
              <a:ext uri="{FF2B5EF4-FFF2-40B4-BE49-F238E27FC236}">
                <a16:creationId xmlns:a16="http://schemas.microsoft.com/office/drawing/2014/main" id="{BE6E47FB-5E55-45DB-B712-E4993D47A776}"/>
              </a:ext>
            </a:extLst>
          </p:cNvPr>
          <p:cNvSpPr>
            <a:spLocks noGrp="1"/>
          </p:cNvSpPr>
          <p:nvPr>
            <p:ph type="title"/>
          </p:nvPr>
        </p:nvSpPr>
        <p:spPr/>
        <p:txBody>
          <a:bodyPr/>
          <a:lstStyle/>
          <a:p>
            <a:r>
              <a:rPr lang="en-US" sz="3200" dirty="0"/>
              <a:t>Using declarations</a:t>
            </a:r>
          </a:p>
        </p:txBody>
      </p:sp>
      <p:sp>
        <p:nvSpPr>
          <p:cNvPr id="5" name="Symbol zastępczy tekstu 4">
            <a:extLst>
              <a:ext uri="{FF2B5EF4-FFF2-40B4-BE49-F238E27FC236}">
                <a16:creationId xmlns:a16="http://schemas.microsoft.com/office/drawing/2014/main" id="{566C6C9B-DE4F-4D57-8491-6FC8D45FC924}"/>
              </a:ext>
            </a:extLst>
          </p:cNvPr>
          <p:cNvSpPr>
            <a:spLocks noGrp="1"/>
          </p:cNvSpPr>
          <p:nvPr>
            <p:ph type="body" sz="quarter" idx="10"/>
          </p:nvPr>
        </p:nvSpPr>
        <p:spPr/>
        <p:txBody>
          <a:bodyPr/>
          <a:lstStyle/>
          <a:p>
            <a:endParaRPr lang="en-US" dirty="0"/>
          </a:p>
        </p:txBody>
      </p:sp>
      <p:sp>
        <p:nvSpPr>
          <p:cNvPr id="6" name="Symbol zastępczy tekstu 5">
            <a:extLst>
              <a:ext uri="{FF2B5EF4-FFF2-40B4-BE49-F238E27FC236}">
                <a16:creationId xmlns:a16="http://schemas.microsoft.com/office/drawing/2014/main" id="{1302AB4B-7554-47F7-BBCD-39BD33559A94}"/>
              </a:ext>
            </a:extLst>
          </p:cNvPr>
          <p:cNvSpPr>
            <a:spLocks noGrp="1"/>
          </p:cNvSpPr>
          <p:nvPr>
            <p:ph type="body" sz="quarter" idx="11"/>
          </p:nvPr>
        </p:nvSpPr>
        <p:spPr/>
        <p:txBody>
          <a:bodyPr/>
          <a:lstStyle/>
          <a:p>
            <a:r>
              <a:rPr lang="en-US" dirty="0"/>
              <a:t>C# 7.3</a:t>
            </a:r>
          </a:p>
        </p:txBody>
      </p:sp>
      <p:sp>
        <p:nvSpPr>
          <p:cNvPr id="7" name="Symbol zastępczy tekstu 6">
            <a:extLst>
              <a:ext uri="{FF2B5EF4-FFF2-40B4-BE49-F238E27FC236}">
                <a16:creationId xmlns:a16="http://schemas.microsoft.com/office/drawing/2014/main" id="{5D8A2B1E-A86F-4A25-94A4-5CF446FD2951}"/>
              </a:ext>
            </a:extLst>
          </p:cNvPr>
          <p:cNvSpPr>
            <a:spLocks noGrp="1"/>
          </p:cNvSpPr>
          <p:nvPr>
            <p:ph type="body" sz="quarter" idx="12"/>
          </p:nvPr>
        </p:nvSpPr>
        <p:spPr/>
        <p:txBody>
          <a:bodyPr/>
          <a:lstStyle/>
          <a:p>
            <a:r>
              <a:rPr lang="en-US" dirty="0"/>
              <a:t>1</a:t>
            </a:r>
          </a:p>
        </p:txBody>
      </p:sp>
    </p:spTree>
    <p:extLst>
      <p:ext uri="{BB962C8B-B14F-4D97-AF65-F5344CB8AC3E}">
        <p14:creationId xmlns:p14="http://schemas.microsoft.com/office/powerpoint/2010/main" val="839322109"/>
      </p:ext>
    </p:extLst>
  </p:cSld>
  <p:clrMapOvr>
    <a:masterClrMapping/>
  </p:clrMapOvr>
</p:sld>
</file>

<file path=ppt/slides/slide1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ytuł 3">
            <a:extLst>
              <a:ext uri="{FF2B5EF4-FFF2-40B4-BE49-F238E27FC236}">
                <a16:creationId xmlns:a16="http://schemas.microsoft.com/office/drawing/2014/main" id="{BE6E47FB-5E55-45DB-B712-E4993D47A776}"/>
              </a:ext>
            </a:extLst>
          </p:cNvPr>
          <p:cNvSpPr>
            <a:spLocks noGrp="1"/>
          </p:cNvSpPr>
          <p:nvPr>
            <p:ph type="title"/>
          </p:nvPr>
        </p:nvSpPr>
        <p:spPr/>
        <p:txBody>
          <a:bodyPr/>
          <a:lstStyle/>
          <a:p>
            <a:r>
              <a:rPr lang="en-US" sz="3200" dirty="0"/>
              <a:t>Using declarations</a:t>
            </a:r>
          </a:p>
        </p:txBody>
      </p:sp>
      <p:sp>
        <p:nvSpPr>
          <p:cNvPr id="5" name="Symbol zastępczy tekstu 4">
            <a:extLst>
              <a:ext uri="{FF2B5EF4-FFF2-40B4-BE49-F238E27FC236}">
                <a16:creationId xmlns:a16="http://schemas.microsoft.com/office/drawing/2014/main" id="{566C6C9B-DE4F-4D57-8491-6FC8D45FC924}"/>
              </a:ext>
            </a:extLst>
          </p:cNvPr>
          <p:cNvSpPr>
            <a:spLocks noGrp="1"/>
          </p:cNvSpPr>
          <p:nvPr>
            <p:ph type="body" sz="quarter" idx="10"/>
          </p:nvPr>
        </p:nvSpPr>
        <p:spPr/>
        <p:txBody>
          <a:bodyPr/>
          <a:lstStyle/>
          <a:p>
            <a:endParaRPr lang="en-US" dirty="0"/>
          </a:p>
        </p:txBody>
      </p:sp>
      <p:sp>
        <p:nvSpPr>
          <p:cNvPr id="6" name="Symbol zastępczy tekstu 5">
            <a:extLst>
              <a:ext uri="{FF2B5EF4-FFF2-40B4-BE49-F238E27FC236}">
                <a16:creationId xmlns:a16="http://schemas.microsoft.com/office/drawing/2014/main" id="{1302AB4B-7554-47F7-BBCD-39BD33559A94}"/>
              </a:ext>
            </a:extLst>
          </p:cNvPr>
          <p:cNvSpPr>
            <a:spLocks noGrp="1"/>
          </p:cNvSpPr>
          <p:nvPr>
            <p:ph type="body" sz="quarter" idx="11"/>
          </p:nvPr>
        </p:nvSpPr>
        <p:spPr/>
        <p:txBody>
          <a:bodyPr/>
          <a:lstStyle/>
          <a:p>
            <a:r>
              <a:rPr lang="en-US" dirty="0"/>
              <a:t>C# 8.0</a:t>
            </a:r>
          </a:p>
        </p:txBody>
      </p:sp>
      <p:sp>
        <p:nvSpPr>
          <p:cNvPr id="7" name="Symbol zastępczy tekstu 6">
            <a:extLst>
              <a:ext uri="{FF2B5EF4-FFF2-40B4-BE49-F238E27FC236}">
                <a16:creationId xmlns:a16="http://schemas.microsoft.com/office/drawing/2014/main" id="{5D8A2B1E-A86F-4A25-94A4-5CF446FD2951}"/>
              </a:ext>
            </a:extLst>
          </p:cNvPr>
          <p:cNvSpPr>
            <a:spLocks noGrp="1"/>
          </p:cNvSpPr>
          <p:nvPr>
            <p:ph type="body" sz="quarter" idx="12"/>
          </p:nvPr>
        </p:nvSpPr>
        <p:spPr/>
        <p:txBody>
          <a:bodyPr/>
          <a:lstStyle/>
          <a:p>
            <a:r>
              <a:rPr lang="en-US" dirty="0"/>
              <a:t>2</a:t>
            </a:r>
          </a:p>
        </p:txBody>
      </p:sp>
    </p:spTree>
    <p:extLst>
      <p:ext uri="{BB962C8B-B14F-4D97-AF65-F5344CB8AC3E}">
        <p14:creationId xmlns:p14="http://schemas.microsoft.com/office/powerpoint/2010/main" val="2272486296"/>
      </p:ext>
    </p:extLst>
  </p:cSld>
  <p:clrMapOvr>
    <a:masterClrMapping/>
  </p:clrMapOvr>
</p:sld>
</file>

<file path=ppt/slides/slide1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sld>
</file>

<file path=ppt/slides/slide1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Obraz 5">
            <a:extLst>
              <a:ext uri="{FF2B5EF4-FFF2-40B4-BE49-F238E27FC236}">
                <a16:creationId xmlns:a16="http://schemas.microsoft.com/office/drawing/2014/main" id="{F0E6C5DA-12E4-4B47-976E-8AD7D123DAC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987102" y="1821453"/>
            <a:ext cx="6343838" cy="4467600"/>
          </a:xfrm>
          <a:prstGeom prst="rect">
            <a:avLst/>
          </a:prstGeom>
        </p:spPr>
      </p:pic>
      <p:sp>
        <p:nvSpPr>
          <p:cNvPr id="2" name="Tytuł 1">
            <a:extLst>
              <a:ext uri="{FF2B5EF4-FFF2-40B4-BE49-F238E27FC236}">
                <a16:creationId xmlns:a16="http://schemas.microsoft.com/office/drawing/2014/main" id="{DEA935F7-2904-40FF-A73D-3CCC59AF658E}"/>
              </a:ext>
            </a:extLst>
          </p:cNvPr>
          <p:cNvSpPr>
            <a:spLocks noGrp="1"/>
          </p:cNvSpPr>
          <p:nvPr>
            <p:ph type="title"/>
          </p:nvPr>
        </p:nvSpPr>
        <p:spPr/>
        <p:txBody>
          <a:bodyPr/>
          <a:lstStyle/>
          <a:p>
            <a:r>
              <a:rPr lang="en-US" dirty="0"/>
              <a:t>Async Main method</a:t>
            </a:r>
          </a:p>
        </p:txBody>
      </p:sp>
      <p:sp>
        <p:nvSpPr>
          <p:cNvPr id="4" name="Symbol zastępczy tekstu 3">
            <a:extLst>
              <a:ext uri="{FF2B5EF4-FFF2-40B4-BE49-F238E27FC236}">
                <a16:creationId xmlns:a16="http://schemas.microsoft.com/office/drawing/2014/main" id="{5AE649E8-E6A2-4473-82C4-13CDFACEAAA5}"/>
              </a:ext>
            </a:extLst>
          </p:cNvPr>
          <p:cNvSpPr>
            <a:spLocks noGrp="1"/>
          </p:cNvSpPr>
          <p:nvPr>
            <p:ph type="body" sz="quarter" idx="11"/>
          </p:nvPr>
        </p:nvSpPr>
        <p:spPr/>
        <p:txBody>
          <a:bodyPr/>
          <a:lstStyle/>
          <a:p>
            <a:r>
              <a:rPr lang="en-US" dirty="0"/>
              <a:t>C# 7.0, totally synchronous, old fashioned way</a:t>
            </a:r>
          </a:p>
          <a:p>
            <a:endParaRPr lang="en-US" dirty="0"/>
          </a:p>
        </p:txBody>
      </p:sp>
      <p:sp>
        <p:nvSpPr>
          <p:cNvPr id="5" name="Symbol zastępczy tekstu 4">
            <a:extLst>
              <a:ext uri="{FF2B5EF4-FFF2-40B4-BE49-F238E27FC236}">
                <a16:creationId xmlns:a16="http://schemas.microsoft.com/office/drawing/2014/main" id="{026454BF-D147-4265-B180-0D1A4FC7A23F}"/>
              </a:ext>
            </a:extLst>
          </p:cNvPr>
          <p:cNvSpPr>
            <a:spLocks noGrp="1"/>
          </p:cNvSpPr>
          <p:nvPr>
            <p:ph type="body" sz="quarter" idx="12"/>
          </p:nvPr>
        </p:nvSpPr>
        <p:spPr/>
        <p:txBody>
          <a:bodyPr/>
          <a:lstStyle/>
          <a:p>
            <a:r>
              <a:rPr lang="en-US" dirty="0"/>
              <a:t>1</a:t>
            </a:r>
          </a:p>
        </p:txBody>
      </p:sp>
    </p:spTree>
    <p:extLst>
      <p:ext uri="{BB962C8B-B14F-4D97-AF65-F5344CB8AC3E}">
        <p14:creationId xmlns:p14="http://schemas.microsoft.com/office/powerpoint/2010/main" val="3955733172"/>
      </p:ext>
    </p:extLst>
  </p:cSld>
  <p:clrMapOvr>
    <a:masterClrMapping/>
  </p:clrMapOvr>
</p:sld>
</file>

<file path=ppt/slides/slide1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3" name="Object 62"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9622" name="think-cell Slide" r:id="rId4" imgW="270" imgH="270" progId="TCLayout.ActiveDocument.1">
                  <p:embed/>
                </p:oleObj>
              </mc:Choice>
              <mc:Fallback>
                <p:oleObj name="think-cell Slide" r:id="rId4" imgW="270" imgH="270" progId="TCLayout.ActiveDocument.1">
                  <p:embed/>
                  <p:pic>
                    <p:nvPicPr>
                      <p:cNvPr id="0" name="Picture 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0" name="Rectangle 59"/>
          <p:cNvSpPr/>
          <p:nvPr/>
        </p:nvSpPr>
        <p:spPr>
          <a:xfrm>
            <a:off x="643101" y="2372497"/>
            <a:ext cx="3329572" cy="358346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61" name="Rectangle 60"/>
          <p:cNvSpPr/>
          <p:nvPr/>
        </p:nvSpPr>
        <p:spPr>
          <a:xfrm>
            <a:off x="4431214" y="2372497"/>
            <a:ext cx="3329572" cy="358346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62" name="Rectangle 61"/>
          <p:cNvSpPr/>
          <p:nvPr/>
        </p:nvSpPr>
        <p:spPr>
          <a:xfrm>
            <a:off x="8219327" y="2372497"/>
            <a:ext cx="3329572" cy="358346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5" name="Title 4"/>
          <p:cNvSpPr>
            <a:spLocks noGrp="1"/>
          </p:cNvSpPr>
          <p:nvPr>
            <p:ph type="title"/>
          </p:nvPr>
        </p:nvSpPr>
        <p:spPr>
          <a:xfrm>
            <a:off x="227349" y="0"/>
            <a:ext cx="11125236" cy="1104900"/>
          </a:xfrm>
        </p:spPr>
        <p:txBody>
          <a:bodyPr/>
          <a:lstStyle/>
          <a:p>
            <a:r>
              <a:rPr lang="en-US" dirty="0"/>
              <a:t>Title</a:t>
            </a:r>
            <a:br>
              <a:rPr lang="en-US" dirty="0"/>
            </a:br>
            <a:r>
              <a:rPr lang="en-US" dirty="0"/>
              <a:t>(Work for 1 or 2 lines of title)</a:t>
            </a:r>
            <a:endParaRPr lang="en-GB" dirty="0"/>
          </a:p>
        </p:txBody>
      </p:sp>
      <p:grpSp>
        <p:nvGrpSpPr>
          <p:cNvPr id="46" name="Group 19">
            <a:extLst>
              <a:ext uri="{FF2B5EF4-FFF2-40B4-BE49-F238E27FC236}">
                <a16:creationId xmlns:a16="http://schemas.microsoft.com/office/drawing/2014/main" id="{D08D893A-3784-4062-AD67-75C11DD4BC0A}"/>
              </a:ext>
            </a:extLst>
          </p:cNvPr>
          <p:cNvGrpSpPr>
            <a:grpSpLocks noChangeAspect="1"/>
          </p:cNvGrpSpPr>
          <p:nvPr/>
        </p:nvGrpSpPr>
        <p:grpSpPr bwMode="auto">
          <a:xfrm>
            <a:off x="7807059" y="1702869"/>
            <a:ext cx="1330762" cy="1244311"/>
            <a:chOff x="-106" y="-109"/>
            <a:chExt cx="1878" cy="1756"/>
          </a:xfrm>
        </p:grpSpPr>
        <p:sp>
          <p:nvSpPr>
            <p:cNvPr id="47" name="Freeform 20">
              <a:extLst>
                <a:ext uri="{FF2B5EF4-FFF2-40B4-BE49-F238E27FC236}">
                  <a16:creationId xmlns:a16="http://schemas.microsoft.com/office/drawing/2014/main" id="{9A854B9E-9E9F-4DD9-8AD2-398E59A8EB92}"/>
                </a:ext>
              </a:extLst>
            </p:cNvPr>
            <p:cNvSpPr>
              <a:spLocks/>
            </p:cNvSpPr>
            <p:nvPr/>
          </p:nvSpPr>
          <p:spPr bwMode="auto">
            <a:xfrm>
              <a:off x="-106" y="-109"/>
              <a:ext cx="1878" cy="1756"/>
            </a:xfrm>
            <a:custGeom>
              <a:avLst/>
              <a:gdLst>
                <a:gd name="T0" fmla="*/ 101 w 701"/>
                <a:gd name="T1" fmla="*/ 513 h 655"/>
                <a:gd name="T2" fmla="*/ 168 w 701"/>
                <a:gd name="T3" fmla="*/ 98 h 655"/>
                <a:gd name="T4" fmla="*/ 600 w 701"/>
                <a:gd name="T5" fmla="*/ 159 h 655"/>
                <a:gd name="T6" fmla="*/ 522 w 701"/>
                <a:gd name="T7" fmla="*/ 558 h 655"/>
                <a:gd name="T8" fmla="*/ 101 w 701"/>
                <a:gd name="T9" fmla="*/ 513 h 655"/>
              </a:gdLst>
              <a:ahLst/>
              <a:cxnLst>
                <a:cxn ang="0">
                  <a:pos x="T0" y="T1"/>
                </a:cxn>
                <a:cxn ang="0">
                  <a:pos x="T2" y="T3"/>
                </a:cxn>
                <a:cxn ang="0">
                  <a:pos x="T4" y="T5"/>
                </a:cxn>
                <a:cxn ang="0">
                  <a:pos x="T6" y="T7"/>
                </a:cxn>
                <a:cxn ang="0">
                  <a:pos x="T8" y="T9"/>
                </a:cxn>
              </a:cxnLst>
              <a:rect l="0" t="0" r="r" b="b"/>
              <a:pathLst>
                <a:path w="701" h="655">
                  <a:moveTo>
                    <a:pt x="101" y="513"/>
                  </a:moveTo>
                  <a:cubicBezTo>
                    <a:pt x="0" y="381"/>
                    <a:pt x="30" y="196"/>
                    <a:pt x="168" y="98"/>
                  </a:cubicBezTo>
                  <a:cubicBezTo>
                    <a:pt x="306" y="0"/>
                    <a:pt x="500" y="28"/>
                    <a:pt x="600" y="159"/>
                  </a:cubicBezTo>
                  <a:cubicBezTo>
                    <a:pt x="701" y="290"/>
                    <a:pt x="660" y="460"/>
                    <a:pt x="522" y="558"/>
                  </a:cubicBezTo>
                  <a:cubicBezTo>
                    <a:pt x="384" y="655"/>
                    <a:pt x="202" y="644"/>
                    <a:pt x="101" y="513"/>
                  </a:cubicBezTo>
                </a:path>
              </a:pathLst>
            </a:custGeom>
            <a:solidFill>
              <a:srgbClr val="2B0A3D"/>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48" name="Freeform 21">
              <a:extLst>
                <a:ext uri="{FF2B5EF4-FFF2-40B4-BE49-F238E27FC236}">
                  <a16:creationId xmlns:a16="http://schemas.microsoft.com/office/drawing/2014/main" id="{27ED1AE6-BABB-476C-8134-75605A6B8C90}"/>
                </a:ext>
              </a:extLst>
            </p:cNvPr>
            <p:cNvSpPr>
              <a:spLocks/>
            </p:cNvSpPr>
            <p:nvPr/>
          </p:nvSpPr>
          <p:spPr bwMode="auto">
            <a:xfrm>
              <a:off x="379" y="400"/>
              <a:ext cx="870" cy="789"/>
            </a:xfrm>
            <a:custGeom>
              <a:avLst/>
              <a:gdLst>
                <a:gd name="T0" fmla="*/ 45 w 325"/>
                <a:gd name="T1" fmla="*/ 61 h 294"/>
                <a:gd name="T2" fmla="*/ 183 w 325"/>
                <a:gd name="T3" fmla="*/ 3 h 294"/>
                <a:gd name="T4" fmla="*/ 308 w 325"/>
                <a:gd name="T5" fmla="*/ 75 h 294"/>
                <a:gd name="T6" fmla="*/ 178 w 325"/>
                <a:gd name="T7" fmla="*/ 294 h 294"/>
                <a:gd name="T8" fmla="*/ 45 w 325"/>
                <a:gd name="T9" fmla="*/ 61 h 294"/>
              </a:gdLst>
              <a:ahLst/>
              <a:cxnLst>
                <a:cxn ang="0">
                  <a:pos x="T0" y="T1"/>
                </a:cxn>
                <a:cxn ang="0">
                  <a:pos x="T2" y="T3"/>
                </a:cxn>
                <a:cxn ang="0">
                  <a:pos x="T4" y="T5"/>
                </a:cxn>
                <a:cxn ang="0">
                  <a:pos x="T6" y="T7"/>
                </a:cxn>
                <a:cxn ang="0">
                  <a:pos x="T8" y="T9"/>
                </a:cxn>
              </a:cxnLst>
              <a:rect l="0" t="0" r="r" b="b"/>
              <a:pathLst>
                <a:path w="325" h="294">
                  <a:moveTo>
                    <a:pt x="45" y="61"/>
                  </a:moveTo>
                  <a:cubicBezTo>
                    <a:pt x="103" y="0"/>
                    <a:pt x="183" y="3"/>
                    <a:pt x="183" y="3"/>
                  </a:cubicBezTo>
                  <a:cubicBezTo>
                    <a:pt x="205" y="25"/>
                    <a:pt x="294" y="20"/>
                    <a:pt x="308" y="75"/>
                  </a:cubicBezTo>
                  <a:cubicBezTo>
                    <a:pt x="325" y="148"/>
                    <a:pt x="284" y="281"/>
                    <a:pt x="178" y="294"/>
                  </a:cubicBezTo>
                  <a:cubicBezTo>
                    <a:pt x="0" y="265"/>
                    <a:pt x="45" y="61"/>
                    <a:pt x="45" y="61"/>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49" name="Freeform 22">
              <a:extLst>
                <a:ext uri="{FF2B5EF4-FFF2-40B4-BE49-F238E27FC236}">
                  <a16:creationId xmlns:a16="http://schemas.microsoft.com/office/drawing/2014/main" id="{72D39EFF-4A9E-492A-AE77-5861A88BAAB7}"/>
                </a:ext>
              </a:extLst>
            </p:cNvPr>
            <p:cNvSpPr>
              <a:spLocks/>
            </p:cNvSpPr>
            <p:nvPr/>
          </p:nvSpPr>
          <p:spPr bwMode="auto">
            <a:xfrm>
              <a:off x="497" y="508"/>
              <a:ext cx="428" cy="584"/>
            </a:xfrm>
            <a:custGeom>
              <a:avLst/>
              <a:gdLst>
                <a:gd name="T0" fmla="*/ 137 w 160"/>
                <a:gd name="T1" fmla="*/ 40 h 218"/>
                <a:gd name="T2" fmla="*/ 137 w 160"/>
                <a:gd name="T3" fmla="*/ 38 h 218"/>
                <a:gd name="T4" fmla="*/ 137 w 160"/>
                <a:gd name="T5" fmla="*/ 37 h 218"/>
                <a:gd name="T6" fmla="*/ 135 w 160"/>
                <a:gd name="T7" fmla="*/ 0 h 218"/>
                <a:gd name="T8" fmla="*/ 33 w 160"/>
                <a:gd name="T9" fmla="*/ 43 h 218"/>
                <a:gd name="T10" fmla="*/ 133 w 160"/>
                <a:gd name="T11" fmla="*/ 218 h 218"/>
                <a:gd name="T12" fmla="*/ 137 w 160"/>
                <a:gd name="T13" fmla="*/ 40 h 218"/>
              </a:gdLst>
              <a:ahLst/>
              <a:cxnLst>
                <a:cxn ang="0">
                  <a:pos x="T0" y="T1"/>
                </a:cxn>
                <a:cxn ang="0">
                  <a:pos x="T2" y="T3"/>
                </a:cxn>
                <a:cxn ang="0">
                  <a:pos x="T4" y="T5"/>
                </a:cxn>
                <a:cxn ang="0">
                  <a:pos x="T6" y="T7"/>
                </a:cxn>
                <a:cxn ang="0">
                  <a:pos x="T8" y="T9"/>
                </a:cxn>
                <a:cxn ang="0">
                  <a:pos x="T10" y="T11"/>
                </a:cxn>
                <a:cxn ang="0">
                  <a:pos x="T12" y="T13"/>
                </a:cxn>
              </a:cxnLst>
              <a:rect l="0" t="0" r="r" b="b"/>
              <a:pathLst>
                <a:path w="160" h="218">
                  <a:moveTo>
                    <a:pt x="137" y="40"/>
                  </a:moveTo>
                  <a:cubicBezTo>
                    <a:pt x="137" y="39"/>
                    <a:pt x="137" y="39"/>
                    <a:pt x="137" y="38"/>
                  </a:cubicBezTo>
                  <a:cubicBezTo>
                    <a:pt x="137" y="38"/>
                    <a:pt x="137" y="38"/>
                    <a:pt x="137" y="37"/>
                  </a:cubicBezTo>
                  <a:cubicBezTo>
                    <a:pt x="135" y="20"/>
                    <a:pt x="134" y="9"/>
                    <a:pt x="135" y="0"/>
                  </a:cubicBezTo>
                  <a:cubicBezTo>
                    <a:pt x="124" y="0"/>
                    <a:pt x="72" y="3"/>
                    <a:pt x="33" y="43"/>
                  </a:cubicBezTo>
                  <a:cubicBezTo>
                    <a:pt x="33" y="43"/>
                    <a:pt x="0" y="196"/>
                    <a:pt x="133" y="218"/>
                  </a:cubicBezTo>
                  <a:cubicBezTo>
                    <a:pt x="160" y="170"/>
                    <a:pt x="144" y="91"/>
                    <a:pt x="137" y="40"/>
                  </a:cubicBezTo>
                  <a:close/>
                </a:path>
              </a:pathLst>
            </a:custGeom>
            <a:solidFill>
              <a:srgbClr val="7D38BA"/>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grpSp>
        <p:nvGrpSpPr>
          <p:cNvPr id="50" name="Group 25">
            <a:extLst>
              <a:ext uri="{FF2B5EF4-FFF2-40B4-BE49-F238E27FC236}">
                <a16:creationId xmlns:a16="http://schemas.microsoft.com/office/drawing/2014/main" id="{19621B79-FE8E-4A93-A16C-41B91E501972}"/>
              </a:ext>
            </a:extLst>
          </p:cNvPr>
          <p:cNvGrpSpPr>
            <a:grpSpLocks noChangeAspect="1"/>
          </p:cNvGrpSpPr>
          <p:nvPr/>
        </p:nvGrpSpPr>
        <p:grpSpPr bwMode="auto">
          <a:xfrm>
            <a:off x="4030026" y="1699811"/>
            <a:ext cx="1330762" cy="1247369"/>
            <a:chOff x="-61" y="-66"/>
            <a:chExt cx="1133" cy="1062"/>
          </a:xfrm>
        </p:grpSpPr>
        <p:sp>
          <p:nvSpPr>
            <p:cNvPr id="51" name="Freeform 26">
              <a:extLst>
                <a:ext uri="{FF2B5EF4-FFF2-40B4-BE49-F238E27FC236}">
                  <a16:creationId xmlns:a16="http://schemas.microsoft.com/office/drawing/2014/main" id="{35B984F4-3610-4232-B295-D2FBF430930A}"/>
                </a:ext>
              </a:extLst>
            </p:cNvPr>
            <p:cNvSpPr>
              <a:spLocks/>
            </p:cNvSpPr>
            <p:nvPr/>
          </p:nvSpPr>
          <p:spPr bwMode="auto">
            <a:xfrm>
              <a:off x="-61" y="-66"/>
              <a:ext cx="1133" cy="1062"/>
            </a:xfrm>
            <a:custGeom>
              <a:avLst/>
              <a:gdLst>
                <a:gd name="T0" fmla="*/ 60 w 422"/>
                <a:gd name="T1" fmla="*/ 309 h 395"/>
                <a:gd name="T2" fmla="*/ 101 w 422"/>
                <a:gd name="T3" fmla="*/ 59 h 395"/>
                <a:gd name="T4" fmla="*/ 362 w 422"/>
                <a:gd name="T5" fmla="*/ 96 h 395"/>
                <a:gd name="T6" fmla="*/ 314 w 422"/>
                <a:gd name="T7" fmla="*/ 336 h 395"/>
                <a:gd name="T8" fmla="*/ 60 w 422"/>
                <a:gd name="T9" fmla="*/ 309 h 395"/>
              </a:gdLst>
              <a:ahLst/>
              <a:cxnLst>
                <a:cxn ang="0">
                  <a:pos x="T0" y="T1"/>
                </a:cxn>
                <a:cxn ang="0">
                  <a:pos x="T2" y="T3"/>
                </a:cxn>
                <a:cxn ang="0">
                  <a:pos x="T4" y="T5"/>
                </a:cxn>
                <a:cxn ang="0">
                  <a:pos x="T6" y="T7"/>
                </a:cxn>
                <a:cxn ang="0">
                  <a:pos x="T8" y="T9"/>
                </a:cxn>
              </a:cxnLst>
              <a:rect l="0" t="0" r="r" b="b"/>
              <a:pathLst>
                <a:path w="422" h="395">
                  <a:moveTo>
                    <a:pt x="60" y="309"/>
                  </a:moveTo>
                  <a:cubicBezTo>
                    <a:pt x="0" y="230"/>
                    <a:pt x="18" y="118"/>
                    <a:pt x="101" y="59"/>
                  </a:cubicBezTo>
                  <a:cubicBezTo>
                    <a:pt x="184" y="0"/>
                    <a:pt x="301" y="17"/>
                    <a:pt x="362" y="96"/>
                  </a:cubicBezTo>
                  <a:cubicBezTo>
                    <a:pt x="422" y="175"/>
                    <a:pt x="397" y="278"/>
                    <a:pt x="314" y="336"/>
                  </a:cubicBezTo>
                  <a:cubicBezTo>
                    <a:pt x="231" y="395"/>
                    <a:pt x="121" y="388"/>
                    <a:pt x="60" y="309"/>
                  </a:cubicBezTo>
                </a:path>
              </a:pathLst>
            </a:custGeom>
            <a:solidFill>
              <a:srgbClr val="FF304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52" name="Freeform 27">
              <a:extLst>
                <a:ext uri="{FF2B5EF4-FFF2-40B4-BE49-F238E27FC236}">
                  <a16:creationId xmlns:a16="http://schemas.microsoft.com/office/drawing/2014/main" id="{03832756-A96D-4697-98FF-ADCCD9C911D4}"/>
                </a:ext>
              </a:extLst>
            </p:cNvPr>
            <p:cNvSpPr>
              <a:spLocks/>
            </p:cNvSpPr>
            <p:nvPr/>
          </p:nvSpPr>
          <p:spPr bwMode="auto">
            <a:xfrm>
              <a:off x="204" y="259"/>
              <a:ext cx="632" cy="393"/>
            </a:xfrm>
            <a:custGeom>
              <a:avLst/>
              <a:gdLst>
                <a:gd name="T0" fmla="*/ 227 w 235"/>
                <a:gd name="T1" fmla="*/ 68 h 146"/>
                <a:gd name="T2" fmla="*/ 167 w 235"/>
                <a:gd name="T3" fmla="*/ 40 h 146"/>
                <a:gd name="T4" fmla="*/ 108 w 235"/>
                <a:gd name="T5" fmla="*/ 2 h 146"/>
                <a:gd name="T6" fmla="*/ 48 w 235"/>
                <a:gd name="T7" fmla="*/ 50 h 146"/>
                <a:gd name="T8" fmla="*/ 1 w 235"/>
                <a:gd name="T9" fmla="*/ 88 h 146"/>
                <a:gd name="T10" fmla="*/ 1 w 235"/>
                <a:gd name="T11" fmla="*/ 88 h 146"/>
                <a:gd name="T12" fmla="*/ 94 w 235"/>
                <a:gd name="T13" fmla="*/ 134 h 146"/>
                <a:gd name="T14" fmla="*/ 94 w 235"/>
                <a:gd name="T15" fmla="*/ 134 h 146"/>
                <a:gd name="T16" fmla="*/ 203 w 235"/>
                <a:gd name="T17" fmla="*/ 112 h 146"/>
                <a:gd name="T18" fmla="*/ 226 w 235"/>
                <a:gd name="T19" fmla="*/ 115 h 146"/>
                <a:gd name="T20" fmla="*/ 227 w 235"/>
                <a:gd name="T21" fmla="*/ 6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5" h="146">
                  <a:moveTo>
                    <a:pt x="227" y="68"/>
                  </a:moveTo>
                  <a:cubicBezTo>
                    <a:pt x="218" y="46"/>
                    <a:pt x="195" y="33"/>
                    <a:pt x="167" y="40"/>
                  </a:cubicBezTo>
                  <a:cubicBezTo>
                    <a:pt x="167" y="40"/>
                    <a:pt x="154" y="0"/>
                    <a:pt x="108" y="2"/>
                  </a:cubicBezTo>
                  <a:cubicBezTo>
                    <a:pt x="72" y="4"/>
                    <a:pt x="51" y="29"/>
                    <a:pt x="48" y="50"/>
                  </a:cubicBezTo>
                  <a:cubicBezTo>
                    <a:pt x="30" y="46"/>
                    <a:pt x="0" y="59"/>
                    <a:pt x="1" y="88"/>
                  </a:cubicBezTo>
                  <a:cubicBezTo>
                    <a:pt x="1" y="88"/>
                    <a:pt x="1" y="88"/>
                    <a:pt x="1" y="88"/>
                  </a:cubicBezTo>
                  <a:cubicBezTo>
                    <a:pt x="3" y="146"/>
                    <a:pt x="77" y="138"/>
                    <a:pt x="94" y="134"/>
                  </a:cubicBezTo>
                  <a:cubicBezTo>
                    <a:pt x="94" y="134"/>
                    <a:pt x="94" y="134"/>
                    <a:pt x="94" y="134"/>
                  </a:cubicBezTo>
                  <a:cubicBezTo>
                    <a:pt x="118" y="132"/>
                    <a:pt x="158" y="112"/>
                    <a:pt x="203" y="112"/>
                  </a:cubicBezTo>
                  <a:cubicBezTo>
                    <a:pt x="212" y="112"/>
                    <a:pt x="219" y="113"/>
                    <a:pt x="226" y="115"/>
                  </a:cubicBezTo>
                  <a:cubicBezTo>
                    <a:pt x="231" y="103"/>
                    <a:pt x="235" y="87"/>
                    <a:pt x="227" y="68"/>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grpSp>
        <p:nvGrpSpPr>
          <p:cNvPr id="53" name="Group 30">
            <a:extLst>
              <a:ext uri="{FF2B5EF4-FFF2-40B4-BE49-F238E27FC236}">
                <a16:creationId xmlns:a16="http://schemas.microsoft.com/office/drawing/2014/main" id="{2450D3E4-236D-4FB2-A7B0-FA7B6A48CF6E}"/>
              </a:ext>
            </a:extLst>
          </p:cNvPr>
          <p:cNvGrpSpPr>
            <a:grpSpLocks noChangeAspect="1"/>
          </p:cNvGrpSpPr>
          <p:nvPr/>
        </p:nvGrpSpPr>
        <p:grpSpPr bwMode="auto">
          <a:xfrm>
            <a:off x="353137" y="1675813"/>
            <a:ext cx="1359985" cy="1271367"/>
            <a:chOff x="-223" y="-210"/>
            <a:chExt cx="3852" cy="3601"/>
          </a:xfrm>
        </p:grpSpPr>
        <p:sp>
          <p:nvSpPr>
            <p:cNvPr id="54" name="Freeform 31">
              <a:extLst>
                <a:ext uri="{FF2B5EF4-FFF2-40B4-BE49-F238E27FC236}">
                  <a16:creationId xmlns:a16="http://schemas.microsoft.com/office/drawing/2014/main" id="{3C2F6D0A-03AE-4E73-9FEB-1BFE4000FEEE}"/>
                </a:ext>
              </a:extLst>
            </p:cNvPr>
            <p:cNvSpPr>
              <a:spLocks/>
            </p:cNvSpPr>
            <p:nvPr/>
          </p:nvSpPr>
          <p:spPr bwMode="auto">
            <a:xfrm>
              <a:off x="-223" y="-210"/>
              <a:ext cx="3852" cy="3601"/>
            </a:xfrm>
            <a:custGeom>
              <a:avLst/>
              <a:gdLst>
                <a:gd name="T0" fmla="*/ 207 w 1442"/>
                <a:gd name="T1" fmla="*/ 1053 h 1347"/>
                <a:gd name="T2" fmla="*/ 346 w 1442"/>
                <a:gd name="T3" fmla="*/ 201 h 1347"/>
                <a:gd name="T4" fmla="*/ 1235 w 1442"/>
                <a:gd name="T5" fmla="*/ 326 h 1347"/>
                <a:gd name="T6" fmla="*/ 1073 w 1442"/>
                <a:gd name="T7" fmla="*/ 1147 h 1347"/>
                <a:gd name="T8" fmla="*/ 207 w 1442"/>
                <a:gd name="T9" fmla="*/ 1053 h 1347"/>
              </a:gdLst>
              <a:ahLst/>
              <a:cxnLst>
                <a:cxn ang="0">
                  <a:pos x="T0" y="T1"/>
                </a:cxn>
                <a:cxn ang="0">
                  <a:pos x="T2" y="T3"/>
                </a:cxn>
                <a:cxn ang="0">
                  <a:pos x="T4" y="T5"/>
                </a:cxn>
                <a:cxn ang="0">
                  <a:pos x="T6" y="T7"/>
                </a:cxn>
                <a:cxn ang="0">
                  <a:pos x="T8" y="T9"/>
                </a:cxn>
              </a:cxnLst>
              <a:rect l="0" t="0" r="r" b="b"/>
              <a:pathLst>
                <a:path w="1442" h="1347">
                  <a:moveTo>
                    <a:pt x="207" y="1053"/>
                  </a:moveTo>
                  <a:cubicBezTo>
                    <a:pt x="0" y="783"/>
                    <a:pt x="62" y="401"/>
                    <a:pt x="346" y="201"/>
                  </a:cubicBezTo>
                  <a:cubicBezTo>
                    <a:pt x="629" y="0"/>
                    <a:pt x="1028" y="56"/>
                    <a:pt x="1235" y="326"/>
                  </a:cubicBezTo>
                  <a:cubicBezTo>
                    <a:pt x="1442" y="596"/>
                    <a:pt x="1357" y="946"/>
                    <a:pt x="1073" y="1147"/>
                  </a:cubicBezTo>
                  <a:cubicBezTo>
                    <a:pt x="790" y="1347"/>
                    <a:pt x="415" y="1324"/>
                    <a:pt x="207" y="1053"/>
                  </a:cubicBezTo>
                </a:path>
              </a:pathLst>
            </a:custGeom>
            <a:solidFill>
              <a:srgbClr val="0070AD"/>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55" name="Freeform 32">
              <a:extLst>
                <a:ext uri="{FF2B5EF4-FFF2-40B4-BE49-F238E27FC236}">
                  <a16:creationId xmlns:a16="http://schemas.microsoft.com/office/drawing/2014/main" id="{1FC3183B-3D37-4918-B988-587DB0818954}"/>
                </a:ext>
              </a:extLst>
            </p:cNvPr>
            <p:cNvSpPr>
              <a:spLocks/>
            </p:cNvSpPr>
            <p:nvPr/>
          </p:nvSpPr>
          <p:spPr bwMode="auto">
            <a:xfrm>
              <a:off x="1284" y="672"/>
              <a:ext cx="870" cy="1045"/>
            </a:xfrm>
            <a:custGeom>
              <a:avLst/>
              <a:gdLst>
                <a:gd name="T0" fmla="*/ 71 w 326"/>
                <a:gd name="T1" fmla="*/ 391 h 391"/>
                <a:gd name="T2" fmla="*/ 1 w 326"/>
                <a:gd name="T3" fmla="*/ 390 h 391"/>
                <a:gd name="T4" fmla="*/ 0 w 326"/>
                <a:gd name="T5" fmla="*/ 172 h 391"/>
                <a:gd name="T6" fmla="*/ 95 w 326"/>
                <a:gd name="T7" fmla="*/ 13 h 391"/>
                <a:gd name="T8" fmla="*/ 223 w 326"/>
                <a:gd name="T9" fmla="*/ 8 h 391"/>
                <a:gd name="T10" fmla="*/ 326 w 326"/>
                <a:gd name="T11" fmla="*/ 164 h 391"/>
                <a:gd name="T12" fmla="*/ 326 w 326"/>
                <a:gd name="T13" fmla="*/ 385 h 391"/>
                <a:gd name="T14" fmla="*/ 263 w 326"/>
                <a:gd name="T15" fmla="*/ 385 h 391"/>
                <a:gd name="T16" fmla="*/ 263 w 326"/>
                <a:gd name="T17" fmla="*/ 164 h 391"/>
                <a:gd name="T18" fmla="*/ 210 w 326"/>
                <a:gd name="T19" fmla="*/ 78 h 391"/>
                <a:gd name="T20" fmla="*/ 117 w 326"/>
                <a:gd name="T21" fmla="*/ 80 h 391"/>
                <a:gd name="T22" fmla="*/ 71 w 326"/>
                <a:gd name="T23" fmla="*/ 172 h 391"/>
                <a:gd name="T24" fmla="*/ 71 w 326"/>
                <a:gd name="T25" fmla="*/ 391 h 3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26" h="391">
                  <a:moveTo>
                    <a:pt x="71" y="391"/>
                  </a:moveTo>
                  <a:cubicBezTo>
                    <a:pt x="1" y="390"/>
                    <a:pt x="1" y="390"/>
                    <a:pt x="1" y="390"/>
                  </a:cubicBezTo>
                  <a:cubicBezTo>
                    <a:pt x="2" y="324"/>
                    <a:pt x="0" y="174"/>
                    <a:pt x="0" y="172"/>
                  </a:cubicBezTo>
                  <a:cubicBezTo>
                    <a:pt x="0" y="140"/>
                    <a:pt x="0" y="43"/>
                    <a:pt x="95" y="13"/>
                  </a:cubicBezTo>
                  <a:cubicBezTo>
                    <a:pt x="132" y="1"/>
                    <a:pt x="176" y="0"/>
                    <a:pt x="223" y="8"/>
                  </a:cubicBezTo>
                  <a:cubicBezTo>
                    <a:pt x="289" y="20"/>
                    <a:pt x="326" y="77"/>
                    <a:pt x="326" y="164"/>
                  </a:cubicBezTo>
                  <a:cubicBezTo>
                    <a:pt x="326" y="385"/>
                    <a:pt x="326" y="385"/>
                    <a:pt x="326" y="385"/>
                  </a:cubicBezTo>
                  <a:cubicBezTo>
                    <a:pt x="263" y="385"/>
                    <a:pt x="263" y="385"/>
                    <a:pt x="263" y="385"/>
                  </a:cubicBezTo>
                  <a:cubicBezTo>
                    <a:pt x="263" y="164"/>
                    <a:pt x="263" y="164"/>
                    <a:pt x="263" y="164"/>
                  </a:cubicBezTo>
                  <a:cubicBezTo>
                    <a:pt x="263" y="112"/>
                    <a:pt x="240" y="86"/>
                    <a:pt x="210" y="78"/>
                  </a:cubicBezTo>
                  <a:cubicBezTo>
                    <a:pt x="176" y="69"/>
                    <a:pt x="142" y="73"/>
                    <a:pt x="117" y="80"/>
                  </a:cubicBezTo>
                  <a:cubicBezTo>
                    <a:pt x="89" y="89"/>
                    <a:pt x="71" y="108"/>
                    <a:pt x="71" y="172"/>
                  </a:cubicBezTo>
                  <a:cubicBezTo>
                    <a:pt x="71" y="178"/>
                    <a:pt x="73" y="325"/>
                    <a:pt x="71" y="391"/>
                  </a:cubicBezTo>
                </a:path>
              </a:pathLst>
            </a:custGeom>
            <a:solidFill>
              <a:srgbClr val="12ABDB"/>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56" name="Freeform 33">
              <a:extLst>
                <a:ext uri="{FF2B5EF4-FFF2-40B4-BE49-F238E27FC236}">
                  <a16:creationId xmlns:a16="http://schemas.microsoft.com/office/drawing/2014/main" id="{60B2EC65-C3A7-4817-8A23-98C56EE0B35E}"/>
                </a:ext>
              </a:extLst>
            </p:cNvPr>
            <p:cNvSpPr>
              <a:spLocks/>
            </p:cNvSpPr>
            <p:nvPr/>
          </p:nvSpPr>
          <p:spPr bwMode="auto">
            <a:xfrm>
              <a:off x="992" y="1429"/>
              <a:ext cx="1408" cy="927"/>
            </a:xfrm>
            <a:custGeom>
              <a:avLst/>
              <a:gdLst>
                <a:gd name="T0" fmla="*/ 98 w 527"/>
                <a:gd name="T1" fmla="*/ 344 h 347"/>
                <a:gd name="T2" fmla="*/ 433 w 527"/>
                <a:gd name="T3" fmla="*/ 344 h 347"/>
                <a:gd name="T4" fmla="*/ 524 w 527"/>
                <a:gd name="T5" fmla="*/ 231 h 347"/>
                <a:gd name="T6" fmla="*/ 524 w 527"/>
                <a:gd name="T7" fmla="*/ 12 h 347"/>
                <a:gd name="T8" fmla="*/ 97 w 527"/>
                <a:gd name="T9" fmla="*/ 7 h 347"/>
                <a:gd name="T10" fmla="*/ 0 w 527"/>
                <a:gd name="T11" fmla="*/ 121 h 347"/>
                <a:gd name="T12" fmla="*/ 1 w 527"/>
                <a:gd name="T13" fmla="*/ 258 h 347"/>
                <a:gd name="T14" fmla="*/ 98 w 527"/>
                <a:gd name="T15" fmla="*/ 344 h 3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27" h="347">
                  <a:moveTo>
                    <a:pt x="98" y="344"/>
                  </a:moveTo>
                  <a:cubicBezTo>
                    <a:pt x="154" y="347"/>
                    <a:pt x="392" y="347"/>
                    <a:pt x="433" y="344"/>
                  </a:cubicBezTo>
                  <a:cubicBezTo>
                    <a:pt x="507" y="337"/>
                    <a:pt x="527" y="325"/>
                    <a:pt x="524" y="231"/>
                  </a:cubicBezTo>
                  <a:cubicBezTo>
                    <a:pt x="524" y="231"/>
                    <a:pt x="524" y="98"/>
                    <a:pt x="524" y="12"/>
                  </a:cubicBezTo>
                  <a:cubicBezTo>
                    <a:pt x="399" y="5"/>
                    <a:pt x="172" y="0"/>
                    <a:pt x="97" y="7"/>
                  </a:cubicBezTo>
                  <a:cubicBezTo>
                    <a:pt x="29" y="13"/>
                    <a:pt x="0" y="31"/>
                    <a:pt x="0" y="121"/>
                  </a:cubicBezTo>
                  <a:cubicBezTo>
                    <a:pt x="1" y="258"/>
                    <a:pt x="1" y="258"/>
                    <a:pt x="1" y="258"/>
                  </a:cubicBezTo>
                  <a:cubicBezTo>
                    <a:pt x="1" y="326"/>
                    <a:pt x="23" y="341"/>
                    <a:pt x="98" y="344"/>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57" name="Freeform 34">
              <a:extLst>
                <a:ext uri="{FF2B5EF4-FFF2-40B4-BE49-F238E27FC236}">
                  <a16:creationId xmlns:a16="http://schemas.microsoft.com/office/drawing/2014/main" id="{F5647D5F-1624-45A6-9026-45C58507452A}"/>
                </a:ext>
              </a:extLst>
            </p:cNvPr>
            <p:cNvSpPr>
              <a:spLocks/>
            </p:cNvSpPr>
            <p:nvPr/>
          </p:nvSpPr>
          <p:spPr bwMode="auto">
            <a:xfrm>
              <a:off x="1599" y="1621"/>
              <a:ext cx="270" cy="292"/>
            </a:xfrm>
            <a:custGeom>
              <a:avLst/>
              <a:gdLst>
                <a:gd name="T0" fmla="*/ 54 w 101"/>
                <a:gd name="T1" fmla="*/ 107 h 109"/>
                <a:gd name="T2" fmla="*/ 101 w 101"/>
                <a:gd name="T3" fmla="*/ 51 h 109"/>
                <a:gd name="T4" fmla="*/ 51 w 101"/>
                <a:gd name="T5" fmla="*/ 2 h 109"/>
                <a:gd name="T6" fmla="*/ 1 w 101"/>
                <a:gd name="T7" fmla="*/ 58 h 109"/>
                <a:gd name="T8" fmla="*/ 54 w 101"/>
                <a:gd name="T9" fmla="*/ 107 h 109"/>
              </a:gdLst>
              <a:ahLst/>
              <a:cxnLst>
                <a:cxn ang="0">
                  <a:pos x="T0" y="T1"/>
                </a:cxn>
                <a:cxn ang="0">
                  <a:pos x="T2" y="T3"/>
                </a:cxn>
                <a:cxn ang="0">
                  <a:pos x="T4" y="T5"/>
                </a:cxn>
                <a:cxn ang="0">
                  <a:pos x="T6" y="T7"/>
                </a:cxn>
                <a:cxn ang="0">
                  <a:pos x="T8" y="T9"/>
                </a:cxn>
              </a:cxnLst>
              <a:rect l="0" t="0" r="r" b="b"/>
              <a:pathLst>
                <a:path w="101" h="109">
                  <a:moveTo>
                    <a:pt x="54" y="107"/>
                  </a:moveTo>
                  <a:cubicBezTo>
                    <a:pt x="82" y="105"/>
                    <a:pt x="101" y="80"/>
                    <a:pt x="101" y="51"/>
                  </a:cubicBezTo>
                  <a:cubicBezTo>
                    <a:pt x="100" y="22"/>
                    <a:pt x="79" y="0"/>
                    <a:pt x="51" y="2"/>
                  </a:cubicBezTo>
                  <a:cubicBezTo>
                    <a:pt x="22" y="3"/>
                    <a:pt x="0" y="29"/>
                    <a:pt x="1" y="58"/>
                  </a:cubicBezTo>
                  <a:cubicBezTo>
                    <a:pt x="2" y="87"/>
                    <a:pt x="25" y="109"/>
                    <a:pt x="54" y="107"/>
                  </a:cubicBezTo>
                </a:path>
              </a:pathLst>
            </a:custGeom>
            <a:solidFill>
              <a:srgbClr val="95E61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58" name="Freeform 35">
              <a:extLst>
                <a:ext uri="{FF2B5EF4-FFF2-40B4-BE49-F238E27FC236}">
                  <a16:creationId xmlns:a16="http://schemas.microsoft.com/office/drawing/2014/main" id="{D9B26BBE-192F-4737-BE52-038A7B32D8D5}"/>
                </a:ext>
              </a:extLst>
            </p:cNvPr>
            <p:cNvSpPr>
              <a:spLocks/>
            </p:cNvSpPr>
            <p:nvPr/>
          </p:nvSpPr>
          <p:spPr bwMode="auto">
            <a:xfrm>
              <a:off x="1615" y="1878"/>
              <a:ext cx="238" cy="273"/>
            </a:xfrm>
            <a:custGeom>
              <a:avLst/>
              <a:gdLst>
                <a:gd name="T0" fmla="*/ 67 w 238"/>
                <a:gd name="T1" fmla="*/ 0 h 273"/>
                <a:gd name="T2" fmla="*/ 0 w 238"/>
                <a:gd name="T3" fmla="*/ 273 h 273"/>
                <a:gd name="T4" fmla="*/ 238 w 238"/>
                <a:gd name="T5" fmla="*/ 273 h 273"/>
                <a:gd name="T6" fmla="*/ 165 w 238"/>
                <a:gd name="T7" fmla="*/ 0 h 273"/>
                <a:gd name="T8" fmla="*/ 67 w 238"/>
                <a:gd name="T9" fmla="*/ 0 h 273"/>
              </a:gdLst>
              <a:ahLst/>
              <a:cxnLst>
                <a:cxn ang="0">
                  <a:pos x="T0" y="T1"/>
                </a:cxn>
                <a:cxn ang="0">
                  <a:pos x="T2" y="T3"/>
                </a:cxn>
                <a:cxn ang="0">
                  <a:pos x="T4" y="T5"/>
                </a:cxn>
                <a:cxn ang="0">
                  <a:pos x="T6" y="T7"/>
                </a:cxn>
                <a:cxn ang="0">
                  <a:pos x="T8" y="T9"/>
                </a:cxn>
              </a:cxnLst>
              <a:rect l="0" t="0" r="r" b="b"/>
              <a:pathLst>
                <a:path w="238" h="273">
                  <a:moveTo>
                    <a:pt x="67" y="0"/>
                  </a:moveTo>
                  <a:lnTo>
                    <a:pt x="0" y="273"/>
                  </a:lnTo>
                  <a:lnTo>
                    <a:pt x="238" y="273"/>
                  </a:lnTo>
                  <a:lnTo>
                    <a:pt x="165" y="0"/>
                  </a:lnTo>
                  <a:lnTo>
                    <a:pt x="67" y="0"/>
                  </a:lnTo>
                  <a:close/>
                </a:path>
              </a:pathLst>
            </a:custGeom>
            <a:solidFill>
              <a:srgbClr val="95E61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sp>
        <p:nvSpPr>
          <p:cNvPr id="65" name="Text Placeholder 9">
            <a:extLst>
              <a:ext uri="{FF2B5EF4-FFF2-40B4-BE49-F238E27FC236}">
                <a16:creationId xmlns:a16="http://schemas.microsoft.com/office/drawing/2014/main" id="{7FB3716E-9382-4C5B-89D8-7D3D309649B1}"/>
              </a:ext>
            </a:extLst>
          </p:cNvPr>
          <p:cNvSpPr txBox="1">
            <a:spLocks/>
          </p:cNvSpPr>
          <p:nvPr/>
        </p:nvSpPr>
        <p:spPr>
          <a:xfrm>
            <a:off x="862790" y="3037919"/>
            <a:ext cx="2890194" cy="645047"/>
          </a:xfrm>
          <a:prstGeom prst="rect">
            <a:avLst/>
          </a:prstGeom>
          <a:noFill/>
        </p:spPr>
        <p:txBody>
          <a:bodyPr vert="horz" lIns="0" tIns="0" rIns="0" bIns="0" rtlCol="0" anchor="ctr">
            <a:noAutofit/>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b="1" i="0" u="none" strike="noStrike" kern="1200" cap="none" spc="0" normalizeH="0" baseline="0" noProof="0" dirty="0">
                <a:ln>
                  <a:noFill/>
                </a:ln>
                <a:solidFill>
                  <a:srgbClr val="12ABDB"/>
                </a:solidFill>
                <a:effectLst/>
                <a:uLnTx/>
                <a:uFillTx/>
                <a:latin typeface="Verdana" panose="020B0604030504040204" pitchFamily="34" charset="0"/>
                <a:ea typeface="Verdana" panose="020B0604030504040204" pitchFamily="34" charset="0"/>
                <a:cs typeface="Verdana" panose="020B0604030504040204" pitchFamily="34" charset="0"/>
              </a:rPr>
              <a:t>Header</a:t>
            </a:r>
          </a:p>
        </p:txBody>
      </p:sp>
      <p:sp>
        <p:nvSpPr>
          <p:cNvPr id="66" name="Text Placeholder 10">
            <a:extLst>
              <a:ext uri="{FF2B5EF4-FFF2-40B4-BE49-F238E27FC236}">
                <a16:creationId xmlns:a16="http://schemas.microsoft.com/office/drawing/2014/main" id="{E2F5E3C3-8C95-4F9C-8370-0A1C87237CA8}"/>
              </a:ext>
            </a:extLst>
          </p:cNvPr>
          <p:cNvSpPr txBox="1">
            <a:spLocks/>
          </p:cNvSpPr>
          <p:nvPr/>
        </p:nvSpPr>
        <p:spPr>
          <a:xfrm>
            <a:off x="862791" y="3709289"/>
            <a:ext cx="2890193" cy="1711208"/>
          </a:xfrm>
          <a:prstGeom prst="rect">
            <a:avLst/>
          </a:prstGeom>
        </p:spPr>
        <p:txBody>
          <a:bodyPr vert="horz" lIns="0" tIns="0" rIns="0" bIns="0" rtlCol="0">
            <a:noAutofit/>
          </a:bodyPr>
          <a:lstStyle/>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p:txBody>
      </p:sp>
      <p:sp>
        <p:nvSpPr>
          <p:cNvPr id="67" name="Text Placeholder 9">
            <a:extLst>
              <a:ext uri="{FF2B5EF4-FFF2-40B4-BE49-F238E27FC236}">
                <a16:creationId xmlns:a16="http://schemas.microsoft.com/office/drawing/2014/main" id="{7FB3716E-9382-4C5B-89D8-7D3D309649B1}"/>
              </a:ext>
            </a:extLst>
          </p:cNvPr>
          <p:cNvSpPr txBox="1">
            <a:spLocks/>
          </p:cNvSpPr>
          <p:nvPr/>
        </p:nvSpPr>
        <p:spPr>
          <a:xfrm>
            <a:off x="4650903" y="3037919"/>
            <a:ext cx="2890194" cy="645047"/>
          </a:xfrm>
          <a:prstGeom prst="rect">
            <a:avLst/>
          </a:prstGeom>
          <a:noFill/>
        </p:spPr>
        <p:txBody>
          <a:bodyPr vert="horz" lIns="0" tIns="0" rIns="0" bIns="0" rtlCol="0" anchor="ctr">
            <a:noAutofit/>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b="1" i="0" u="none" strike="noStrike" kern="1200" cap="none" spc="0" normalizeH="0" baseline="0" noProof="0" dirty="0">
                <a:ln>
                  <a:noFill/>
                </a:ln>
                <a:solidFill>
                  <a:schemeClr val="accent4"/>
                </a:solidFill>
                <a:effectLst/>
                <a:uLnTx/>
                <a:uFillTx/>
                <a:latin typeface="Verdana" panose="020B0604030504040204" pitchFamily="34" charset="0"/>
                <a:ea typeface="Verdana" panose="020B0604030504040204" pitchFamily="34" charset="0"/>
                <a:cs typeface="Verdana" panose="020B0604030504040204" pitchFamily="34" charset="0"/>
              </a:rPr>
              <a:t>Header</a:t>
            </a:r>
          </a:p>
        </p:txBody>
      </p:sp>
      <p:sp>
        <p:nvSpPr>
          <p:cNvPr id="68" name="Text Placeholder 10">
            <a:extLst>
              <a:ext uri="{FF2B5EF4-FFF2-40B4-BE49-F238E27FC236}">
                <a16:creationId xmlns:a16="http://schemas.microsoft.com/office/drawing/2014/main" id="{E2F5E3C3-8C95-4F9C-8370-0A1C87237CA8}"/>
              </a:ext>
            </a:extLst>
          </p:cNvPr>
          <p:cNvSpPr txBox="1">
            <a:spLocks/>
          </p:cNvSpPr>
          <p:nvPr/>
        </p:nvSpPr>
        <p:spPr>
          <a:xfrm>
            <a:off x="4650904" y="3709289"/>
            <a:ext cx="2890193" cy="1711208"/>
          </a:xfrm>
          <a:prstGeom prst="rect">
            <a:avLst/>
          </a:prstGeom>
        </p:spPr>
        <p:txBody>
          <a:bodyPr vert="horz" lIns="0" tIns="0" rIns="0" bIns="0" rtlCol="0">
            <a:noAutofit/>
          </a:bodyPr>
          <a:lstStyle/>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p:txBody>
      </p:sp>
      <p:sp>
        <p:nvSpPr>
          <p:cNvPr id="69" name="Text Placeholder 9">
            <a:extLst>
              <a:ext uri="{FF2B5EF4-FFF2-40B4-BE49-F238E27FC236}">
                <a16:creationId xmlns:a16="http://schemas.microsoft.com/office/drawing/2014/main" id="{7FB3716E-9382-4C5B-89D8-7D3D309649B1}"/>
              </a:ext>
            </a:extLst>
          </p:cNvPr>
          <p:cNvSpPr txBox="1">
            <a:spLocks/>
          </p:cNvSpPr>
          <p:nvPr/>
        </p:nvSpPr>
        <p:spPr>
          <a:xfrm>
            <a:off x="8439016" y="3037919"/>
            <a:ext cx="2890194" cy="645047"/>
          </a:xfrm>
          <a:prstGeom prst="rect">
            <a:avLst/>
          </a:prstGeom>
          <a:noFill/>
        </p:spPr>
        <p:txBody>
          <a:bodyPr vert="horz" lIns="0" tIns="0" rIns="0" bIns="0" rtlCol="0" anchor="ctr">
            <a:noAutofit/>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b="1" i="0" u="none" strike="noStrike" kern="1200" cap="none" spc="0" normalizeH="0" baseline="0" noProof="0" dirty="0">
                <a:ln>
                  <a:noFill/>
                </a:ln>
                <a:solidFill>
                  <a:schemeClr val="tx2"/>
                </a:solidFill>
                <a:effectLst/>
                <a:uLnTx/>
                <a:uFillTx/>
                <a:latin typeface="Verdana" panose="020B0604030504040204" pitchFamily="34" charset="0"/>
                <a:ea typeface="Verdana" panose="020B0604030504040204" pitchFamily="34" charset="0"/>
                <a:cs typeface="Verdana" panose="020B0604030504040204" pitchFamily="34" charset="0"/>
              </a:rPr>
              <a:t>Header</a:t>
            </a:r>
          </a:p>
        </p:txBody>
      </p:sp>
      <p:sp>
        <p:nvSpPr>
          <p:cNvPr id="70" name="Text Placeholder 10">
            <a:extLst>
              <a:ext uri="{FF2B5EF4-FFF2-40B4-BE49-F238E27FC236}">
                <a16:creationId xmlns:a16="http://schemas.microsoft.com/office/drawing/2014/main" id="{E2F5E3C3-8C95-4F9C-8370-0A1C87237CA8}"/>
              </a:ext>
            </a:extLst>
          </p:cNvPr>
          <p:cNvSpPr txBox="1">
            <a:spLocks/>
          </p:cNvSpPr>
          <p:nvPr/>
        </p:nvSpPr>
        <p:spPr>
          <a:xfrm>
            <a:off x="8439017" y="3709289"/>
            <a:ext cx="2890193" cy="1711208"/>
          </a:xfrm>
          <a:prstGeom prst="rect">
            <a:avLst/>
          </a:prstGeom>
        </p:spPr>
        <p:txBody>
          <a:bodyPr vert="horz" lIns="0" tIns="0" rIns="0" bIns="0" rtlCol="0">
            <a:noAutofit/>
          </a:bodyPr>
          <a:lstStyle/>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p:txBody>
      </p:sp>
    </p:spTree>
  </p:cSld>
  <p:clrMapOvr>
    <a:masterClrMapping/>
  </p:clrMapOvr>
</p:sld>
</file>

<file path=ppt/slides/slide1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227349" y="0"/>
            <a:ext cx="11125236" cy="1104900"/>
          </a:xfrm>
        </p:spPr>
        <p:txBody>
          <a:bodyPr/>
          <a:lstStyle/>
          <a:p>
            <a:r>
              <a:rPr lang="en-US" dirty="0"/>
              <a:t>Title</a:t>
            </a:r>
            <a:br>
              <a:rPr lang="en-US" dirty="0"/>
            </a:br>
            <a:r>
              <a:rPr lang="en-US" dirty="0"/>
              <a:t>(Work for 1 or 2 lines of title)</a:t>
            </a:r>
            <a:endParaRPr lang="en-GB" dirty="0"/>
          </a:p>
        </p:txBody>
      </p:sp>
      <p:grpSp>
        <p:nvGrpSpPr>
          <p:cNvPr id="7" name="Group 6"/>
          <p:cNvGrpSpPr/>
          <p:nvPr/>
        </p:nvGrpSpPr>
        <p:grpSpPr>
          <a:xfrm>
            <a:off x="808087" y="1590107"/>
            <a:ext cx="5040000" cy="2009777"/>
            <a:chOff x="479425" y="1515965"/>
            <a:chExt cx="5040000" cy="2009777"/>
          </a:xfrm>
        </p:grpSpPr>
        <p:sp>
          <p:nvSpPr>
            <p:cNvPr id="3" name="Text Placeholder 18">
              <a:extLst>
                <a:ext uri="{FF2B5EF4-FFF2-40B4-BE49-F238E27FC236}">
                  <a16:creationId xmlns:a16="http://schemas.microsoft.com/office/drawing/2014/main" id="{EA1EAE22-96D4-49DE-8534-1506BC81013D}"/>
                </a:ext>
              </a:extLst>
            </p:cNvPr>
            <p:cNvSpPr txBox="1">
              <a:spLocks/>
            </p:cNvSpPr>
            <p:nvPr/>
          </p:nvSpPr>
          <p:spPr>
            <a:xfrm>
              <a:off x="2409371" y="1724603"/>
              <a:ext cx="2989943" cy="1656371"/>
            </a:xfrm>
            <a:prstGeom prst="rect">
              <a:avLst/>
            </a:prstGeom>
          </p:spPr>
          <p:txBody>
            <a:bodyPr vert="horz" lIns="0" tIns="0" rIns="0" bIns="0" rtlCol="0">
              <a:noAutofit/>
            </a:bodyPr>
            <a:lstStyle/>
            <a:p>
              <a:pPr marL="0" marR="0" lvl="0" indent="0" algn="l" defTabSz="914400" rtl="0" eaLnBrk="1" fontAlgn="auto" latinLnBrk="0" hangingPunct="1">
                <a:lnSpc>
                  <a:spcPct val="100000"/>
                </a:lnSpc>
                <a:spcBef>
                  <a:spcPts val="200"/>
                </a:spcBef>
                <a:spcAft>
                  <a:spcPts val="0"/>
                </a:spcAft>
                <a:buClrTx/>
                <a:buSzTx/>
                <a:buFont typeface="Arial" panose="020B0604020202020204" pitchFamily="34" charset="0"/>
                <a:buNone/>
                <a:tabLst/>
                <a:defRPr/>
              </a:pPr>
              <a:r>
                <a:rPr kumimoji="0" lang="en-US" sz="1400" b="1" i="0" u="none" strike="noStrike" kern="1200" cap="none" spc="0" normalizeH="0" baseline="0" noProof="0" dirty="0">
                  <a:ln>
                    <a:noFill/>
                  </a:ln>
                  <a:solidFill>
                    <a:srgbClr val="12ABDB"/>
                  </a:solidFill>
                  <a:effectLst/>
                  <a:uLnTx/>
                  <a:uFillTx/>
                  <a:latin typeface="Verdana" panose="020B0604030504040204" pitchFamily="34" charset="0"/>
                  <a:ea typeface="Verdana" panose="020B0604030504040204" pitchFamily="34" charset="0"/>
                  <a:cs typeface="Verdana" panose="020B0604030504040204" pitchFamily="34" charset="0"/>
                </a:rPr>
                <a:t>Insert name</a:t>
              </a:r>
              <a:br>
                <a:rPr kumimoji="0" lang="en-US" sz="1400" b="1" i="0" u="none" strike="noStrike" kern="1200" cap="none" spc="0" normalizeH="0" baseline="0" noProof="0" dirty="0">
                  <a:ln>
                    <a:noFill/>
                  </a:ln>
                  <a:solidFill>
                    <a:srgbClr val="ED771A"/>
                  </a:solidFill>
                  <a:effectLst/>
                  <a:uLnTx/>
                  <a:uFillTx/>
                  <a:latin typeface="Verdana" panose="020B0604030504040204" pitchFamily="34" charset="0"/>
                  <a:ea typeface="Verdana" panose="020B0604030504040204" pitchFamily="34" charset="0"/>
                  <a:cs typeface="Verdana" panose="020B0604030504040204" pitchFamily="34" charset="0"/>
                </a:rPr>
              </a:br>
              <a:r>
                <a:rPr kumimoji="0" lang="en-US" sz="1200" b="1" i="0" u="none" strike="noStrike" kern="1200" cap="none" spc="0" normalizeH="0" baseline="0" noProof="0" dirty="0">
                  <a:ln>
                    <a:noFill/>
                  </a:ln>
                  <a:solidFill>
                    <a:schemeClr val="tx2">
                      <a:lumMod val="50000"/>
                    </a:schemeClr>
                  </a:solidFill>
                  <a:effectLst/>
                  <a:uLnTx/>
                  <a:uFillTx/>
                  <a:latin typeface="Verdana" panose="020B0604030504040204" pitchFamily="34" charset="0"/>
                  <a:ea typeface="Verdana" panose="020B0604030504040204" pitchFamily="34" charset="0"/>
                  <a:cs typeface="Verdana" panose="020B0604030504040204" pitchFamily="34" charset="0"/>
                </a:rPr>
                <a:t>Insert</a:t>
              </a:r>
              <a:r>
                <a:rPr kumimoji="0" lang="en-US" sz="1400" b="1" i="0" u="none" strike="noStrike" kern="1200" cap="none" spc="0" normalizeH="0" baseline="0" noProof="0" dirty="0">
                  <a:ln>
                    <a:noFill/>
                  </a:ln>
                  <a:solidFill>
                    <a:srgbClr val="ED771A"/>
                  </a:solidFill>
                  <a:effectLst/>
                  <a:uLnTx/>
                  <a:uFillTx/>
                  <a:latin typeface="Verdana" panose="020B0604030504040204" pitchFamily="34" charset="0"/>
                  <a:ea typeface="Verdana" panose="020B0604030504040204" pitchFamily="34" charset="0"/>
                  <a:cs typeface="Verdana" panose="020B0604030504040204" pitchFamily="34" charset="0"/>
                </a:rPr>
                <a:t> </a:t>
              </a:r>
              <a:r>
                <a:rPr kumimoji="0" lang="en-US" sz="1200" b="1" i="0" u="none" strike="noStrike" kern="1200" cap="none" spc="0" normalizeH="0" baseline="0" noProof="0" dirty="0">
                  <a:ln>
                    <a:noFill/>
                  </a:ln>
                  <a:solidFill>
                    <a:schemeClr val="tx2">
                      <a:lumMod val="50000"/>
                    </a:schemeClr>
                  </a:solidFill>
                  <a:effectLst/>
                  <a:uLnTx/>
                  <a:uFillTx/>
                  <a:latin typeface="Verdana" panose="020B0604030504040204" pitchFamily="34" charset="0"/>
                  <a:ea typeface="Verdana" panose="020B0604030504040204" pitchFamily="34" charset="0"/>
                  <a:cs typeface="Verdana" panose="020B0604030504040204" pitchFamily="34" charset="0"/>
                </a:rPr>
                <a:t>Title/Role</a:t>
              </a:r>
              <a:br>
                <a:rPr kumimoji="0" lang="en-US" sz="1200" b="0" i="0" u="none" strike="noStrike" kern="1200" cap="none" spc="0" normalizeH="0" baseline="0" noProof="0" dirty="0">
                  <a:ln>
                    <a:noFill/>
                  </a:ln>
                  <a:solidFill>
                    <a:schemeClr val="tx2">
                      <a:lumMod val="50000"/>
                    </a:schemeClr>
                  </a:solidFill>
                  <a:effectLst/>
                  <a:uLnTx/>
                  <a:uFillTx/>
                  <a:latin typeface="Verdana" panose="020B0604030504040204" pitchFamily="34" charset="0"/>
                  <a:ea typeface="Verdana" panose="020B0604030504040204" pitchFamily="34" charset="0"/>
                  <a:cs typeface="Verdana" panose="020B0604030504040204" pitchFamily="34" charset="0"/>
                </a:rPr>
              </a:br>
              <a:endParaRPr kumimoji="0" lang="en-US" sz="1200" b="0" i="0" u="none" strike="noStrike" kern="1200" cap="none" spc="0" normalizeH="0" baseline="0" noProof="0" dirty="0">
                <a:ln>
                  <a:noFill/>
                </a:ln>
                <a:solidFill>
                  <a:schemeClr val="tx2">
                    <a:lumMod val="50000"/>
                  </a:schemeClr>
                </a:solidFill>
                <a:effectLst/>
                <a:uLnTx/>
                <a:uFillTx/>
                <a:latin typeface="Verdana" panose="020B0604030504040204" pitchFamily="34" charset="0"/>
                <a:ea typeface="Verdana" panose="020B0604030504040204" pitchFamily="34" charset="0"/>
                <a:cs typeface="Verdana" panose="020B0604030504040204" pitchFamily="34" charset="0"/>
              </a:endParaRPr>
            </a:p>
            <a:p>
              <a:pPr marL="171450" marR="0" lvl="0" indent="-171450" algn="l" defTabSz="914400" rtl="0" eaLnBrk="1" fontAlgn="auto" latinLnBrk="0" hangingPunct="1">
                <a:lnSpc>
                  <a:spcPct val="100000"/>
                </a:lnSpc>
                <a:spcBef>
                  <a:spcPts val="200"/>
                </a:spcBef>
                <a:spcAft>
                  <a:spcPts val="0"/>
                </a:spcAft>
                <a:buClr>
                  <a:schemeClr val="accent1"/>
                </a:buClr>
                <a:buSzTx/>
                <a:buFont typeface="Arial" panose="020B0604020202020204" pitchFamily="34" charset="0"/>
                <a:buChar char="•"/>
                <a:tabLst/>
                <a:defRPr/>
              </a:pPr>
              <a:r>
                <a:rPr kumimoji="0" lang="en-US" sz="1200" b="0" i="0" u="none" strike="noStrike" kern="1200" cap="none" spc="0" normalizeH="0" baseline="0" noProof="0" dirty="0">
                  <a:ln>
                    <a:noFill/>
                  </a:ln>
                  <a:solidFill>
                    <a:schemeClr val="tx2">
                      <a:lumMod val="50000"/>
                    </a:schemeClr>
                  </a:solidFill>
                  <a:effectLst/>
                  <a:uLnTx/>
                  <a:uFillTx/>
                  <a:latin typeface="Verdana" panose="020B0604030504040204" pitchFamily="34" charset="0"/>
                  <a:ea typeface="Verdana" panose="020B0604030504040204" pitchFamily="34" charset="0"/>
                  <a:cs typeface="Verdana" panose="020B0604030504040204" pitchFamily="34" charset="0"/>
                </a:rPr>
                <a:t>Insert bullet point</a:t>
              </a:r>
            </a:p>
            <a:p>
              <a:pPr marL="171450" marR="0" lvl="0" indent="-171450" algn="l" defTabSz="914400" rtl="0" eaLnBrk="1" fontAlgn="auto" latinLnBrk="0" hangingPunct="1">
                <a:lnSpc>
                  <a:spcPct val="100000"/>
                </a:lnSpc>
                <a:spcBef>
                  <a:spcPts val="200"/>
                </a:spcBef>
                <a:spcAft>
                  <a:spcPts val="0"/>
                </a:spcAft>
                <a:buClr>
                  <a:schemeClr val="accent1"/>
                </a:buClr>
                <a:buSzTx/>
                <a:buFont typeface="Arial" panose="020B0604020202020204" pitchFamily="34" charset="0"/>
                <a:buChar char="•"/>
                <a:tabLst/>
                <a:defRPr/>
              </a:pPr>
              <a:r>
                <a:rPr kumimoji="0" lang="en-US" sz="1200" b="0" i="0" u="none" strike="noStrike" kern="1200" cap="none" spc="0" normalizeH="0" baseline="0" noProof="0" dirty="0">
                  <a:ln>
                    <a:noFill/>
                  </a:ln>
                  <a:solidFill>
                    <a:schemeClr val="tx2">
                      <a:lumMod val="50000"/>
                    </a:schemeClr>
                  </a:solidFill>
                  <a:effectLst/>
                  <a:uLnTx/>
                  <a:uFillTx/>
                  <a:latin typeface="Verdana" panose="020B0604030504040204" pitchFamily="34" charset="0"/>
                  <a:ea typeface="Verdana" panose="020B0604030504040204" pitchFamily="34" charset="0"/>
                  <a:cs typeface="Verdana" panose="020B0604030504040204" pitchFamily="34" charset="0"/>
                </a:rPr>
                <a:t>Insert bullet point</a:t>
              </a:r>
            </a:p>
            <a:p>
              <a:pPr marL="171450" marR="0" lvl="0" indent="-171450" algn="l" defTabSz="914400" rtl="0" eaLnBrk="1" fontAlgn="auto" latinLnBrk="0" hangingPunct="1">
                <a:lnSpc>
                  <a:spcPct val="100000"/>
                </a:lnSpc>
                <a:spcBef>
                  <a:spcPts val="200"/>
                </a:spcBef>
                <a:spcAft>
                  <a:spcPts val="0"/>
                </a:spcAft>
                <a:buClr>
                  <a:schemeClr val="accent1"/>
                </a:buClr>
                <a:buSzTx/>
                <a:buFont typeface="Arial" panose="020B0604020202020204" pitchFamily="34" charset="0"/>
                <a:buChar char="•"/>
                <a:tabLst/>
                <a:defRPr/>
              </a:pPr>
              <a:r>
                <a:rPr kumimoji="0" lang="en-US" sz="1200" b="0" i="0" u="none" strike="noStrike" kern="1200" cap="none" spc="0" normalizeH="0" baseline="0" noProof="0" dirty="0">
                  <a:ln>
                    <a:noFill/>
                  </a:ln>
                  <a:solidFill>
                    <a:schemeClr val="tx2">
                      <a:lumMod val="50000"/>
                    </a:schemeClr>
                  </a:solidFill>
                  <a:effectLst/>
                  <a:uLnTx/>
                  <a:uFillTx/>
                  <a:latin typeface="Verdana" panose="020B0604030504040204" pitchFamily="34" charset="0"/>
                  <a:ea typeface="Verdana" panose="020B0604030504040204" pitchFamily="34" charset="0"/>
                  <a:cs typeface="Verdana" panose="020B0604030504040204" pitchFamily="34" charset="0"/>
                </a:rPr>
                <a:t>Insert bullet point</a:t>
              </a:r>
            </a:p>
            <a:p>
              <a:pPr marL="171450" marR="0" lvl="0" indent="-171450" algn="l" defTabSz="914400" rtl="0" eaLnBrk="1" fontAlgn="auto" latinLnBrk="0" hangingPunct="1">
                <a:lnSpc>
                  <a:spcPct val="100000"/>
                </a:lnSpc>
                <a:spcBef>
                  <a:spcPts val="200"/>
                </a:spcBef>
                <a:spcAft>
                  <a:spcPts val="0"/>
                </a:spcAft>
                <a:buClr>
                  <a:schemeClr val="accent1"/>
                </a:buClr>
                <a:buSzTx/>
                <a:buFont typeface="Arial" panose="020B0604020202020204" pitchFamily="34" charset="0"/>
                <a:buChar char="•"/>
                <a:tabLst/>
                <a:defRPr/>
              </a:pPr>
              <a:r>
                <a:rPr kumimoji="0" lang="en-US" sz="1200" b="0" i="0" u="none" strike="noStrike" kern="1200" cap="none" spc="0" normalizeH="0" baseline="0" noProof="0" dirty="0">
                  <a:ln>
                    <a:noFill/>
                  </a:ln>
                  <a:solidFill>
                    <a:schemeClr val="tx2">
                      <a:lumMod val="50000"/>
                    </a:schemeClr>
                  </a:solidFill>
                  <a:effectLst/>
                  <a:uLnTx/>
                  <a:uFillTx/>
                  <a:latin typeface="Verdana" panose="020B0604030504040204" pitchFamily="34" charset="0"/>
                  <a:ea typeface="Verdana" panose="020B0604030504040204" pitchFamily="34" charset="0"/>
                  <a:cs typeface="Verdana" panose="020B0604030504040204" pitchFamily="34" charset="0"/>
                </a:rPr>
                <a:t>Insert bullet point</a:t>
              </a:r>
            </a:p>
          </p:txBody>
        </p:sp>
        <p:sp>
          <p:nvSpPr>
            <p:cNvPr id="4" name="Picture Placeholder 1">
              <a:extLst>
                <a:ext uri="{FF2B5EF4-FFF2-40B4-BE49-F238E27FC236}">
                  <a16:creationId xmlns:a16="http://schemas.microsoft.com/office/drawing/2014/main" id="{326B2111-B622-460F-8E04-3937DDF88505}"/>
                </a:ext>
              </a:extLst>
            </p:cNvPr>
            <p:cNvSpPr txBox="1">
              <a:spLocks/>
            </p:cNvSpPr>
            <p:nvPr/>
          </p:nvSpPr>
          <p:spPr>
            <a:xfrm>
              <a:off x="624115" y="1709338"/>
              <a:ext cx="1452563" cy="1671637"/>
            </a:xfrm>
            <a:prstGeom prst="rect">
              <a:avLst/>
            </a:prstGeom>
            <a:solidFill>
              <a:srgbClr val="D9D9D9"/>
            </a:solidFill>
          </p:spPr>
          <p:txBody>
            <a:bodyPr vert="horz" lIns="0" tIns="0" rIns="0" bIns="0" rtlCol="0" anchor="ctr">
              <a:normAutofit/>
            </a:bodyPr>
            <a:lstStyle/>
            <a:p>
              <a:endParaRPr lang="en-GB" dirty="0"/>
            </a:p>
          </p:txBody>
        </p:sp>
        <p:sp>
          <p:nvSpPr>
            <p:cNvPr id="6" name="Retângulo 1">
              <a:extLst>
                <a:ext uri="{FF2B5EF4-FFF2-40B4-BE49-F238E27FC236}">
                  <a16:creationId xmlns:a16="http://schemas.microsoft.com/office/drawing/2014/main" id="{241F2392-C435-4DDD-ABF5-A3A397441338}"/>
                </a:ext>
              </a:extLst>
            </p:cNvPr>
            <p:cNvSpPr/>
            <p:nvPr/>
          </p:nvSpPr>
          <p:spPr>
            <a:xfrm>
              <a:off x="479425" y="1515965"/>
              <a:ext cx="5040000" cy="2009777"/>
            </a:xfrm>
            <a:prstGeom prst="rect">
              <a:avLst/>
            </a:prstGeom>
            <a:noFill/>
            <a:ln w="57150">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grpSp>
        <p:nvGrpSpPr>
          <p:cNvPr id="8" name="Group 7"/>
          <p:cNvGrpSpPr/>
          <p:nvPr/>
        </p:nvGrpSpPr>
        <p:grpSpPr>
          <a:xfrm>
            <a:off x="6343914" y="1590107"/>
            <a:ext cx="5040000" cy="2009777"/>
            <a:chOff x="479425" y="1515965"/>
            <a:chExt cx="5040000" cy="2009777"/>
          </a:xfrm>
        </p:grpSpPr>
        <p:sp>
          <p:nvSpPr>
            <p:cNvPr id="9" name="Text Placeholder 18">
              <a:extLst>
                <a:ext uri="{FF2B5EF4-FFF2-40B4-BE49-F238E27FC236}">
                  <a16:creationId xmlns:a16="http://schemas.microsoft.com/office/drawing/2014/main" id="{EA1EAE22-96D4-49DE-8534-1506BC81013D}"/>
                </a:ext>
              </a:extLst>
            </p:cNvPr>
            <p:cNvSpPr txBox="1">
              <a:spLocks/>
            </p:cNvSpPr>
            <p:nvPr/>
          </p:nvSpPr>
          <p:spPr>
            <a:xfrm>
              <a:off x="2409371" y="1724603"/>
              <a:ext cx="2989943" cy="1656371"/>
            </a:xfrm>
            <a:prstGeom prst="rect">
              <a:avLst/>
            </a:prstGeom>
          </p:spPr>
          <p:txBody>
            <a:bodyPr vert="horz" lIns="0" tIns="0" rIns="0" bIns="0" rtlCol="0">
              <a:noAutofit/>
            </a:bodyPr>
            <a:lstStyle/>
            <a:p>
              <a:pPr marL="0" marR="0" lvl="0" indent="0" algn="l" defTabSz="914400" rtl="0" eaLnBrk="1" fontAlgn="auto" latinLnBrk="0" hangingPunct="1">
                <a:lnSpc>
                  <a:spcPct val="100000"/>
                </a:lnSpc>
                <a:spcBef>
                  <a:spcPts val="200"/>
                </a:spcBef>
                <a:spcAft>
                  <a:spcPts val="0"/>
                </a:spcAft>
                <a:buClrTx/>
                <a:buSzTx/>
                <a:buFont typeface="Arial" panose="020B0604020202020204" pitchFamily="34" charset="0"/>
                <a:buNone/>
                <a:tabLst/>
                <a:defRPr/>
              </a:pPr>
              <a:r>
                <a:rPr kumimoji="0" lang="en-US" sz="1400" b="1" i="0" u="none" strike="noStrike" kern="1200" cap="none" spc="0" normalizeH="0" baseline="0" noProof="0" dirty="0">
                  <a:ln>
                    <a:noFill/>
                  </a:ln>
                  <a:solidFill>
                    <a:srgbClr val="12ABDB"/>
                  </a:solidFill>
                  <a:effectLst/>
                  <a:uLnTx/>
                  <a:uFillTx/>
                  <a:latin typeface="Verdana" panose="020B0604030504040204" pitchFamily="34" charset="0"/>
                  <a:ea typeface="Verdana" panose="020B0604030504040204" pitchFamily="34" charset="0"/>
                  <a:cs typeface="Verdana" panose="020B0604030504040204" pitchFamily="34" charset="0"/>
                </a:rPr>
                <a:t>Insert name</a:t>
              </a:r>
              <a:br>
                <a:rPr kumimoji="0" lang="en-US" sz="1400" b="1" i="0" u="none" strike="noStrike" kern="1200" cap="none" spc="0" normalizeH="0" baseline="0" noProof="0" dirty="0">
                  <a:ln>
                    <a:noFill/>
                  </a:ln>
                  <a:solidFill>
                    <a:srgbClr val="ED771A"/>
                  </a:solidFill>
                  <a:effectLst/>
                  <a:uLnTx/>
                  <a:uFillTx/>
                  <a:latin typeface="Verdana" panose="020B0604030504040204" pitchFamily="34" charset="0"/>
                  <a:ea typeface="Verdana" panose="020B0604030504040204" pitchFamily="34" charset="0"/>
                  <a:cs typeface="Verdana" panose="020B0604030504040204" pitchFamily="34" charset="0"/>
                </a:rPr>
              </a:br>
              <a:r>
                <a:rPr kumimoji="0" lang="en-US" sz="1200" b="1" i="0" u="none" strike="noStrike" kern="1200" cap="none" spc="0" normalizeH="0" baseline="0" noProof="0" dirty="0">
                  <a:ln>
                    <a:noFill/>
                  </a:ln>
                  <a:solidFill>
                    <a:schemeClr val="tx2">
                      <a:lumMod val="50000"/>
                    </a:schemeClr>
                  </a:solidFill>
                  <a:effectLst/>
                  <a:uLnTx/>
                  <a:uFillTx/>
                  <a:latin typeface="Verdana" panose="020B0604030504040204" pitchFamily="34" charset="0"/>
                  <a:ea typeface="Verdana" panose="020B0604030504040204" pitchFamily="34" charset="0"/>
                  <a:cs typeface="Verdana" panose="020B0604030504040204" pitchFamily="34" charset="0"/>
                </a:rPr>
                <a:t>Insert</a:t>
              </a:r>
              <a:r>
                <a:rPr kumimoji="0" lang="en-US" sz="1400" b="1" i="0" u="none" strike="noStrike" kern="1200" cap="none" spc="0" normalizeH="0" baseline="0" noProof="0" dirty="0">
                  <a:ln>
                    <a:noFill/>
                  </a:ln>
                  <a:solidFill>
                    <a:srgbClr val="ED771A"/>
                  </a:solidFill>
                  <a:effectLst/>
                  <a:uLnTx/>
                  <a:uFillTx/>
                  <a:latin typeface="Verdana" panose="020B0604030504040204" pitchFamily="34" charset="0"/>
                  <a:ea typeface="Verdana" panose="020B0604030504040204" pitchFamily="34" charset="0"/>
                  <a:cs typeface="Verdana" panose="020B0604030504040204" pitchFamily="34" charset="0"/>
                </a:rPr>
                <a:t> </a:t>
              </a:r>
              <a:r>
                <a:rPr kumimoji="0" lang="en-US" sz="1200" b="1" i="0" u="none" strike="noStrike" kern="1200" cap="none" spc="0" normalizeH="0" baseline="0" noProof="0" dirty="0">
                  <a:ln>
                    <a:noFill/>
                  </a:ln>
                  <a:solidFill>
                    <a:schemeClr val="tx2">
                      <a:lumMod val="50000"/>
                    </a:schemeClr>
                  </a:solidFill>
                  <a:effectLst/>
                  <a:uLnTx/>
                  <a:uFillTx/>
                  <a:latin typeface="Verdana" panose="020B0604030504040204" pitchFamily="34" charset="0"/>
                  <a:ea typeface="Verdana" panose="020B0604030504040204" pitchFamily="34" charset="0"/>
                  <a:cs typeface="Verdana" panose="020B0604030504040204" pitchFamily="34" charset="0"/>
                </a:rPr>
                <a:t>Title/Role</a:t>
              </a:r>
              <a:br>
                <a:rPr kumimoji="0" lang="en-US" sz="1200" b="0" i="0" u="none" strike="noStrike" kern="1200" cap="none" spc="0" normalizeH="0" baseline="0" noProof="0" dirty="0">
                  <a:ln>
                    <a:noFill/>
                  </a:ln>
                  <a:solidFill>
                    <a:schemeClr val="tx2">
                      <a:lumMod val="50000"/>
                    </a:schemeClr>
                  </a:solidFill>
                  <a:effectLst/>
                  <a:uLnTx/>
                  <a:uFillTx/>
                  <a:latin typeface="Verdana" panose="020B0604030504040204" pitchFamily="34" charset="0"/>
                  <a:ea typeface="Verdana" panose="020B0604030504040204" pitchFamily="34" charset="0"/>
                  <a:cs typeface="Verdana" panose="020B0604030504040204" pitchFamily="34" charset="0"/>
                </a:rPr>
              </a:br>
              <a:endParaRPr kumimoji="0" lang="en-US" sz="1200" b="0" i="0" u="none" strike="noStrike" kern="1200" cap="none" spc="0" normalizeH="0" baseline="0" noProof="0" dirty="0">
                <a:ln>
                  <a:noFill/>
                </a:ln>
                <a:solidFill>
                  <a:schemeClr val="tx2">
                    <a:lumMod val="50000"/>
                  </a:schemeClr>
                </a:solidFill>
                <a:effectLst/>
                <a:uLnTx/>
                <a:uFillTx/>
                <a:latin typeface="Verdana" panose="020B0604030504040204" pitchFamily="34" charset="0"/>
                <a:ea typeface="Verdana" panose="020B0604030504040204" pitchFamily="34" charset="0"/>
                <a:cs typeface="Verdana" panose="020B0604030504040204" pitchFamily="34" charset="0"/>
              </a:endParaRPr>
            </a:p>
            <a:p>
              <a:pPr marL="171450" indent="-171450">
                <a:spcBef>
                  <a:spcPts val="200"/>
                </a:spcBef>
                <a:buClr>
                  <a:schemeClr val="accent1"/>
                </a:buClr>
                <a:buFont typeface="Arial" panose="020B0604020202020204" pitchFamily="34" charset="0"/>
                <a:buChar char="•"/>
              </a:pPr>
              <a:r>
                <a:rPr lang="en-US" sz="12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a:p>
              <a:pPr marL="171450" indent="-171450">
                <a:spcBef>
                  <a:spcPts val="200"/>
                </a:spcBef>
                <a:buClr>
                  <a:schemeClr val="accent1"/>
                </a:buClr>
                <a:buFont typeface="Arial" panose="020B0604020202020204" pitchFamily="34" charset="0"/>
                <a:buChar char="•"/>
              </a:pPr>
              <a:r>
                <a:rPr lang="en-US" sz="12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a:p>
              <a:pPr marL="171450" indent="-171450">
                <a:spcBef>
                  <a:spcPts val="200"/>
                </a:spcBef>
                <a:buClr>
                  <a:schemeClr val="accent1"/>
                </a:buClr>
                <a:buFont typeface="Arial" panose="020B0604020202020204" pitchFamily="34" charset="0"/>
                <a:buChar char="•"/>
              </a:pPr>
              <a:r>
                <a:rPr lang="en-US" sz="12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a:p>
              <a:pPr marL="171450" indent="-171450">
                <a:spcBef>
                  <a:spcPts val="200"/>
                </a:spcBef>
                <a:buClr>
                  <a:schemeClr val="accent1"/>
                </a:buClr>
                <a:buFont typeface="Arial" panose="020B0604020202020204" pitchFamily="34" charset="0"/>
                <a:buChar char="•"/>
              </a:pPr>
              <a:r>
                <a:rPr lang="en-US" sz="12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p:txBody>
        </p:sp>
        <p:sp>
          <p:nvSpPr>
            <p:cNvPr id="10" name="Picture Placeholder 1">
              <a:extLst>
                <a:ext uri="{FF2B5EF4-FFF2-40B4-BE49-F238E27FC236}">
                  <a16:creationId xmlns:a16="http://schemas.microsoft.com/office/drawing/2014/main" id="{326B2111-B622-460F-8E04-3937DDF88505}"/>
                </a:ext>
              </a:extLst>
            </p:cNvPr>
            <p:cNvSpPr txBox="1">
              <a:spLocks/>
            </p:cNvSpPr>
            <p:nvPr/>
          </p:nvSpPr>
          <p:spPr>
            <a:xfrm>
              <a:off x="624115" y="1709338"/>
              <a:ext cx="1452563" cy="1671637"/>
            </a:xfrm>
            <a:prstGeom prst="rect">
              <a:avLst/>
            </a:prstGeom>
            <a:solidFill>
              <a:srgbClr val="D9D9D9"/>
            </a:solidFill>
          </p:spPr>
          <p:txBody>
            <a:bodyPr vert="horz" lIns="0" tIns="0" rIns="0" bIns="0" rtlCol="0" anchor="ctr">
              <a:normAutofit/>
            </a:bodyPr>
            <a:lstStyle/>
            <a:p>
              <a:endParaRPr lang="en-GB" dirty="0"/>
            </a:p>
          </p:txBody>
        </p:sp>
        <p:sp>
          <p:nvSpPr>
            <p:cNvPr id="11" name="Retângulo 1">
              <a:extLst>
                <a:ext uri="{FF2B5EF4-FFF2-40B4-BE49-F238E27FC236}">
                  <a16:creationId xmlns:a16="http://schemas.microsoft.com/office/drawing/2014/main" id="{241F2392-C435-4DDD-ABF5-A3A397441338}"/>
                </a:ext>
              </a:extLst>
            </p:cNvPr>
            <p:cNvSpPr/>
            <p:nvPr/>
          </p:nvSpPr>
          <p:spPr>
            <a:xfrm>
              <a:off x="479425" y="1515965"/>
              <a:ext cx="5040000" cy="2009777"/>
            </a:xfrm>
            <a:prstGeom prst="rect">
              <a:avLst/>
            </a:prstGeom>
            <a:noFill/>
            <a:ln w="57150">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grpSp>
        <p:nvGrpSpPr>
          <p:cNvPr id="12" name="Group 11"/>
          <p:cNvGrpSpPr/>
          <p:nvPr/>
        </p:nvGrpSpPr>
        <p:grpSpPr>
          <a:xfrm>
            <a:off x="808087" y="3962604"/>
            <a:ext cx="5040000" cy="2009777"/>
            <a:chOff x="479425" y="1515965"/>
            <a:chExt cx="5040000" cy="2009777"/>
          </a:xfrm>
        </p:grpSpPr>
        <p:sp>
          <p:nvSpPr>
            <p:cNvPr id="13" name="Text Placeholder 18">
              <a:extLst>
                <a:ext uri="{FF2B5EF4-FFF2-40B4-BE49-F238E27FC236}">
                  <a16:creationId xmlns:a16="http://schemas.microsoft.com/office/drawing/2014/main" id="{EA1EAE22-96D4-49DE-8534-1506BC81013D}"/>
                </a:ext>
              </a:extLst>
            </p:cNvPr>
            <p:cNvSpPr txBox="1">
              <a:spLocks/>
            </p:cNvSpPr>
            <p:nvPr/>
          </p:nvSpPr>
          <p:spPr>
            <a:xfrm>
              <a:off x="2409371" y="1724603"/>
              <a:ext cx="2989943" cy="1656371"/>
            </a:xfrm>
            <a:prstGeom prst="rect">
              <a:avLst/>
            </a:prstGeom>
          </p:spPr>
          <p:txBody>
            <a:bodyPr vert="horz" lIns="0" tIns="0" rIns="0" bIns="0" rtlCol="0">
              <a:noAutofit/>
            </a:bodyPr>
            <a:lstStyle/>
            <a:p>
              <a:pPr marL="0" marR="0" lvl="0" indent="0" algn="l" defTabSz="914400" rtl="0" eaLnBrk="1" fontAlgn="auto" latinLnBrk="0" hangingPunct="1">
                <a:lnSpc>
                  <a:spcPct val="100000"/>
                </a:lnSpc>
                <a:spcBef>
                  <a:spcPts val="200"/>
                </a:spcBef>
                <a:spcAft>
                  <a:spcPts val="0"/>
                </a:spcAft>
                <a:buClrTx/>
                <a:buSzTx/>
                <a:buFont typeface="Arial" panose="020B0604020202020204" pitchFamily="34" charset="0"/>
                <a:buNone/>
                <a:tabLst/>
                <a:defRPr/>
              </a:pPr>
              <a:r>
                <a:rPr kumimoji="0" lang="en-US" sz="1400" b="1" i="0" u="none" strike="noStrike" kern="1200" cap="none" spc="0" normalizeH="0" baseline="0" noProof="0" dirty="0">
                  <a:ln>
                    <a:noFill/>
                  </a:ln>
                  <a:solidFill>
                    <a:srgbClr val="12ABDB"/>
                  </a:solidFill>
                  <a:effectLst/>
                  <a:uLnTx/>
                  <a:uFillTx/>
                  <a:latin typeface="Verdana" panose="020B0604030504040204" pitchFamily="34" charset="0"/>
                  <a:ea typeface="Verdana" panose="020B0604030504040204" pitchFamily="34" charset="0"/>
                  <a:cs typeface="Verdana" panose="020B0604030504040204" pitchFamily="34" charset="0"/>
                </a:rPr>
                <a:t>Insert name</a:t>
              </a:r>
              <a:br>
                <a:rPr kumimoji="0" lang="en-US" sz="1400" b="1" i="0" u="none" strike="noStrike" kern="1200" cap="none" spc="0" normalizeH="0" baseline="0" noProof="0" dirty="0">
                  <a:ln>
                    <a:noFill/>
                  </a:ln>
                  <a:solidFill>
                    <a:srgbClr val="ED771A"/>
                  </a:solidFill>
                  <a:effectLst/>
                  <a:uLnTx/>
                  <a:uFillTx/>
                  <a:latin typeface="Verdana" panose="020B0604030504040204" pitchFamily="34" charset="0"/>
                  <a:ea typeface="Verdana" panose="020B0604030504040204" pitchFamily="34" charset="0"/>
                  <a:cs typeface="Verdana" panose="020B0604030504040204" pitchFamily="34" charset="0"/>
                </a:rPr>
              </a:br>
              <a:r>
                <a:rPr kumimoji="0" lang="en-US" sz="1200" b="1" i="0" u="none" strike="noStrike" kern="1200" cap="none" spc="0" normalizeH="0" baseline="0" noProof="0" dirty="0">
                  <a:ln>
                    <a:noFill/>
                  </a:ln>
                  <a:solidFill>
                    <a:schemeClr val="tx2">
                      <a:lumMod val="50000"/>
                    </a:schemeClr>
                  </a:solidFill>
                  <a:effectLst/>
                  <a:uLnTx/>
                  <a:uFillTx/>
                  <a:latin typeface="Verdana" panose="020B0604030504040204" pitchFamily="34" charset="0"/>
                  <a:ea typeface="Verdana" panose="020B0604030504040204" pitchFamily="34" charset="0"/>
                  <a:cs typeface="Verdana" panose="020B0604030504040204" pitchFamily="34" charset="0"/>
                </a:rPr>
                <a:t>Insert</a:t>
              </a:r>
              <a:r>
                <a:rPr kumimoji="0" lang="en-US" sz="1400" b="1" i="0" u="none" strike="noStrike" kern="1200" cap="none" spc="0" normalizeH="0" baseline="0" noProof="0" dirty="0">
                  <a:ln>
                    <a:noFill/>
                  </a:ln>
                  <a:solidFill>
                    <a:srgbClr val="ED771A"/>
                  </a:solidFill>
                  <a:effectLst/>
                  <a:uLnTx/>
                  <a:uFillTx/>
                  <a:latin typeface="Verdana" panose="020B0604030504040204" pitchFamily="34" charset="0"/>
                  <a:ea typeface="Verdana" panose="020B0604030504040204" pitchFamily="34" charset="0"/>
                  <a:cs typeface="Verdana" panose="020B0604030504040204" pitchFamily="34" charset="0"/>
                </a:rPr>
                <a:t> </a:t>
              </a:r>
              <a:r>
                <a:rPr kumimoji="0" lang="en-US" sz="1200" b="1" i="0" u="none" strike="noStrike" kern="1200" cap="none" spc="0" normalizeH="0" baseline="0" noProof="0" dirty="0">
                  <a:ln>
                    <a:noFill/>
                  </a:ln>
                  <a:solidFill>
                    <a:schemeClr val="tx2">
                      <a:lumMod val="50000"/>
                    </a:schemeClr>
                  </a:solidFill>
                  <a:effectLst/>
                  <a:uLnTx/>
                  <a:uFillTx/>
                  <a:latin typeface="Verdana" panose="020B0604030504040204" pitchFamily="34" charset="0"/>
                  <a:ea typeface="Verdana" panose="020B0604030504040204" pitchFamily="34" charset="0"/>
                  <a:cs typeface="Verdana" panose="020B0604030504040204" pitchFamily="34" charset="0"/>
                </a:rPr>
                <a:t>Title/Role</a:t>
              </a:r>
              <a:br>
                <a:rPr kumimoji="0" lang="en-US" sz="1200" b="0" i="0" u="none" strike="noStrike" kern="1200" cap="none" spc="0" normalizeH="0" baseline="0" noProof="0" dirty="0">
                  <a:ln>
                    <a:noFill/>
                  </a:ln>
                  <a:solidFill>
                    <a:schemeClr val="tx2">
                      <a:lumMod val="50000"/>
                    </a:schemeClr>
                  </a:solidFill>
                  <a:effectLst/>
                  <a:uLnTx/>
                  <a:uFillTx/>
                  <a:latin typeface="Verdana" panose="020B0604030504040204" pitchFamily="34" charset="0"/>
                  <a:ea typeface="Verdana" panose="020B0604030504040204" pitchFamily="34" charset="0"/>
                  <a:cs typeface="Verdana" panose="020B0604030504040204" pitchFamily="34" charset="0"/>
                </a:rPr>
              </a:br>
              <a:endParaRPr kumimoji="0" lang="en-US" sz="1200" b="0" i="0" u="none" strike="noStrike" kern="1200" cap="none" spc="0" normalizeH="0" baseline="0" noProof="0" dirty="0">
                <a:ln>
                  <a:noFill/>
                </a:ln>
                <a:solidFill>
                  <a:schemeClr val="tx2">
                    <a:lumMod val="50000"/>
                  </a:schemeClr>
                </a:solidFill>
                <a:effectLst/>
                <a:uLnTx/>
                <a:uFillTx/>
                <a:latin typeface="Verdana" panose="020B0604030504040204" pitchFamily="34" charset="0"/>
                <a:ea typeface="Verdana" panose="020B0604030504040204" pitchFamily="34" charset="0"/>
                <a:cs typeface="Verdana" panose="020B0604030504040204" pitchFamily="34" charset="0"/>
              </a:endParaRPr>
            </a:p>
            <a:p>
              <a:pPr marL="171450" indent="-171450">
                <a:spcBef>
                  <a:spcPts val="200"/>
                </a:spcBef>
                <a:buClr>
                  <a:schemeClr val="accent1"/>
                </a:buClr>
                <a:buFont typeface="Arial" panose="020B0604020202020204" pitchFamily="34" charset="0"/>
                <a:buChar char="•"/>
              </a:pPr>
              <a:r>
                <a:rPr lang="en-US" sz="12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a:p>
              <a:pPr marL="171450" indent="-171450">
                <a:spcBef>
                  <a:spcPts val="200"/>
                </a:spcBef>
                <a:buClr>
                  <a:schemeClr val="accent1"/>
                </a:buClr>
                <a:buFont typeface="Arial" panose="020B0604020202020204" pitchFamily="34" charset="0"/>
                <a:buChar char="•"/>
              </a:pPr>
              <a:r>
                <a:rPr lang="en-US" sz="12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a:p>
              <a:pPr marL="171450" indent="-171450">
                <a:spcBef>
                  <a:spcPts val="200"/>
                </a:spcBef>
                <a:buClr>
                  <a:schemeClr val="accent1"/>
                </a:buClr>
                <a:buFont typeface="Arial" panose="020B0604020202020204" pitchFamily="34" charset="0"/>
                <a:buChar char="•"/>
              </a:pPr>
              <a:r>
                <a:rPr lang="en-US" sz="12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a:p>
              <a:pPr marL="171450" indent="-171450">
                <a:spcBef>
                  <a:spcPts val="200"/>
                </a:spcBef>
                <a:buClr>
                  <a:schemeClr val="accent1"/>
                </a:buClr>
                <a:buFont typeface="Arial" panose="020B0604020202020204" pitchFamily="34" charset="0"/>
                <a:buChar char="•"/>
              </a:pPr>
              <a:r>
                <a:rPr lang="en-US" sz="12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p:txBody>
        </p:sp>
        <p:sp>
          <p:nvSpPr>
            <p:cNvPr id="14" name="Picture Placeholder 1">
              <a:extLst>
                <a:ext uri="{FF2B5EF4-FFF2-40B4-BE49-F238E27FC236}">
                  <a16:creationId xmlns:a16="http://schemas.microsoft.com/office/drawing/2014/main" id="{326B2111-B622-460F-8E04-3937DDF88505}"/>
                </a:ext>
              </a:extLst>
            </p:cNvPr>
            <p:cNvSpPr txBox="1">
              <a:spLocks/>
            </p:cNvSpPr>
            <p:nvPr/>
          </p:nvSpPr>
          <p:spPr>
            <a:xfrm>
              <a:off x="624115" y="1709338"/>
              <a:ext cx="1452563" cy="1671637"/>
            </a:xfrm>
            <a:prstGeom prst="rect">
              <a:avLst/>
            </a:prstGeom>
            <a:solidFill>
              <a:srgbClr val="D9D9D9"/>
            </a:solidFill>
          </p:spPr>
          <p:txBody>
            <a:bodyPr vert="horz" lIns="0" tIns="0" rIns="0" bIns="0" rtlCol="0" anchor="ctr">
              <a:normAutofit/>
            </a:bodyPr>
            <a:lstStyle/>
            <a:p>
              <a:endParaRPr lang="en-GB" dirty="0"/>
            </a:p>
          </p:txBody>
        </p:sp>
        <p:sp>
          <p:nvSpPr>
            <p:cNvPr id="15" name="Retângulo 1">
              <a:extLst>
                <a:ext uri="{FF2B5EF4-FFF2-40B4-BE49-F238E27FC236}">
                  <a16:creationId xmlns:a16="http://schemas.microsoft.com/office/drawing/2014/main" id="{241F2392-C435-4DDD-ABF5-A3A397441338}"/>
                </a:ext>
              </a:extLst>
            </p:cNvPr>
            <p:cNvSpPr/>
            <p:nvPr/>
          </p:nvSpPr>
          <p:spPr>
            <a:xfrm>
              <a:off x="479425" y="1515965"/>
              <a:ext cx="5040000" cy="2009777"/>
            </a:xfrm>
            <a:prstGeom prst="rect">
              <a:avLst/>
            </a:prstGeom>
            <a:noFill/>
            <a:ln w="57150">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grpSp>
        <p:nvGrpSpPr>
          <p:cNvPr id="16" name="Group 15"/>
          <p:cNvGrpSpPr/>
          <p:nvPr/>
        </p:nvGrpSpPr>
        <p:grpSpPr>
          <a:xfrm>
            <a:off x="6343914" y="3962604"/>
            <a:ext cx="5040000" cy="2009777"/>
            <a:chOff x="479425" y="1515965"/>
            <a:chExt cx="5040000" cy="2009777"/>
          </a:xfrm>
        </p:grpSpPr>
        <p:sp>
          <p:nvSpPr>
            <p:cNvPr id="17" name="Text Placeholder 18">
              <a:extLst>
                <a:ext uri="{FF2B5EF4-FFF2-40B4-BE49-F238E27FC236}">
                  <a16:creationId xmlns:a16="http://schemas.microsoft.com/office/drawing/2014/main" id="{EA1EAE22-96D4-49DE-8534-1506BC81013D}"/>
                </a:ext>
              </a:extLst>
            </p:cNvPr>
            <p:cNvSpPr txBox="1">
              <a:spLocks/>
            </p:cNvSpPr>
            <p:nvPr/>
          </p:nvSpPr>
          <p:spPr>
            <a:xfrm>
              <a:off x="2409371" y="1724603"/>
              <a:ext cx="2989943" cy="1656371"/>
            </a:xfrm>
            <a:prstGeom prst="rect">
              <a:avLst/>
            </a:prstGeom>
          </p:spPr>
          <p:txBody>
            <a:bodyPr vert="horz" lIns="0" tIns="0" rIns="0" bIns="0" rtlCol="0">
              <a:noAutofit/>
            </a:bodyPr>
            <a:lstStyle/>
            <a:p>
              <a:pPr marL="0" marR="0" lvl="0" indent="0" algn="l" defTabSz="914400" rtl="0" eaLnBrk="1" fontAlgn="auto" latinLnBrk="0" hangingPunct="1">
                <a:lnSpc>
                  <a:spcPct val="100000"/>
                </a:lnSpc>
                <a:spcBef>
                  <a:spcPts val="200"/>
                </a:spcBef>
                <a:spcAft>
                  <a:spcPts val="0"/>
                </a:spcAft>
                <a:buClrTx/>
                <a:buSzTx/>
                <a:buFont typeface="Arial" panose="020B0604020202020204" pitchFamily="34" charset="0"/>
                <a:buNone/>
                <a:tabLst/>
                <a:defRPr/>
              </a:pPr>
              <a:r>
                <a:rPr kumimoji="0" lang="en-US" sz="1400" b="1" i="0" u="none" strike="noStrike" kern="1200" cap="none" spc="0" normalizeH="0" baseline="0" noProof="0" dirty="0">
                  <a:ln>
                    <a:noFill/>
                  </a:ln>
                  <a:solidFill>
                    <a:srgbClr val="12ABDB"/>
                  </a:solidFill>
                  <a:effectLst/>
                  <a:uLnTx/>
                  <a:uFillTx/>
                  <a:latin typeface="Verdana" panose="020B0604030504040204" pitchFamily="34" charset="0"/>
                  <a:ea typeface="Verdana" panose="020B0604030504040204" pitchFamily="34" charset="0"/>
                  <a:cs typeface="Verdana" panose="020B0604030504040204" pitchFamily="34" charset="0"/>
                </a:rPr>
                <a:t>Insert name</a:t>
              </a:r>
              <a:br>
                <a:rPr kumimoji="0" lang="en-US" sz="1400" b="1" i="0" u="none" strike="noStrike" kern="1200" cap="none" spc="0" normalizeH="0" baseline="0" noProof="0" dirty="0">
                  <a:ln>
                    <a:noFill/>
                  </a:ln>
                  <a:solidFill>
                    <a:srgbClr val="ED771A"/>
                  </a:solidFill>
                  <a:effectLst/>
                  <a:uLnTx/>
                  <a:uFillTx/>
                  <a:latin typeface="Verdana" panose="020B0604030504040204" pitchFamily="34" charset="0"/>
                  <a:ea typeface="Verdana" panose="020B0604030504040204" pitchFamily="34" charset="0"/>
                  <a:cs typeface="Verdana" panose="020B0604030504040204" pitchFamily="34" charset="0"/>
                </a:rPr>
              </a:br>
              <a:r>
                <a:rPr kumimoji="0" lang="en-US" sz="1200" b="1" i="0" u="none" strike="noStrike" kern="1200" cap="none" spc="0" normalizeH="0" baseline="0" noProof="0" dirty="0">
                  <a:ln>
                    <a:noFill/>
                  </a:ln>
                  <a:solidFill>
                    <a:schemeClr val="tx2">
                      <a:lumMod val="50000"/>
                    </a:schemeClr>
                  </a:solidFill>
                  <a:effectLst/>
                  <a:uLnTx/>
                  <a:uFillTx/>
                  <a:latin typeface="Verdana" panose="020B0604030504040204" pitchFamily="34" charset="0"/>
                  <a:ea typeface="Verdana" panose="020B0604030504040204" pitchFamily="34" charset="0"/>
                  <a:cs typeface="Verdana" panose="020B0604030504040204" pitchFamily="34" charset="0"/>
                </a:rPr>
                <a:t>Insert</a:t>
              </a:r>
              <a:r>
                <a:rPr kumimoji="0" lang="en-US" sz="1400" b="1" i="0" u="none" strike="noStrike" kern="1200" cap="none" spc="0" normalizeH="0" baseline="0" noProof="0" dirty="0">
                  <a:ln>
                    <a:noFill/>
                  </a:ln>
                  <a:solidFill>
                    <a:srgbClr val="ED771A"/>
                  </a:solidFill>
                  <a:effectLst/>
                  <a:uLnTx/>
                  <a:uFillTx/>
                  <a:latin typeface="Verdana" panose="020B0604030504040204" pitchFamily="34" charset="0"/>
                  <a:ea typeface="Verdana" panose="020B0604030504040204" pitchFamily="34" charset="0"/>
                  <a:cs typeface="Verdana" panose="020B0604030504040204" pitchFamily="34" charset="0"/>
                </a:rPr>
                <a:t> </a:t>
              </a:r>
              <a:r>
                <a:rPr kumimoji="0" lang="en-US" sz="1200" b="1" i="0" u="none" strike="noStrike" kern="1200" cap="none" spc="0" normalizeH="0" baseline="0" noProof="0" dirty="0">
                  <a:ln>
                    <a:noFill/>
                  </a:ln>
                  <a:solidFill>
                    <a:schemeClr val="tx2">
                      <a:lumMod val="50000"/>
                    </a:schemeClr>
                  </a:solidFill>
                  <a:effectLst/>
                  <a:uLnTx/>
                  <a:uFillTx/>
                  <a:latin typeface="Verdana" panose="020B0604030504040204" pitchFamily="34" charset="0"/>
                  <a:ea typeface="Verdana" panose="020B0604030504040204" pitchFamily="34" charset="0"/>
                  <a:cs typeface="Verdana" panose="020B0604030504040204" pitchFamily="34" charset="0"/>
                </a:rPr>
                <a:t>Title/Role</a:t>
              </a:r>
              <a:br>
                <a:rPr kumimoji="0" lang="en-US" sz="1200" b="0" i="0" u="none" strike="noStrike" kern="1200" cap="none" spc="0" normalizeH="0" baseline="0" noProof="0" dirty="0">
                  <a:ln>
                    <a:noFill/>
                  </a:ln>
                  <a:solidFill>
                    <a:schemeClr val="tx2">
                      <a:lumMod val="50000"/>
                    </a:schemeClr>
                  </a:solidFill>
                  <a:effectLst/>
                  <a:uLnTx/>
                  <a:uFillTx/>
                  <a:latin typeface="Verdana" panose="020B0604030504040204" pitchFamily="34" charset="0"/>
                  <a:ea typeface="Verdana" panose="020B0604030504040204" pitchFamily="34" charset="0"/>
                  <a:cs typeface="Verdana" panose="020B0604030504040204" pitchFamily="34" charset="0"/>
                </a:rPr>
              </a:br>
              <a:endParaRPr kumimoji="0" lang="en-US" sz="1200" b="0" i="0" u="none" strike="noStrike" kern="1200" cap="none" spc="0" normalizeH="0" baseline="0" noProof="0" dirty="0">
                <a:ln>
                  <a:noFill/>
                </a:ln>
                <a:solidFill>
                  <a:schemeClr val="tx2">
                    <a:lumMod val="50000"/>
                  </a:schemeClr>
                </a:solidFill>
                <a:effectLst/>
                <a:uLnTx/>
                <a:uFillTx/>
                <a:latin typeface="Verdana" panose="020B0604030504040204" pitchFamily="34" charset="0"/>
                <a:ea typeface="Verdana" panose="020B0604030504040204" pitchFamily="34" charset="0"/>
                <a:cs typeface="Verdana" panose="020B0604030504040204" pitchFamily="34" charset="0"/>
              </a:endParaRPr>
            </a:p>
            <a:p>
              <a:pPr marL="171450" indent="-171450">
                <a:spcBef>
                  <a:spcPts val="200"/>
                </a:spcBef>
                <a:buClr>
                  <a:schemeClr val="accent1"/>
                </a:buClr>
                <a:buFont typeface="Arial" panose="020B0604020202020204" pitchFamily="34" charset="0"/>
                <a:buChar char="•"/>
              </a:pPr>
              <a:r>
                <a:rPr lang="en-US" sz="12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a:p>
              <a:pPr marL="171450" indent="-171450">
                <a:spcBef>
                  <a:spcPts val="200"/>
                </a:spcBef>
                <a:buClr>
                  <a:schemeClr val="accent1"/>
                </a:buClr>
                <a:buFont typeface="Arial" panose="020B0604020202020204" pitchFamily="34" charset="0"/>
                <a:buChar char="•"/>
              </a:pPr>
              <a:r>
                <a:rPr lang="en-US" sz="12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a:p>
              <a:pPr marL="171450" indent="-171450">
                <a:spcBef>
                  <a:spcPts val="200"/>
                </a:spcBef>
                <a:buClr>
                  <a:schemeClr val="accent1"/>
                </a:buClr>
                <a:buFont typeface="Arial" panose="020B0604020202020204" pitchFamily="34" charset="0"/>
                <a:buChar char="•"/>
              </a:pPr>
              <a:r>
                <a:rPr lang="en-US" sz="12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a:p>
              <a:pPr marL="171450" indent="-171450">
                <a:spcBef>
                  <a:spcPts val="200"/>
                </a:spcBef>
                <a:buClr>
                  <a:schemeClr val="accent1"/>
                </a:buClr>
                <a:buFont typeface="Arial" panose="020B0604020202020204" pitchFamily="34" charset="0"/>
                <a:buChar char="•"/>
              </a:pPr>
              <a:r>
                <a:rPr lang="en-US" sz="12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p:txBody>
        </p:sp>
        <p:sp>
          <p:nvSpPr>
            <p:cNvPr id="18" name="Picture Placeholder 1">
              <a:extLst>
                <a:ext uri="{FF2B5EF4-FFF2-40B4-BE49-F238E27FC236}">
                  <a16:creationId xmlns:a16="http://schemas.microsoft.com/office/drawing/2014/main" id="{326B2111-B622-460F-8E04-3937DDF88505}"/>
                </a:ext>
              </a:extLst>
            </p:cNvPr>
            <p:cNvSpPr txBox="1">
              <a:spLocks/>
            </p:cNvSpPr>
            <p:nvPr/>
          </p:nvSpPr>
          <p:spPr>
            <a:xfrm>
              <a:off x="624115" y="1709338"/>
              <a:ext cx="1452563" cy="1671637"/>
            </a:xfrm>
            <a:prstGeom prst="rect">
              <a:avLst/>
            </a:prstGeom>
            <a:solidFill>
              <a:srgbClr val="D9D9D9"/>
            </a:solidFill>
          </p:spPr>
          <p:txBody>
            <a:bodyPr vert="horz" lIns="0" tIns="0" rIns="0" bIns="0" rtlCol="0" anchor="ctr">
              <a:normAutofit/>
            </a:bodyPr>
            <a:lstStyle/>
            <a:p>
              <a:endParaRPr lang="en-GB" dirty="0"/>
            </a:p>
          </p:txBody>
        </p:sp>
        <p:sp>
          <p:nvSpPr>
            <p:cNvPr id="19" name="Retângulo 1">
              <a:extLst>
                <a:ext uri="{FF2B5EF4-FFF2-40B4-BE49-F238E27FC236}">
                  <a16:creationId xmlns:a16="http://schemas.microsoft.com/office/drawing/2014/main" id="{241F2392-C435-4DDD-ABF5-A3A397441338}"/>
                </a:ext>
              </a:extLst>
            </p:cNvPr>
            <p:cNvSpPr/>
            <p:nvPr/>
          </p:nvSpPr>
          <p:spPr>
            <a:xfrm>
              <a:off x="479425" y="1515965"/>
              <a:ext cx="5040000" cy="2009777"/>
            </a:xfrm>
            <a:prstGeom prst="rect">
              <a:avLst/>
            </a:prstGeom>
            <a:noFill/>
            <a:ln w="57150">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spTree>
  </p:cSld>
  <p:clrMapOvr>
    <a:masterClrMapping/>
  </p:clrMapOvr>
</p:sld>
</file>

<file path=ppt/slides/slide1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a:t>Title</a:t>
            </a:r>
            <a:br>
              <a:rPr lang="en-US" dirty="0"/>
            </a:br>
            <a:r>
              <a:rPr lang="en-US" dirty="0"/>
              <a:t>(Work for 1 or 2 lines of title)</a:t>
            </a:r>
            <a:endParaRPr lang="en-GB" dirty="0"/>
          </a:p>
        </p:txBody>
      </p:sp>
      <p:graphicFrame>
        <p:nvGraphicFramePr>
          <p:cNvPr id="8" name="SmartArt Placeholder 17">
            <a:extLst>
              <a:ext uri="{FF2B5EF4-FFF2-40B4-BE49-F238E27FC236}">
                <a16:creationId xmlns:a16="http://schemas.microsoft.com/office/drawing/2014/main" id="{270F303C-7A30-43E7-BE9A-76AA5EDFF927}"/>
              </a:ext>
            </a:extLst>
          </p:cNvPr>
          <p:cNvGraphicFramePr>
            <a:graphicFrameLocks/>
          </p:cNvGraphicFramePr>
          <p:nvPr>
            <p:extLst/>
          </p:nvPr>
        </p:nvGraphicFramePr>
        <p:xfrm>
          <a:off x="2238762" y="1443038"/>
          <a:ext cx="9221787" cy="48895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aphicFrame>
        <p:nvGraphicFramePr>
          <p:cNvPr id="9" name="Table Placeholder 16">
            <a:extLst>
              <a:ext uri="{FF2B5EF4-FFF2-40B4-BE49-F238E27FC236}">
                <a16:creationId xmlns:a16="http://schemas.microsoft.com/office/drawing/2014/main" id="{EB046D6D-7152-4985-8D8C-F9BF93B773A5}"/>
              </a:ext>
            </a:extLst>
          </p:cNvPr>
          <p:cNvGraphicFramePr>
            <a:graphicFrameLocks/>
          </p:cNvGraphicFramePr>
          <p:nvPr>
            <p:extLst/>
          </p:nvPr>
        </p:nvGraphicFramePr>
        <p:xfrm>
          <a:off x="581412" y="2020887"/>
          <a:ext cx="10879136" cy="4134048"/>
        </p:xfrm>
        <a:graphic>
          <a:graphicData uri="http://schemas.openxmlformats.org/drawingml/2006/table">
            <a:tbl>
              <a:tblPr firstRow="1" bandRow="1">
                <a:tableStyleId>{5C22544A-7EE6-4342-B048-85BDC9FD1C3A}</a:tableStyleId>
              </a:tblPr>
              <a:tblGrid>
                <a:gridCol w="1652300">
                  <a:extLst>
                    <a:ext uri="{9D8B030D-6E8A-4147-A177-3AD203B41FA5}">
                      <a16:colId xmlns:a16="http://schemas.microsoft.com/office/drawing/2014/main" val="3926787875"/>
                    </a:ext>
                  </a:extLst>
                </a:gridCol>
                <a:gridCol w="768903">
                  <a:extLst>
                    <a:ext uri="{9D8B030D-6E8A-4147-A177-3AD203B41FA5}">
                      <a16:colId xmlns:a16="http://schemas.microsoft.com/office/drawing/2014/main" val="1347465143"/>
                    </a:ext>
                  </a:extLst>
                </a:gridCol>
                <a:gridCol w="768903">
                  <a:extLst>
                    <a:ext uri="{9D8B030D-6E8A-4147-A177-3AD203B41FA5}">
                      <a16:colId xmlns:a16="http://schemas.microsoft.com/office/drawing/2014/main" val="802954316"/>
                    </a:ext>
                  </a:extLst>
                </a:gridCol>
                <a:gridCol w="768903">
                  <a:extLst>
                    <a:ext uri="{9D8B030D-6E8A-4147-A177-3AD203B41FA5}">
                      <a16:colId xmlns:a16="http://schemas.microsoft.com/office/drawing/2014/main" val="237998491"/>
                    </a:ext>
                  </a:extLst>
                </a:gridCol>
                <a:gridCol w="768903">
                  <a:extLst>
                    <a:ext uri="{9D8B030D-6E8A-4147-A177-3AD203B41FA5}">
                      <a16:colId xmlns:a16="http://schemas.microsoft.com/office/drawing/2014/main" val="559338291"/>
                    </a:ext>
                  </a:extLst>
                </a:gridCol>
                <a:gridCol w="768903">
                  <a:extLst>
                    <a:ext uri="{9D8B030D-6E8A-4147-A177-3AD203B41FA5}">
                      <a16:colId xmlns:a16="http://schemas.microsoft.com/office/drawing/2014/main" val="2662145481"/>
                    </a:ext>
                  </a:extLst>
                </a:gridCol>
                <a:gridCol w="768903">
                  <a:extLst>
                    <a:ext uri="{9D8B030D-6E8A-4147-A177-3AD203B41FA5}">
                      <a16:colId xmlns:a16="http://schemas.microsoft.com/office/drawing/2014/main" val="842013454"/>
                    </a:ext>
                  </a:extLst>
                </a:gridCol>
                <a:gridCol w="768903">
                  <a:extLst>
                    <a:ext uri="{9D8B030D-6E8A-4147-A177-3AD203B41FA5}">
                      <a16:colId xmlns:a16="http://schemas.microsoft.com/office/drawing/2014/main" val="1726885786"/>
                    </a:ext>
                  </a:extLst>
                </a:gridCol>
                <a:gridCol w="768903">
                  <a:extLst>
                    <a:ext uri="{9D8B030D-6E8A-4147-A177-3AD203B41FA5}">
                      <a16:colId xmlns:a16="http://schemas.microsoft.com/office/drawing/2014/main" val="3535952006"/>
                    </a:ext>
                  </a:extLst>
                </a:gridCol>
                <a:gridCol w="768903">
                  <a:extLst>
                    <a:ext uri="{9D8B030D-6E8A-4147-A177-3AD203B41FA5}">
                      <a16:colId xmlns:a16="http://schemas.microsoft.com/office/drawing/2014/main" val="2591906777"/>
                    </a:ext>
                  </a:extLst>
                </a:gridCol>
                <a:gridCol w="768903">
                  <a:extLst>
                    <a:ext uri="{9D8B030D-6E8A-4147-A177-3AD203B41FA5}">
                      <a16:colId xmlns:a16="http://schemas.microsoft.com/office/drawing/2014/main" val="4149502341"/>
                    </a:ext>
                  </a:extLst>
                </a:gridCol>
                <a:gridCol w="768903">
                  <a:extLst>
                    <a:ext uri="{9D8B030D-6E8A-4147-A177-3AD203B41FA5}">
                      <a16:colId xmlns:a16="http://schemas.microsoft.com/office/drawing/2014/main" val="3973496842"/>
                    </a:ext>
                  </a:extLst>
                </a:gridCol>
                <a:gridCol w="768903">
                  <a:extLst>
                    <a:ext uri="{9D8B030D-6E8A-4147-A177-3AD203B41FA5}">
                      <a16:colId xmlns:a16="http://schemas.microsoft.com/office/drawing/2014/main" val="1214891969"/>
                    </a:ext>
                  </a:extLst>
                </a:gridCol>
              </a:tblGrid>
              <a:tr h="51675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pt-PT" sz="1400" b="1" dirty="0">
                          <a:solidFill>
                            <a:schemeClr val="bg1"/>
                          </a:solidFill>
                        </a:rPr>
                        <a:t>Text sample</a:t>
                      </a:r>
                    </a:p>
                  </a:txBody>
                  <a:tcPr marL="89354" marR="89354" anchor="ctr">
                    <a:lnL w="12700" cmpd="sng">
                      <a:noFill/>
                    </a:lnL>
                    <a:lnR w="12700" cmpd="sng">
                      <a:noFill/>
                    </a:lnR>
                    <a:lnT w="12700" cmpd="sng">
                      <a:noFill/>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endParaRPr lang="pt-PT" dirty="0"/>
                    </a:p>
                  </a:txBody>
                  <a:tcPr marL="89354" marR="89354">
                    <a:lnL w="12700" cmpd="sng">
                      <a:noFill/>
                    </a:lnL>
                    <a:lnR w="12700" cap="flat" cmpd="sng" algn="ctr">
                      <a:solidFill>
                        <a:schemeClr val="bg1">
                          <a:lumMod val="85000"/>
                        </a:schemeClr>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925710404"/>
                  </a:ext>
                </a:extLst>
              </a:tr>
              <a:tr h="51675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PT" sz="1400" b="1" i="0" u="none" strike="noStrike" kern="1200" cap="none" spc="0" normalizeH="0" baseline="0" noProof="0">
                          <a:ln>
                            <a:noFill/>
                          </a:ln>
                          <a:solidFill>
                            <a:srgbClr val="FFFFFF"/>
                          </a:solidFill>
                          <a:effectLst/>
                          <a:uLnTx/>
                          <a:uFillTx/>
                          <a:latin typeface="Verdana"/>
                          <a:ea typeface="+mn-ea"/>
                          <a:cs typeface="+mn-cs"/>
                        </a:rPr>
                        <a:t>Text sample</a:t>
                      </a:r>
                      <a:endParaRPr kumimoji="0" lang="pt-PT" sz="1400" b="1" i="0" u="none" strike="noStrike" kern="1200" cap="none" spc="0" normalizeH="0" baseline="0" noProof="0" dirty="0">
                        <a:ln>
                          <a:noFill/>
                        </a:ln>
                        <a:solidFill>
                          <a:srgbClr val="FFFFFF"/>
                        </a:solidFill>
                        <a:effectLst/>
                        <a:uLnTx/>
                        <a:uFillTx/>
                        <a:latin typeface="Verdana"/>
                        <a:ea typeface="+mn-ea"/>
                        <a:cs typeface="+mn-cs"/>
                      </a:endParaRPr>
                    </a:p>
                  </a:txBody>
                  <a:tcPr marL="89354" marR="89354" anchor="ctr">
                    <a:lnL w="12700" cmpd="sng">
                      <a:noFill/>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endParaRPr lang="pt-PT"/>
                    </a:p>
                  </a:txBody>
                  <a:tcPr marL="89354" marR="89354">
                    <a:lnL w="12700" cmpd="sng">
                      <a:noFill/>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469837876"/>
                  </a:ext>
                </a:extLst>
              </a:tr>
              <a:tr h="51675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PT" sz="1400" b="1" i="0" u="none" strike="noStrike" kern="1200" cap="none" spc="0" normalizeH="0" baseline="0" noProof="0">
                          <a:ln>
                            <a:noFill/>
                          </a:ln>
                          <a:solidFill>
                            <a:srgbClr val="FFFFFF"/>
                          </a:solidFill>
                          <a:effectLst/>
                          <a:uLnTx/>
                          <a:uFillTx/>
                          <a:latin typeface="Verdana"/>
                          <a:ea typeface="+mn-ea"/>
                          <a:cs typeface="+mn-cs"/>
                        </a:rPr>
                        <a:t>Text sample</a:t>
                      </a:r>
                      <a:endParaRPr kumimoji="0" lang="pt-PT" sz="1400" b="1" i="0" u="none" strike="noStrike" kern="1200" cap="none" spc="0" normalizeH="0" baseline="0" noProof="0" dirty="0">
                        <a:ln>
                          <a:noFill/>
                        </a:ln>
                        <a:solidFill>
                          <a:srgbClr val="FFFFFF"/>
                        </a:solidFill>
                        <a:effectLst/>
                        <a:uLnTx/>
                        <a:uFillTx/>
                        <a:latin typeface="Verdana"/>
                        <a:ea typeface="+mn-ea"/>
                        <a:cs typeface="+mn-cs"/>
                      </a:endParaRPr>
                    </a:p>
                  </a:txBody>
                  <a:tcPr marL="89354" marR="89354" anchor="ctr">
                    <a:lnL w="12700" cmpd="sng">
                      <a:noFill/>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endParaRPr lang="pt-PT" dirty="0"/>
                    </a:p>
                  </a:txBody>
                  <a:tcPr marL="89354" marR="89354">
                    <a:lnL w="12700" cmpd="sng">
                      <a:noFill/>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20944819"/>
                  </a:ext>
                </a:extLst>
              </a:tr>
              <a:tr h="51675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PT" sz="1400" b="1" i="0" u="none" strike="noStrike" kern="1200" cap="none" spc="0" normalizeH="0" baseline="0" noProof="0">
                          <a:ln>
                            <a:noFill/>
                          </a:ln>
                          <a:solidFill>
                            <a:srgbClr val="FFFFFF"/>
                          </a:solidFill>
                          <a:effectLst/>
                          <a:uLnTx/>
                          <a:uFillTx/>
                          <a:latin typeface="Verdana"/>
                          <a:ea typeface="+mn-ea"/>
                          <a:cs typeface="+mn-cs"/>
                        </a:rPr>
                        <a:t>Text sample</a:t>
                      </a:r>
                      <a:endParaRPr kumimoji="0" lang="pt-PT" sz="1400" b="1" i="0" u="none" strike="noStrike" kern="1200" cap="none" spc="0" normalizeH="0" baseline="0" noProof="0" dirty="0">
                        <a:ln>
                          <a:noFill/>
                        </a:ln>
                        <a:solidFill>
                          <a:srgbClr val="FFFFFF"/>
                        </a:solidFill>
                        <a:effectLst/>
                        <a:uLnTx/>
                        <a:uFillTx/>
                        <a:latin typeface="Verdana"/>
                        <a:ea typeface="+mn-ea"/>
                        <a:cs typeface="+mn-cs"/>
                      </a:endParaRPr>
                    </a:p>
                  </a:txBody>
                  <a:tcPr marL="89354" marR="89354" anchor="ctr">
                    <a:lnL w="12700" cmpd="sng">
                      <a:noFill/>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endParaRPr lang="pt-PT" dirty="0"/>
                    </a:p>
                  </a:txBody>
                  <a:tcPr marL="89354" marR="89354">
                    <a:lnL w="12700" cmpd="sng">
                      <a:noFill/>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395842970"/>
                  </a:ext>
                </a:extLst>
              </a:tr>
              <a:tr h="51675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PT" sz="1400" b="1" i="0" u="none" strike="noStrike" kern="1200" cap="none" spc="0" normalizeH="0" baseline="0" noProof="0">
                          <a:ln>
                            <a:noFill/>
                          </a:ln>
                          <a:solidFill>
                            <a:srgbClr val="FFFFFF"/>
                          </a:solidFill>
                          <a:effectLst/>
                          <a:uLnTx/>
                          <a:uFillTx/>
                          <a:latin typeface="Verdana"/>
                          <a:ea typeface="+mn-ea"/>
                          <a:cs typeface="+mn-cs"/>
                        </a:rPr>
                        <a:t>Text sample</a:t>
                      </a:r>
                      <a:endParaRPr kumimoji="0" lang="pt-PT" sz="1400" b="1" i="0" u="none" strike="noStrike" kern="1200" cap="none" spc="0" normalizeH="0" baseline="0" noProof="0" dirty="0">
                        <a:ln>
                          <a:noFill/>
                        </a:ln>
                        <a:solidFill>
                          <a:srgbClr val="FFFFFF"/>
                        </a:solidFill>
                        <a:effectLst/>
                        <a:uLnTx/>
                        <a:uFillTx/>
                        <a:latin typeface="Verdana"/>
                        <a:ea typeface="+mn-ea"/>
                        <a:cs typeface="+mn-cs"/>
                      </a:endParaRPr>
                    </a:p>
                  </a:txBody>
                  <a:tcPr marL="89354" marR="89354" anchor="ctr">
                    <a:lnL w="12700" cmpd="sng">
                      <a:noFill/>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endParaRPr lang="pt-PT" dirty="0"/>
                    </a:p>
                  </a:txBody>
                  <a:tcPr marL="89354" marR="89354">
                    <a:lnL w="12700" cmpd="sng">
                      <a:noFill/>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44607630"/>
                  </a:ext>
                </a:extLst>
              </a:tr>
              <a:tr h="51675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PT" sz="1400" b="1" i="0" u="none" strike="noStrike" kern="1200" cap="none" spc="0" normalizeH="0" baseline="0" noProof="0">
                          <a:ln>
                            <a:noFill/>
                          </a:ln>
                          <a:solidFill>
                            <a:srgbClr val="FFFFFF"/>
                          </a:solidFill>
                          <a:effectLst/>
                          <a:uLnTx/>
                          <a:uFillTx/>
                          <a:latin typeface="Verdana"/>
                          <a:ea typeface="+mn-ea"/>
                          <a:cs typeface="+mn-cs"/>
                        </a:rPr>
                        <a:t>Text sample</a:t>
                      </a:r>
                      <a:endParaRPr kumimoji="0" lang="pt-PT" sz="1400" b="1" i="0" u="none" strike="noStrike" kern="1200" cap="none" spc="0" normalizeH="0" baseline="0" noProof="0" dirty="0">
                        <a:ln>
                          <a:noFill/>
                        </a:ln>
                        <a:solidFill>
                          <a:srgbClr val="FFFFFF"/>
                        </a:solidFill>
                        <a:effectLst/>
                        <a:uLnTx/>
                        <a:uFillTx/>
                        <a:latin typeface="Verdana"/>
                        <a:ea typeface="+mn-ea"/>
                        <a:cs typeface="+mn-cs"/>
                      </a:endParaRPr>
                    </a:p>
                  </a:txBody>
                  <a:tcPr marL="89354" marR="89354" anchor="ctr">
                    <a:lnL w="12700" cmpd="sng">
                      <a:noFill/>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endParaRPr lang="pt-PT" dirty="0"/>
                    </a:p>
                  </a:txBody>
                  <a:tcPr marL="89354" marR="89354">
                    <a:lnL w="12700" cmpd="sng">
                      <a:noFill/>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522164272"/>
                  </a:ext>
                </a:extLst>
              </a:tr>
              <a:tr h="51675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PT" sz="1400" b="1" i="0" u="none" strike="noStrike" kern="1200" cap="none" spc="0" normalizeH="0" baseline="0" noProof="0">
                          <a:ln>
                            <a:noFill/>
                          </a:ln>
                          <a:solidFill>
                            <a:srgbClr val="FFFFFF"/>
                          </a:solidFill>
                          <a:effectLst/>
                          <a:uLnTx/>
                          <a:uFillTx/>
                          <a:latin typeface="Verdana"/>
                          <a:ea typeface="+mn-ea"/>
                          <a:cs typeface="+mn-cs"/>
                        </a:rPr>
                        <a:t>Text sample</a:t>
                      </a:r>
                      <a:endParaRPr kumimoji="0" lang="pt-PT" sz="1400" b="1" i="0" u="none" strike="noStrike" kern="1200" cap="none" spc="0" normalizeH="0" baseline="0" noProof="0" dirty="0">
                        <a:ln>
                          <a:noFill/>
                        </a:ln>
                        <a:solidFill>
                          <a:srgbClr val="FFFFFF"/>
                        </a:solidFill>
                        <a:effectLst/>
                        <a:uLnTx/>
                        <a:uFillTx/>
                        <a:latin typeface="Verdana"/>
                        <a:ea typeface="+mn-ea"/>
                        <a:cs typeface="+mn-cs"/>
                      </a:endParaRPr>
                    </a:p>
                  </a:txBody>
                  <a:tcPr marL="89354" marR="89354" anchor="ctr">
                    <a:lnL w="12700" cmpd="sng">
                      <a:noFill/>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endParaRPr lang="pt-PT" dirty="0"/>
                    </a:p>
                  </a:txBody>
                  <a:tcPr marL="89354" marR="89354">
                    <a:lnL w="12700" cmpd="sng">
                      <a:noFill/>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2541989"/>
                  </a:ext>
                </a:extLst>
              </a:tr>
              <a:tr h="51675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PT" sz="1400" b="1" i="0" u="none" strike="noStrike" kern="1200" cap="none" spc="0" normalizeH="0" baseline="0" noProof="0" dirty="0">
                          <a:ln>
                            <a:noFill/>
                          </a:ln>
                          <a:solidFill>
                            <a:srgbClr val="FFFFFF"/>
                          </a:solidFill>
                          <a:effectLst/>
                          <a:uLnTx/>
                          <a:uFillTx/>
                          <a:latin typeface="Verdana"/>
                          <a:ea typeface="+mn-ea"/>
                          <a:cs typeface="+mn-cs"/>
                        </a:rPr>
                        <a:t>Text sample</a:t>
                      </a:r>
                    </a:p>
                  </a:txBody>
                  <a:tcPr marL="89354" marR="89354" anchor="ctr">
                    <a:lnL w="12700" cmpd="sng">
                      <a:noFill/>
                    </a:lnL>
                    <a:lnR w="12700" cmpd="sng">
                      <a:noFill/>
                    </a:lnR>
                    <a:lnT w="381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12ABDB"/>
                    </a:solidFill>
                  </a:tcPr>
                </a:tc>
                <a:tc>
                  <a:txBody>
                    <a:bodyPr/>
                    <a:lstStyle/>
                    <a:p>
                      <a:endParaRPr lang="pt-PT" dirty="0"/>
                    </a:p>
                  </a:txBody>
                  <a:tcPr marL="89354" marR="89354">
                    <a:lnL w="12700" cmpd="sng">
                      <a:noFill/>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endParaRPr lang="pt-PT"/>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endParaRPr lang="pt-PT"/>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endParaRPr lang="pt-PT"/>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632545109"/>
                  </a:ext>
                </a:extLst>
              </a:tr>
            </a:tbl>
          </a:graphicData>
        </a:graphic>
      </p:graphicFrame>
      <p:grpSp>
        <p:nvGrpSpPr>
          <p:cNvPr id="10" name="Group 9">
            <a:extLst>
              <a:ext uri="{FF2B5EF4-FFF2-40B4-BE49-F238E27FC236}">
                <a16:creationId xmlns:a16="http://schemas.microsoft.com/office/drawing/2014/main" id="{A16A2238-D0F4-4E38-B330-336A32A1ACE0}"/>
              </a:ext>
            </a:extLst>
          </p:cNvPr>
          <p:cNvGrpSpPr/>
          <p:nvPr/>
        </p:nvGrpSpPr>
        <p:grpSpPr>
          <a:xfrm>
            <a:off x="2382257" y="2204864"/>
            <a:ext cx="9084642" cy="3755807"/>
            <a:chOff x="2661431" y="2343475"/>
            <a:chExt cx="9563401" cy="4767355"/>
          </a:xfrm>
          <a:solidFill>
            <a:srgbClr val="12ABDB"/>
          </a:solidFill>
        </p:grpSpPr>
        <p:sp>
          <p:nvSpPr>
            <p:cNvPr id="11" name="Retângulo 40">
              <a:extLst>
                <a:ext uri="{FF2B5EF4-FFF2-40B4-BE49-F238E27FC236}">
                  <a16:creationId xmlns:a16="http://schemas.microsoft.com/office/drawing/2014/main" id="{557EF29E-436E-47EB-A7F4-1C832F619E1C}"/>
                </a:ext>
              </a:extLst>
            </p:cNvPr>
            <p:cNvSpPr/>
            <p:nvPr/>
          </p:nvSpPr>
          <p:spPr>
            <a:xfrm>
              <a:off x="2661431" y="2343475"/>
              <a:ext cx="1938448" cy="16623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2" name="Retângulo 40">
              <a:extLst>
                <a:ext uri="{FF2B5EF4-FFF2-40B4-BE49-F238E27FC236}">
                  <a16:creationId xmlns:a16="http://schemas.microsoft.com/office/drawing/2014/main" id="{EDB69486-7DB0-4583-B173-EC12CAED3119}"/>
                </a:ext>
              </a:extLst>
            </p:cNvPr>
            <p:cNvSpPr/>
            <p:nvPr/>
          </p:nvSpPr>
          <p:spPr>
            <a:xfrm>
              <a:off x="3458136" y="2976066"/>
              <a:ext cx="1938448" cy="16623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3" name="Retângulo 40">
              <a:extLst>
                <a:ext uri="{FF2B5EF4-FFF2-40B4-BE49-F238E27FC236}">
                  <a16:creationId xmlns:a16="http://schemas.microsoft.com/office/drawing/2014/main" id="{605C23A9-CD9A-4AAB-8432-58B81B91F93C}"/>
                </a:ext>
              </a:extLst>
            </p:cNvPr>
            <p:cNvSpPr/>
            <p:nvPr/>
          </p:nvSpPr>
          <p:spPr>
            <a:xfrm>
              <a:off x="5142081" y="3618680"/>
              <a:ext cx="1938448" cy="16623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4" name="Retângulo 40">
              <a:extLst>
                <a:ext uri="{FF2B5EF4-FFF2-40B4-BE49-F238E27FC236}">
                  <a16:creationId xmlns:a16="http://schemas.microsoft.com/office/drawing/2014/main" id="{B734272C-8EC0-4BC6-AFEC-32BA76DA4B2C}"/>
                </a:ext>
              </a:extLst>
            </p:cNvPr>
            <p:cNvSpPr/>
            <p:nvPr/>
          </p:nvSpPr>
          <p:spPr>
            <a:xfrm>
              <a:off x="6116178" y="4282111"/>
              <a:ext cx="1938448" cy="16623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5" name="Retângulo 40">
              <a:extLst>
                <a:ext uri="{FF2B5EF4-FFF2-40B4-BE49-F238E27FC236}">
                  <a16:creationId xmlns:a16="http://schemas.microsoft.com/office/drawing/2014/main" id="{01216E35-989E-4529-958F-0BA7E5082660}"/>
                </a:ext>
              </a:extLst>
            </p:cNvPr>
            <p:cNvSpPr/>
            <p:nvPr/>
          </p:nvSpPr>
          <p:spPr>
            <a:xfrm>
              <a:off x="7355083" y="4968390"/>
              <a:ext cx="1619250" cy="16623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6" name="Retângulo 40">
              <a:extLst>
                <a:ext uri="{FF2B5EF4-FFF2-40B4-BE49-F238E27FC236}">
                  <a16:creationId xmlns:a16="http://schemas.microsoft.com/office/drawing/2014/main" id="{22EAF616-00F7-4AF6-995D-79B165D04847}"/>
                </a:ext>
              </a:extLst>
            </p:cNvPr>
            <p:cNvSpPr/>
            <p:nvPr/>
          </p:nvSpPr>
          <p:spPr>
            <a:xfrm>
              <a:off x="7355083" y="5594884"/>
              <a:ext cx="1619250" cy="16623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7" name="Retângulo 40">
              <a:extLst>
                <a:ext uri="{FF2B5EF4-FFF2-40B4-BE49-F238E27FC236}">
                  <a16:creationId xmlns:a16="http://schemas.microsoft.com/office/drawing/2014/main" id="{17F5A409-2F75-4CE8-9CAC-E8E0460DF656}"/>
                </a:ext>
              </a:extLst>
            </p:cNvPr>
            <p:cNvSpPr/>
            <p:nvPr/>
          </p:nvSpPr>
          <p:spPr>
            <a:xfrm>
              <a:off x="8948233" y="6263785"/>
              <a:ext cx="1638300" cy="16623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8" name="Retângulo 40">
              <a:extLst>
                <a:ext uri="{FF2B5EF4-FFF2-40B4-BE49-F238E27FC236}">
                  <a16:creationId xmlns:a16="http://schemas.microsoft.com/office/drawing/2014/main" id="{9BD639C8-5DA9-4435-8721-A13BEA6CE53A}"/>
                </a:ext>
              </a:extLst>
            </p:cNvPr>
            <p:cNvSpPr/>
            <p:nvPr/>
          </p:nvSpPr>
          <p:spPr>
            <a:xfrm>
              <a:off x="10586532" y="6944595"/>
              <a:ext cx="1638300" cy="16623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spTree>
    <p:extLst>
      <p:ext uri="{BB962C8B-B14F-4D97-AF65-F5344CB8AC3E}">
        <p14:creationId xmlns:p14="http://schemas.microsoft.com/office/powerpoint/2010/main" val="3464174668"/>
      </p:ext>
    </p:extLst>
  </p:cSld>
  <p:clrMapOvr>
    <a:masterClrMapping/>
  </p:clrMapOvr>
</p:sld>
</file>

<file path=ppt/slides/slide1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itle</a:t>
            </a:r>
            <a:br>
              <a:rPr lang="en-US" dirty="0"/>
            </a:br>
            <a:r>
              <a:rPr lang="en-US" dirty="0"/>
              <a:t>(Work for 1 or 2 lines of title)</a:t>
            </a:r>
            <a:endParaRPr lang="en-GB" dirty="0"/>
          </a:p>
        </p:txBody>
      </p:sp>
      <p:grpSp>
        <p:nvGrpSpPr>
          <p:cNvPr id="53" name="Group 52"/>
          <p:cNvGrpSpPr/>
          <p:nvPr/>
        </p:nvGrpSpPr>
        <p:grpSpPr>
          <a:xfrm>
            <a:off x="531342" y="5226908"/>
            <a:ext cx="11129318" cy="771093"/>
            <a:chOff x="754414" y="5489460"/>
            <a:chExt cx="10466100" cy="508541"/>
          </a:xfrm>
        </p:grpSpPr>
        <p:sp>
          <p:nvSpPr>
            <p:cNvPr id="26" name="Text Placeholder 7">
              <a:extLst>
                <a:ext uri="{FF2B5EF4-FFF2-40B4-BE49-F238E27FC236}">
                  <a16:creationId xmlns:a16="http://schemas.microsoft.com/office/drawing/2014/main" id="{5889F4BD-9B8F-420C-96FD-C732EE0EE6BD}"/>
                </a:ext>
              </a:extLst>
            </p:cNvPr>
            <p:cNvSpPr txBox="1">
              <a:spLocks/>
            </p:cNvSpPr>
            <p:nvPr/>
          </p:nvSpPr>
          <p:spPr>
            <a:xfrm>
              <a:off x="754414" y="5489559"/>
              <a:ext cx="1939924" cy="504056"/>
            </a:xfrm>
            <a:prstGeom prst="rect">
              <a:avLst/>
            </a:prstGeom>
            <a:solidFill>
              <a:srgbClr val="E6E7E7"/>
            </a:solidFill>
          </p:spPr>
          <p:txBody>
            <a:bodyPr anchor="ctr">
              <a:noAutofit/>
            </a:bodyPr>
            <a:lstStyle>
              <a:lvl1pPr algn="ctr">
                <a:lnSpc>
                  <a:spcPct val="850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ctr" defTabSz="914400" rtl="0" eaLnBrk="1" fontAlgn="auto" latinLnBrk="0" hangingPunct="1">
                <a:lnSpc>
                  <a:spcPct val="85000"/>
                </a:lnSpc>
                <a:spcBef>
                  <a:spcPts val="600"/>
                </a:spcBef>
                <a:spcAft>
                  <a:spcPts val="0"/>
                </a:spcAft>
                <a:buClrTx/>
                <a:buSzTx/>
                <a:buFont typeface="Arial" panose="020B0604020202020204" pitchFamily="34" charset="0"/>
                <a:buNone/>
                <a:tabLst/>
                <a:defRPr/>
              </a:pPr>
              <a:r>
                <a:rPr kumimoji="0" lang="en-US" sz="1200" b="1" i="0" u="none" strike="noStrike" kern="1200" cap="none" spc="0" normalizeH="0" baseline="0" noProof="0" dirty="0">
                  <a:ln>
                    <a:noFill/>
                  </a:ln>
                  <a:solidFill>
                    <a:schemeClr val="tx1"/>
                  </a:solidFill>
                  <a:effectLst/>
                  <a:uLnTx/>
                  <a:uFillTx/>
                  <a:latin typeface="+mj-lt"/>
                  <a:ea typeface="+mn-ea"/>
                  <a:cs typeface="+mn-cs"/>
                </a:rPr>
                <a:t>Click to insert text</a:t>
              </a:r>
            </a:p>
          </p:txBody>
        </p:sp>
        <p:sp>
          <p:nvSpPr>
            <p:cNvPr id="27" name="Text Placeholder 7">
              <a:extLst>
                <a:ext uri="{FF2B5EF4-FFF2-40B4-BE49-F238E27FC236}">
                  <a16:creationId xmlns:a16="http://schemas.microsoft.com/office/drawing/2014/main" id="{E26F6CC5-0FBD-4B39-8067-DA4CA3D08DF5}"/>
                </a:ext>
              </a:extLst>
            </p:cNvPr>
            <p:cNvSpPr txBox="1">
              <a:spLocks/>
            </p:cNvSpPr>
            <p:nvPr/>
          </p:nvSpPr>
          <p:spPr>
            <a:xfrm>
              <a:off x="2881828" y="5493945"/>
              <a:ext cx="1939924" cy="504056"/>
            </a:xfrm>
            <a:prstGeom prst="rect">
              <a:avLst/>
            </a:prstGeom>
            <a:solidFill>
              <a:srgbClr val="E6E7E7"/>
            </a:solidFill>
          </p:spPr>
          <p:txBody>
            <a:bodyPr anchor="ctr">
              <a:noAutofit/>
            </a:bodyPr>
            <a:lstStyle>
              <a:lvl1pPr algn="ctr">
                <a:lnSpc>
                  <a:spcPct val="850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ctr" defTabSz="914400" rtl="0" eaLnBrk="1" fontAlgn="auto" latinLnBrk="0" hangingPunct="1">
                <a:lnSpc>
                  <a:spcPct val="85000"/>
                </a:lnSpc>
                <a:spcBef>
                  <a:spcPts val="600"/>
                </a:spcBef>
                <a:spcAft>
                  <a:spcPts val="0"/>
                </a:spcAft>
                <a:buClrTx/>
                <a:buSzTx/>
                <a:buFont typeface="Arial" panose="020B0604020202020204" pitchFamily="34" charset="0"/>
                <a:buNone/>
                <a:tabLst/>
                <a:defRPr/>
              </a:pPr>
              <a:r>
                <a:rPr kumimoji="0" lang="en-US" sz="1200" b="1" i="0" u="none" strike="noStrike" kern="1200" cap="none" spc="0" normalizeH="0" baseline="0" noProof="0" dirty="0">
                  <a:ln>
                    <a:noFill/>
                  </a:ln>
                  <a:solidFill>
                    <a:schemeClr val="tx1"/>
                  </a:solidFill>
                  <a:effectLst/>
                  <a:uLnTx/>
                  <a:uFillTx/>
                  <a:latin typeface="+mj-lt"/>
                  <a:ea typeface="+mn-ea"/>
                  <a:cs typeface="+mn-cs"/>
                </a:rPr>
                <a:t>Click to insert text</a:t>
              </a:r>
            </a:p>
          </p:txBody>
        </p:sp>
        <p:sp>
          <p:nvSpPr>
            <p:cNvPr id="28" name="Text Placeholder 7">
              <a:extLst>
                <a:ext uri="{FF2B5EF4-FFF2-40B4-BE49-F238E27FC236}">
                  <a16:creationId xmlns:a16="http://schemas.microsoft.com/office/drawing/2014/main" id="{6D83DCD9-FC24-4ACE-8B52-269E78EA5154}"/>
                </a:ext>
              </a:extLst>
            </p:cNvPr>
            <p:cNvSpPr txBox="1">
              <a:spLocks/>
            </p:cNvSpPr>
            <p:nvPr/>
          </p:nvSpPr>
          <p:spPr>
            <a:xfrm>
              <a:off x="5015137" y="5493945"/>
              <a:ext cx="1939924" cy="504056"/>
            </a:xfrm>
            <a:prstGeom prst="rect">
              <a:avLst/>
            </a:prstGeom>
            <a:solidFill>
              <a:srgbClr val="E6E7E7"/>
            </a:solidFill>
          </p:spPr>
          <p:txBody>
            <a:bodyPr anchor="ctr">
              <a:noAutofit/>
            </a:bodyPr>
            <a:lstStyle>
              <a:lvl1pPr algn="ctr">
                <a:lnSpc>
                  <a:spcPct val="850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ctr" defTabSz="914400" rtl="0" eaLnBrk="1" fontAlgn="auto" latinLnBrk="0" hangingPunct="1">
                <a:lnSpc>
                  <a:spcPct val="85000"/>
                </a:lnSpc>
                <a:spcBef>
                  <a:spcPts val="600"/>
                </a:spcBef>
                <a:spcAft>
                  <a:spcPts val="0"/>
                </a:spcAft>
                <a:buClrTx/>
                <a:buSzTx/>
                <a:buFont typeface="Arial" panose="020B0604020202020204" pitchFamily="34" charset="0"/>
                <a:buNone/>
                <a:tabLst/>
                <a:defRPr/>
              </a:pPr>
              <a:r>
                <a:rPr kumimoji="0" lang="en-US" sz="1200" b="1" i="0" u="none" strike="noStrike" kern="1200" cap="none" spc="0" normalizeH="0" baseline="0" noProof="0" dirty="0">
                  <a:ln>
                    <a:noFill/>
                  </a:ln>
                  <a:solidFill>
                    <a:schemeClr val="tx1"/>
                  </a:solidFill>
                  <a:effectLst/>
                  <a:uLnTx/>
                  <a:uFillTx/>
                  <a:latin typeface="+mj-lt"/>
                  <a:ea typeface="+mn-ea"/>
                  <a:cs typeface="+mn-cs"/>
                </a:rPr>
                <a:t>Click to insert text</a:t>
              </a:r>
            </a:p>
          </p:txBody>
        </p:sp>
        <p:sp>
          <p:nvSpPr>
            <p:cNvPr id="29" name="Text Placeholder 7">
              <a:extLst>
                <a:ext uri="{FF2B5EF4-FFF2-40B4-BE49-F238E27FC236}">
                  <a16:creationId xmlns:a16="http://schemas.microsoft.com/office/drawing/2014/main" id="{75441542-8C67-4120-B77E-FF0148E22F4B}"/>
                </a:ext>
              </a:extLst>
            </p:cNvPr>
            <p:cNvSpPr txBox="1">
              <a:spLocks/>
            </p:cNvSpPr>
            <p:nvPr/>
          </p:nvSpPr>
          <p:spPr>
            <a:xfrm>
              <a:off x="7147864" y="5489460"/>
              <a:ext cx="1939924" cy="504056"/>
            </a:xfrm>
            <a:prstGeom prst="rect">
              <a:avLst/>
            </a:prstGeom>
            <a:solidFill>
              <a:srgbClr val="E6E7E7"/>
            </a:solidFill>
          </p:spPr>
          <p:txBody>
            <a:bodyPr anchor="ctr">
              <a:noAutofit/>
            </a:bodyPr>
            <a:lstStyle>
              <a:lvl1pPr algn="ctr">
                <a:lnSpc>
                  <a:spcPct val="850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ctr" defTabSz="914400" rtl="0" eaLnBrk="1" fontAlgn="auto" latinLnBrk="0" hangingPunct="1">
                <a:lnSpc>
                  <a:spcPct val="85000"/>
                </a:lnSpc>
                <a:spcBef>
                  <a:spcPts val="600"/>
                </a:spcBef>
                <a:spcAft>
                  <a:spcPts val="0"/>
                </a:spcAft>
                <a:buClrTx/>
                <a:buSzTx/>
                <a:buFont typeface="Arial" panose="020B0604020202020204" pitchFamily="34" charset="0"/>
                <a:buNone/>
                <a:tabLst/>
                <a:defRPr/>
              </a:pPr>
              <a:r>
                <a:rPr kumimoji="0" lang="en-US" sz="1200" b="1" i="0" u="none" strike="noStrike" kern="1200" cap="none" spc="0" normalizeH="0" baseline="0" noProof="0" dirty="0">
                  <a:ln>
                    <a:noFill/>
                  </a:ln>
                  <a:solidFill>
                    <a:schemeClr val="tx1"/>
                  </a:solidFill>
                  <a:effectLst/>
                  <a:uLnTx/>
                  <a:uFillTx/>
                  <a:latin typeface="+mj-lt"/>
                  <a:ea typeface="+mn-ea"/>
                  <a:cs typeface="+mn-cs"/>
                </a:rPr>
                <a:t>Click to insert text</a:t>
              </a:r>
            </a:p>
          </p:txBody>
        </p:sp>
        <p:sp>
          <p:nvSpPr>
            <p:cNvPr id="30" name="Text Placeholder 7">
              <a:extLst>
                <a:ext uri="{FF2B5EF4-FFF2-40B4-BE49-F238E27FC236}">
                  <a16:creationId xmlns:a16="http://schemas.microsoft.com/office/drawing/2014/main" id="{B4323275-6F19-499D-9A1B-2C56B8029E99}"/>
                </a:ext>
              </a:extLst>
            </p:cNvPr>
            <p:cNvSpPr txBox="1">
              <a:spLocks/>
            </p:cNvSpPr>
            <p:nvPr/>
          </p:nvSpPr>
          <p:spPr>
            <a:xfrm>
              <a:off x="9280590" y="5489460"/>
              <a:ext cx="1939924" cy="504056"/>
            </a:xfrm>
            <a:prstGeom prst="rect">
              <a:avLst/>
            </a:prstGeom>
            <a:solidFill>
              <a:srgbClr val="E6E7E7"/>
            </a:solidFill>
          </p:spPr>
          <p:txBody>
            <a:bodyPr anchor="ctr">
              <a:noAutofit/>
            </a:bodyPr>
            <a:lstStyle>
              <a:lvl1pPr algn="ctr">
                <a:lnSpc>
                  <a:spcPct val="850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ctr" defTabSz="914400" rtl="0" eaLnBrk="1" fontAlgn="auto" latinLnBrk="0" hangingPunct="1">
                <a:lnSpc>
                  <a:spcPct val="85000"/>
                </a:lnSpc>
                <a:spcBef>
                  <a:spcPts val="600"/>
                </a:spcBef>
                <a:spcAft>
                  <a:spcPts val="0"/>
                </a:spcAft>
                <a:buClrTx/>
                <a:buSzTx/>
                <a:buFont typeface="Arial" panose="020B0604020202020204" pitchFamily="34" charset="0"/>
                <a:buNone/>
                <a:tabLst/>
                <a:defRPr/>
              </a:pPr>
              <a:r>
                <a:rPr kumimoji="0" lang="en-US" sz="1200" b="1" i="0" u="none" strike="noStrike" kern="1200" cap="none" spc="0" normalizeH="0" baseline="0" noProof="0" dirty="0">
                  <a:ln>
                    <a:noFill/>
                  </a:ln>
                  <a:solidFill>
                    <a:schemeClr val="tx1"/>
                  </a:solidFill>
                  <a:effectLst/>
                  <a:uLnTx/>
                  <a:uFillTx/>
                  <a:latin typeface="+mj-lt"/>
                  <a:ea typeface="+mn-ea"/>
                  <a:cs typeface="+mn-cs"/>
                </a:rPr>
                <a:t>Click to insert text</a:t>
              </a:r>
            </a:p>
          </p:txBody>
        </p:sp>
      </p:grpSp>
      <p:sp>
        <p:nvSpPr>
          <p:cNvPr id="31" name="Text Placeholder 7">
            <a:extLst>
              <a:ext uri="{FF2B5EF4-FFF2-40B4-BE49-F238E27FC236}">
                <a16:creationId xmlns:a16="http://schemas.microsoft.com/office/drawing/2014/main" id="{5AAEF36F-2753-4DC6-898C-49B56113E4F4}"/>
              </a:ext>
            </a:extLst>
          </p:cNvPr>
          <p:cNvSpPr txBox="1">
            <a:spLocks/>
          </p:cNvSpPr>
          <p:nvPr/>
        </p:nvSpPr>
        <p:spPr>
          <a:xfrm>
            <a:off x="3648873" y="1714385"/>
            <a:ext cx="1440160" cy="1152128"/>
          </a:xfrm>
          <a:prstGeom prst="rect">
            <a:avLst/>
          </a:prstGeom>
          <a:solidFill>
            <a:srgbClr val="0070AD"/>
          </a:solidFill>
        </p:spPr>
        <p:txBody>
          <a:bodyPr rIns="180000" anchor="ctr">
            <a:noAutofit/>
          </a:bodyPr>
          <a:lstStyle>
            <a:lvl1pPr algn="r">
              <a:lnSpc>
                <a:spcPct val="85000"/>
              </a:lnSpc>
              <a:spcBef>
                <a:spcPts val="600"/>
              </a:spcBef>
              <a:defRPr sz="1600" b="1">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r" defTabSz="914400" rtl="0" eaLnBrk="1" fontAlgn="auto" latinLnBrk="0" hangingPunct="1">
              <a:lnSpc>
                <a:spcPct val="85000"/>
              </a:lnSpc>
              <a:spcBef>
                <a:spcPts val="600"/>
              </a:spcBef>
              <a:spcAft>
                <a:spcPts val="0"/>
              </a:spcAft>
              <a:buClrTx/>
              <a:buSzTx/>
              <a:buFont typeface="Arial" panose="020B0604020202020204" pitchFamily="34" charset="0"/>
              <a:buNone/>
              <a:tabLst/>
              <a:defRPr/>
            </a:pPr>
            <a:r>
              <a:rPr kumimoji="0" lang="en-US" sz="1600" b="1" i="0" u="none" strike="noStrike" kern="1200" cap="none" spc="0" normalizeH="0" baseline="0" noProof="0" dirty="0">
                <a:ln>
                  <a:noFill/>
                </a:ln>
                <a:solidFill>
                  <a:schemeClr val="bg1"/>
                </a:solidFill>
                <a:effectLst/>
                <a:uLnTx/>
                <a:uFillTx/>
                <a:latin typeface="+mj-lt"/>
                <a:ea typeface="+mn-ea"/>
                <a:cs typeface="+mn-cs"/>
              </a:rPr>
              <a:t>Insert Group Name</a:t>
            </a:r>
          </a:p>
        </p:txBody>
      </p:sp>
      <p:sp>
        <p:nvSpPr>
          <p:cNvPr id="32" name="Text Placeholder 7">
            <a:extLst>
              <a:ext uri="{FF2B5EF4-FFF2-40B4-BE49-F238E27FC236}">
                <a16:creationId xmlns:a16="http://schemas.microsoft.com/office/drawing/2014/main" id="{AD94FF36-F4B8-4ED6-BB44-FDBFDBFA2A1C}"/>
              </a:ext>
            </a:extLst>
          </p:cNvPr>
          <p:cNvSpPr txBox="1">
            <a:spLocks/>
          </p:cNvSpPr>
          <p:nvPr/>
        </p:nvSpPr>
        <p:spPr>
          <a:xfrm>
            <a:off x="6385177" y="3185303"/>
            <a:ext cx="1440160" cy="1152128"/>
          </a:xfrm>
          <a:prstGeom prst="rect">
            <a:avLst/>
          </a:prstGeom>
          <a:solidFill>
            <a:srgbClr val="12ABDB"/>
          </a:solidFill>
        </p:spPr>
        <p:txBody>
          <a:bodyPr rIns="180000" anchor="ctr">
            <a:noAutofit/>
          </a:bodyPr>
          <a:lstStyle>
            <a:lvl1pPr algn="r">
              <a:lnSpc>
                <a:spcPct val="85000"/>
              </a:lnSpc>
              <a:spcBef>
                <a:spcPts val="600"/>
              </a:spcBef>
              <a:defRPr sz="1600" b="1">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r" defTabSz="914400" rtl="0" eaLnBrk="1" fontAlgn="auto" latinLnBrk="0" hangingPunct="1">
              <a:lnSpc>
                <a:spcPct val="85000"/>
              </a:lnSpc>
              <a:spcBef>
                <a:spcPts val="600"/>
              </a:spcBef>
              <a:spcAft>
                <a:spcPts val="0"/>
              </a:spcAft>
              <a:buClrTx/>
              <a:buSzTx/>
              <a:buFont typeface="Arial" panose="020B0604020202020204" pitchFamily="34" charset="0"/>
              <a:buNone/>
              <a:tabLst/>
              <a:defRPr/>
            </a:pPr>
            <a:r>
              <a:rPr kumimoji="0" lang="en-US" sz="1600" b="1" i="0" u="none" strike="noStrike" kern="1200" cap="none" spc="0" normalizeH="0" baseline="0" noProof="0" dirty="0">
                <a:ln>
                  <a:noFill/>
                </a:ln>
                <a:solidFill>
                  <a:schemeClr val="bg1"/>
                </a:solidFill>
                <a:effectLst/>
                <a:uLnTx/>
                <a:uFillTx/>
                <a:latin typeface="+mj-lt"/>
                <a:ea typeface="+mn-ea"/>
                <a:cs typeface="+mn-cs"/>
              </a:rPr>
              <a:t>Insert Group Name</a:t>
            </a:r>
          </a:p>
        </p:txBody>
      </p:sp>
      <p:sp>
        <p:nvSpPr>
          <p:cNvPr id="33" name="Rectangle 32">
            <a:extLst>
              <a:ext uri="{FF2B5EF4-FFF2-40B4-BE49-F238E27FC236}">
                <a16:creationId xmlns:a16="http://schemas.microsoft.com/office/drawing/2014/main" id="{404E50B0-1D58-4F15-A351-E3515806816D}"/>
              </a:ext>
            </a:extLst>
          </p:cNvPr>
          <p:cNvSpPr/>
          <p:nvPr/>
        </p:nvSpPr>
        <p:spPr>
          <a:xfrm>
            <a:off x="3591092" y="1673136"/>
            <a:ext cx="5012107"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kern="0" dirty="0">
              <a:solidFill>
                <a:srgbClr val="FFFFFF"/>
              </a:solidFill>
              <a:sym typeface="Arial"/>
            </a:endParaRPr>
          </a:p>
        </p:txBody>
      </p:sp>
      <p:sp>
        <p:nvSpPr>
          <p:cNvPr id="34" name="Rectangle 33">
            <a:extLst>
              <a:ext uri="{FF2B5EF4-FFF2-40B4-BE49-F238E27FC236}">
                <a16:creationId xmlns:a16="http://schemas.microsoft.com/office/drawing/2014/main" id="{AE59D603-4EF9-47FC-B148-3573A831D791}"/>
              </a:ext>
            </a:extLst>
          </p:cNvPr>
          <p:cNvSpPr/>
          <p:nvPr/>
        </p:nvSpPr>
        <p:spPr>
          <a:xfrm>
            <a:off x="6338961" y="3145620"/>
            <a:ext cx="5012107"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kern="0" dirty="0">
              <a:solidFill>
                <a:srgbClr val="FFFFFF"/>
              </a:solidFill>
              <a:sym typeface="Arial"/>
            </a:endParaRPr>
          </a:p>
        </p:txBody>
      </p:sp>
      <p:sp>
        <p:nvSpPr>
          <p:cNvPr id="35" name="Rectangle 34">
            <a:extLst>
              <a:ext uri="{FF2B5EF4-FFF2-40B4-BE49-F238E27FC236}">
                <a16:creationId xmlns:a16="http://schemas.microsoft.com/office/drawing/2014/main" id="{58AC5158-E8A1-44A7-8617-AC56F0DD1719}"/>
              </a:ext>
            </a:extLst>
          </p:cNvPr>
          <p:cNvSpPr/>
          <p:nvPr/>
        </p:nvSpPr>
        <p:spPr>
          <a:xfrm>
            <a:off x="840933" y="3145620"/>
            <a:ext cx="5012107"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kern="0" dirty="0">
              <a:solidFill>
                <a:srgbClr val="FFFFFF"/>
              </a:solidFill>
              <a:sym typeface="Arial"/>
            </a:endParaRPr>
          </a:p>
        </p:txBody>
      </p:sp>
      <p:sp>
        <p:nvSpPr>
          <p:cNvPr id="36" name="TextBox 35">
            <a:extLst>
              <a:ext uri="{FF2B5EF4-FFF2-40B4-BE49-F238E27FC236}">
                <a16:creationId xmlns:a16="http://schemas.microsoft.com/office/drawing/2014/main" id="{C761E736-25EA-4914-A717-28A039625E8C}"/>
              </a:ext>
            </a:extLst>
          </p:cNvPr>
          <p:cNvSpPr txBox="1"/>
          <p:nvPr/>
        </p:nvSpPr>
        <p:spPr>
          <a:xfrm>
            <a:off x="884488" y="3468285"/>
            <a:ext cx="1239750" cy="510909"/>
          </a:xfrm>
          <a:prstGeom prst="rect">
            <a:avLst/>
          </a:prstGeom>
          <a:noFill/>
        </p:spPr>
        <p:txBody>
          <a:bodyPr wrap="square" rtlCol="0">
            <a:spAutoFit/>
          </a:bodyPr>
          <a:lstStyle/>
          <a:p>
            <a:pPr algn="r">
              <a:lnSpc>
                <a:spcPct val="85000"/>
              </a:lnSpc>
            </a:pPr>
            <a:r>
              <a:rPr lang="en-US" sz="1600" b="1" kern="0" dirty="0">
                <a:solidFill>
                  <a:schemeClr val="bg1"/>
                </a:solidFill>
                <a:latin typeface="+mj-lt"/>
                <a:ea typeface="Georgia" charset="0"/>
                <a:cs typeface="Georgia" charset="0"/>
                <a:sym typeface="Arial"/>
              </a:rPr>
              <a:t>Group Name</a:t>
            </a:r>
          </a:p>
        </p:txBody>
      </p:sp>
      <p:cxnSp>
        <p:nvCxnSpPr>
          <p:cNvPr id="37" name="Straight Connector 36">
            <a:extLst>
              <a:ext uri="{FF2B5EF4-FFF2-40B4-BE49-F238E27FC236}">
                <a16:creationId xmlns:a16="http://schemas.microsoft.com/office/drawing/2014/main" id="{A898D83E-9F4A-4269-9BEB-326164B60B7C}"/>
              </a:ext>
            </a:extLst>
          </p:cNvPr>
          <p:cNvCxnSpPr>
            <a:cxnSpLocks/>
          </p:cNvCxnSpPr>
          <p:nvPr/>
        </p:nvCxnSpPr>
        <p:spPr>
          <a:xfrm>
            <a:off x="4368953" y="2916321"/>
            <a:ext cx="0" cy="216024"/>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787D369E-74E6-4DE1-ADB0-EB6EF05664B8}"/>
              </a:ext>
            </a:extLst>
          </p:cNvPr>
          <p:cNvCxnSpPr>
            <a:cxnSpLocks/>
          </p:cNvCxnSpPr>
          <p:nvPr/>
        </p:nvCxnSpPr>
        <p:spPr>
          <a:xfrm>
            <a:off x="7105257" y="2916321"/>
            <a:ext cx="0" cy="216024"/>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37AB8857-3B0E-4067-BC64-A4C0AE330199}"/>
              </a:ext>
            </a:extLst>
          </p:cNvPr>
          <p:cNvCxnSpPr>
            <a:cxnSpLocks/>
          </p:cNvCxnSpPr>
          <p:nvPr/>
        </p:nvCxnSpPr>
        <p:spPr>
          <a:xfrm>
            <a:off x="5881121" y="3760673"/>
            <a:ext cx="432048" cy="0"/>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sp>
        <p:nvSpPr>
          <p:cNvPr id="47" name="Text Placeholder 7">
            <a:extLst>
              <a:ext uri="{FF2B5EF4-FFF2-40B4-BE49-F238E27FC236}">
                <a16:creationId xmlns:a16="http://schemas.microsoft.com/office/drawing/2014/main" id="{0853CDE9-3036-46C6-AB9B-6C5E6B531E6E}"/>
              </a:ext>
            </a:extLst>
          </p:cNvPr>
          <p:cNvSpPr txBox="1">
            <a:spLocks/>
          </p:cNvSpPr>
          <p:nvPr/>
        </p:nvSpPr>
        <p:spPr>
          <a:xfrm>
            <a:off x="5158651" y="1848077"/>
            <a:ext cx="3314758" cy="880224"/>
          </a:xfrm>
          <a:prstGeom prst="rect">
            <a:avLst/>
          </a:prstGeom>
        </p:spPr>
        <p:txBody>
          <a:bodyPr>
            <a:noAutofit/>
          </a:bodyPr>
          <a:lstStyle>
            <a:lvl1pPr>
              <a:lnSpc>
                <a:spcPct val="85000"/>
              </a:lnSpc>
              <a:spcBef>
                <a:spcPts val="600"/>
              </a:spcBef>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173038" lvl="0" indent="-173038">
              <a:lnSpc>
                <a:spcPct val="90000"/>
              </a:lnSpc>
              <a:spcBef>
                <a:spcPts val="1000"/>
              </a:spcBef>
              <a:buClr>
                <a:srgbClr val="0070AD"/>
              </a:buClr>
              <a:buFont typeface="Arial" panose="020B0604020202020204" pitchFamily="34" charset="0"/>
              <a:buChar char="•"/>
              <a:defRPr/>
            </a:pPr>
            <a:r>
              <a:rPr lang="en-US" dirty="0"/>
              <a:t>Click to insert bullet point</a:t>
            </a:r>
          </a:p>
          <a:p>
            <a:pPr marL="173038" lvl="0" indent="-173038">
              <a:lnSpc>
                <a:spcPct val="90000"/>
              </a:lnSpc>
              <a:spcBef>
                <a:spcPts val="1000"/>
              </a:spcBef>
              <a:buClr>
                <a:srgbClr val="0070AD"/>
              </a:buClr>
              <a:buFont typeface="Arial" panose="020B0604020202020204" pitchFamily="34" charset="0"/>
              <a:buChar char="•"/>
              <a:defRPr/>
            </a:pPr>
            <a:r>
              <a:rPr lang="en-US" dirty="0"/>
              <a:t>Click to insert bullet point</a:t>
            </a:r>
          </a:p>
          <a:p>
            <a:pPr marL="173038" lvl="0" indent="-173038">
              <a:lnSpc>
                <a:spcPct val="90000"/>
              </a:lnSpc>
              <a:spcBef>
                <a:spcPts val="1000"/>
              </a:spcBef>
              <a:buClr>
                <a:srgbClr val="0070AD"/>
              </a:buClr>
              <a:buFont typeface="Arial" panose="020B0604020202020204" pitchFamily="34" charset="0"/>
              <a:buChar char="•"/>
              <a:defRPr/>
            </a:pPr>
            <a:r>
              <a:rPr lang="en-US" dirty="0"/>
              <a:t>Click to insert bullet point</a:t>
            </a:r>
          </a:p>
        </p:txBody>
      </p:sp>
      <p:sp>
        <p:nvSpPr>
          <p:cNvPr id="48" name="Text Placeholder 7">
            <a:extLst>
              <a:ext uri="{FF2B5EF4-FFF2-40B4-BE49-F238E27FC236}">
                <a16:creationId xmlns:a16="http://schemas.microsoft.com/office/drawing/2014/main" id="{41BEF085-D952-4028-B6B4-18F2CB2BE51E}"/>
              </a:ext>
            </a:extLst>
          </p:cNvPr>
          <p:cNvSpPr txBox="1">
            <a:spLocks/>
          </p:cNvSpPr>
          <p:nvPr/>
        </p:nvSpPr>
        <p:spPr>
          <a:xfrm>
            <a:off x="2392987" y="3320561"/>
            <a:ext cx="3314758" cy="880224"/>
          </a:xfrm>
          <a:prstGeom prst="rect">
            <a:avLst/>
          </a:prstGeom>
        </p:spPr>
        <p:txBody>
          <a:bodyPr>
            <a:noAutofit/>
          </a:bodyPr>
          <a:lstStyle>
            <a:lvl1pPr>
              <a:lnSpc>
                <a:spcPct val="85000"/>
              </a:lnSpc>
              <a:spcBef>
                <a:spcPts val="600"/>
              </a:spcBef>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173038" lvl="0" indent="-173038">
              <a:lnSpc>
                <a:spcPct val="90000"/>
              </a:lnSpc>
              <a:spcBef>
                <a:spcPts val="1000"/>
              </a:spcBef>
              <a:buClr>
                <a:srgbClr val="0070AD"/>
              </a:buClr>
              <a:buFont typeface="Arial" panose="020B0604020202020204" pitchFamily="34" charset="0"/>
              <a:buChar char="•"/>
              <a:defRPr/>
            </a:pPr>
            <a:r>
              <a:rPr lang="en-US" dirty="0"/>
              <a:t>Click to insert bullet point</a:t>
            </a:r>
          </a:p>
          <a:p>
            <a:pPr marL="173038" lvl="0" indent="-173038">
              <a:lnSpc>
                <a:spcPct val="90000"/>
              </a:lnSpc>
              <a:spcBef>
                <a:spcPts val="1000"/>
              </a:spcBef>
              <a:buClr>
                <a:srgbClr val="0070AD"/>
              </a:buClr>
              <a:buFont typeface="Arial" panose="020B0604020202020204" pitchFamily="34" charset="0"/>
              <a:buChar char="•"/>
              <a:defRPr/>
            </a:pPr>
            <a:r>
              <a:rPr lang="en-US" dirty="0"/>
              <a:t>Click to insert bullet point</a:t>
            </a:r>
          </a:p>
          <a:p>
            <a:pPr marL="173038" lvl="0" indent="-173038">
              <a:lnSpc>
                <a:spcPct val="90000"/>
              </a:lnSpc>
              <a:spcBef>
                <a:spcPts val="1000"/>
              </a:spcBef>
              <a:buClr>
                <a:srgbClr val="0070AD"/>
              </a:buClr>
              <a:buFont typeface="Arial" panose="020B0604020202020204" pitchFamily="34" charset="0"/>
              <a:buChar char="•"/>
              <a:defRPr/>
            </a:pPr>
            <a:r>
              <a:rPr lang="en-US" dirty="0"/>
              <a:t>Click to insert bullet point</a:t>
            </a:r>
          </a:p>
        </p:txBody>
      </p:sp>
      <p:sp>
        <p:nvSpPr>
          <p:cNvPr id="49" name="Text Placeholder 7">
            <a:extLst>
              <a:ext uri="{FF2B5EF4-FFF2-40B4-BE49-F238E27FC236}">
                <a16:creationId xmlns:a16="http://schemas.microsoft.com/office/drawing/2014/main" id="{25AB3DC5-A8F4-44C0-B0E0-2B42559A081F}"/>
              </a:ext>
            </a:extLst>
          </p:cNvPr>
          <p:cNvSpPr txBox="1">
            <a:spLocks/>
          </p:cNvSpPr>
          <p:nvPr/>
        </p:nvSpPr>
        <p:spPr>
          <a:xfrm>
            <a:off x="7897767" y="3320561"/>
            <a:ext cx="3314758" cy="880224"/>
          </a:xfrm>
          <a:prstGeom prst="rect">
            <a:avLst/>
          </a:prstGeom>
        </p:spPr>
        <p:txBody>
          <a:bodyPr>
            <a:noAutofit/>
          </a:bodyPr>
          <a:lstStyle>
            <a:lvl1pPr>
              <a:lnSpc>
                <a:spcPct val="85000"/>
              </a:lnSpc>
              <a:spcBef>
                <a:spcPts val="600"/>
              </a:spcBef>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173038" lvl="0" indent="-173038">
              <a:lnSpc>
                <a:spcPct val="90000"/>
              </a:lnSpc>
              <a:spcBef>
                <a:spcPts val="1000"/>
              </a:spcBef>
              <a:buClr>
                <a:srgbClr val="0070AD"/>
              </a:buClr>
              <a:buFont typeface="Arial" panose="020B0604020202020204" pitchFamily="34" charset="0"/>
              <a:buChar char="•"/>
              <a:defRPr/>
            </a:pPr>
            <a:r>
              <a:rPr lang="en-US" dirty="0"/>
              <a:t>Click to insert bullet point</a:t>
            </a:r>
          </a:p>
          <a:p>
            <a:pPr marL="173038" lvl="0" indent="-173038">
              <a:lnSpc>
                <a:spcPct val="90000"/>
              </a:lnSpc>
              <a:spcBef>
                <a:spcPts val="1000"/>
              </a:spcBef>
              <a:buClr>
                <a:srgbClr val="0070AD"/>
              </a:buClr>
              <a:buFont typeface="Arial" panose="020B0604020202020204" pitchFamily="34" charset="0"/>
              <a:buChar char="•"/>
              <a:defRPr/>
            </a:pPr>
            <a:r>
              <a:rPr lang="en-US" dirty="0"/>
              <a:t>Click to insert bullet point</a:t>
            </a:r>
          </a:p>
          <a:p>
            <a:pPr marL="173038" lvl="0" indent="-173038">
              <a:lnSpc>
                <a:spcPct val="90000"/>
              </a:lnSpc>
              <a:spcBef>
                <a:spcPts val="1000"/>
              </a:spcBef>
              <a:buClr>
                <a:srgbClr val="0070AD"/>
              </a:buClr>
              <a:buFont typeface="Arial" panose="020B0604020202020204" pitchFamily="34" charset="0"/>
              <a:buChar char="•"/>
              <a:defRPr/>
            </a:pPr>
            <a:r>
              <a:rPr lang="en-US" dirty="0"/>
              <a:t>Click to insert bullet point</a:t>
            </a:r>
          </a:p>
        </p:txBody>
      </p:sp>
      <p:sp>
        <p:nvSpPr>
          <p:cNvPr id="50" name="Text Placeholder 7">
            <a:extLst>
              <a:ext uri="{FF2B5EF4-FFF2-40B4-BE49-F238E27FC236}">
                <a16:creationId xmlns:a16="http://schemas.microsoft.com/office/drawing/2014/main" id="{C9C72BE0-AF43-4AA8-8142-178566D9F143}"/>
              </a:ext>
            </a:extLst>
          </p:cNvPr>
          <p:cNvSpPr txBox="1">
            <a:spLocks/>
          </p:cNvSpPr>
          <p:nvPr/>
        </p:nvSpPr>
        <p:spPr>
          <a:xfrm>
            <a:off x="882208" y="3184410"/>
            <a:ext cx="1440160" cy="1152128"/>
          </a:xfrm>
          <a:prstGeom prst="rect">
            <a:avLst/>
          </a:prstGeom>
          <a:solidFill>
            <a:srgbClr val="12ABDB"/>
          </a:solidFill>
        </p:spPr>
        <p:txBody>
          <a:bodyPr rIns="180000" anchor="ctr">
            <a:noAutofit/>
          </a:bodyPr>
          <a:lstStyle>
            <a:lvl1pPr algn="r">
              <a:lnSpc>
                <a:spcPct val="85000"/>
              </a:lnSpc>
              <a:spcBef>
                <a:spcPts val="600"/>
              </a:spcBef>
              <a:defRPr sz="1600" b="1">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r" defTabSz="914400" rtl="0" eaLnBrk="1" fontAlgn="auto" latinLnBrk="0" hangingPunct="1">
              <a:lnSpc>
                <a:spcPct val="85000"/>
              </a:lnSpc>
              <a:spcBef>
                <a:spcPts val="600"/>
              </a:spcBef>
              <a:spcAft>
                <a:spcPts val="0"/>
              </a:spcAft>
              <a:buClrTx/>
              <a:buSzTx/>
              <a:buFont typeface="Arial" panose="020B0604020202020204" pitchFamily="34" charset="0"/>
              <a:buNone/>
              <a:tabLst/>
              <a:defRPr/>
            </a:pPr>
            <a:r>
              <a:rPr kumimoji="0" lang="en-US" sz="1600" b="1" i="0" u="none" strike="noStrike" kern="1200" cap="none" spc="0" normalizeH="0" baseline="0" noProof="0" dirty="0">
                <a:ln>
                  <a:noFill/>
                </a:ln>
                <a:solidFill>
                  <a:schemeClr val="bg1"/>
                </a:solidFill>
                <a:effectLst/>
                <a:uLnTx/>
                <a:uFillTx/>
                <a:latin typeface="+mj-lt"/>
                <a:ea typeface="+mn-ea"/>
                <a:cs typeface="+mn-cs"/>
              </a:rPr>
              <a:t>Insert Group Name</a:t>
            </a:r>
          </a:p>
        </p:txBody>
      </p:sp>
      <p:sp>
        <p:nvSpPr>
          <p:cNvPr id="54" name="Rectangle 53"/>
          <p:cNvSpPr/>
          <p:nvPr/>
        </p:nvSpPr>
        <p:spPr>
          <a:xfrm>
            <a:off x="3346986" y="4842621"/>
            <a:ext cx="0" cy="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cxnSp>
        <p:nvCxnSpPr>
          <p:cNvPr id="56" name="Shape 55"/>
          <p:cNvCxnSpPr>
            <a:stCxn id="26" idx="0"/>
            <a:endCxn id="54" idx="1"/>
          </p:cNvCxnSpPr>
          <p:nvPr/>
        </p:nvCxnSpPr>
        <p:spPr>
          <a:xfrm rot="5400000" flipH="1" flipV="1">
            <a:off x="2262659" y="4142732"/>
            <a:ext cx="384437" cy="1784217"/>
          </a:xfrm>
          <a:prstGeom prst="bentConnector2">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8" name="Shape 57"/>
          <p:cNvCxnSpPr>
            <a:stCxn id="27" idx="0"/>
            <a:endCxn id="54" idx="3"/>
          </p:cNvCxnSpPr>
          <p:nvPr/>
        </p:nvCxnSpPr>
        <p:spPr>
          <a:xfrm rot="16200000" flipV="1">
            <a:off x="3390446" y="4799161"/>
            <a:ext cx="391088" cy="478007"/>
          </a:xfrm>
          <a:prstGeom prst="bentConnector2">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0" name="Shape 59"/>
          <p:cNvCxnSpPr>
            <a:stCxn id="28" idx="0"/>
            <a:endCxn id="54" idx="3"/>
          </p:cNvCxnSpPr>
          <p:nvPr/>
        </p:nvCxnSpPr>
        <p:spPr>
          <a:xfrm rot="16200000" flipV="1">
            <a:off x="4524692" y="3664915"/>
            <a:ext cx="391088" cy="2746500"/>
          </a:xfrm>
          <a:prstGeom prst="bentConnector2">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2" name="Shape 61"/>
          <p:cNvCxnSpPr>
            <a:stCxn id="29" idx="0"/>
            <a:endCxn id="54" idx="3"/>
          </p:cNvCxnSpPr>
          <p:nvPr/>
        </p:nvCxnSpPr>
        <p:spPr>
          <a:xfrm rot="16200000" flipV="1">
            <a:off x="5662030" y="2527578"/>
            <a:ext cx="384287" cy="5014374"/>
          </a:xfrm>
          <a:prstGeom prst="bentConnector2">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4" name="Shape 63"/>
          <p:cNvCxnSpPr>
            <a:stCxn id="30" idx="0"/>
            <a:endCxn id="54" idx="3"/>
          </p:cNvCxnSpPr>
          <p:nvPr/>
        </p:nvCxnSpPr>
        <p:spPr>
          <a:xfrm rot="16200000" flipV="1">
            <a:off x="6795967" y="1393641"/>
            <a:ext cx="384287" cy="7282247"/>
          </a:xfrm>
          <a:prstGeom prst="bentConnector2">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6" name="Straight Connector 65"/>
          <p:cNvCxnSpPr>
            <a:stCxn id="54" idx="0"/>
            <a:endCxn id="35" idx="2"/>
          </p:cNvCxnSpPr>
          <p:nvPr/>
        </p:nvCxnSpPr>
        <p:spPr>
          <a:xfrm flipV="1">
            <a:off x="3346986" y="4375726"/>
            <a:ext cx="1" cy="466895"/>
          </a:xfrm>
          <a:prstGeom prst="line">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spTree>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Obraz 9">
            <a:extLst>
              <a:ext uri="{FF2B5EF4-FFF2-40B4-BE49-F238E27FC236}">
                <a16:creationId xmlns:a16="http://schemas.microsoft.com/office/drawing/2014/main" id="{AEA1C754-D632-4625-89CB-B65B4FB49AC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987101" y="1821452"/>
            <a:ext cx="6382284" cy="4467599"/>
          </a:xfrm>
          <a:prstGeom prst="rect">
            <a:avLst/>
          </a:prstGeom>
        </p:spPr>
      </p:pic>
      <p:sp>
        <p:nvSpPr>
          <p:cNvPr id="2" name="Tytuł 1">
            <a:extLst>
              <a:ext uri="{FF2B5EF4-FFF2-40B4-BE49-F238E27FC236}">
                <a16:creationId xmlns:a16="http://schemas.microsoft.com/office/drawing/2014/main" id="{DEA935F7-2904-40FF-A73D-3CCC59AF658E}"/>
              </a:ext>
            </a:extLst>
          </p:cNvPr>
          <p:cNvSpPr>
            <a:spLocks noGrp="1"/>
          </p:cNvSpPr>
          <p:nvPr>
            <p:ph type="title"/>
          </p:nvPr>
        </p:nvSpPr>
        <p:spPr/>
        <p:txBody>
          <a:bodyPr/>
          <a:lstStyle/>
          <a:p>
            <a:r>
              <a:rPr lang="en-US" dirty="0"/>
              <a:t>Async Main method</a:t>
            </a:r>
          </a:p>
        </p:txBody>
      </p:sp>
      <p:sp>
        <p:nvSpPr>
          <p:cNvPr id="4" name="Symbol zastępczy tekstu 3">
            <a:extLst>
              <a:ext uri="{FF2B5EF4-FFF2-40B4-BE49-F238E27FC236}">
                <a16:creationId xmlns:a16="http://schemas.microsoft.com/office/drawing/2014/main" id="{5AE649E8-E6A2-4473-82C4-13CDFACEAAA5}"/>
              </a:ext>
            </a:extLst>
          </p:cNvPr>
          <p:cNvSpPr>
            <a:spLocks noGrp="1"/>
          </p:cNvSpPr>
          <p:nvPr>
            <p:ph type="body" sz="quarter" idx="11"/>
          </p:nvPr>
        </p:nvSpPr>
        <p:spPr/>
        <p:txBody>
          <a:bodyPr/>
          <a:lstStyle/>
          <a:p>
            <a:r>
              <a:rPr lang="en-US" dirty="0"/>
              <a:t>C# 7.0, asynchronous, Tasks</a:t>
            </a:r>
          </a:p>
          <a:p>
            <a:endParaRPr lang="en-US" dirty="0"/>
          </a:p>
        </p:txBody>
      </p:sp>
      <p:sp>
        <p:nvSpPr>
          <p:cNvPr id="5" name="Symbol zastępczy tekstu 4">
            <a:extLst>
              <a:ext uri="{FF2B5EF4-FFF2-40B4-BE49-F238E27FC236}">
                <a16:creationId xmlns:a16="http://schemas.microsoft.com/office/drawing/2014/main" id="{026454BF-D147-4265-B180-0D1A4FC7A23F}"/>
              </a:ext>
            </a:extLst>
          </p:cNvPr>
          <p:cNvSpPr>
            <a:spLocks noGrp="1"/>
          </p:cNvSpPr>
          <p:nvPr>
            <p:ph type="body" sz="quarter" idx="12"/>
          </p:nvPr>
        </p:nvSpPr>
        <p:spPr/>
        <p:txBody>
          <a:bodyPr/>
          <a:lstStyle/>
          <a:p>
            <a:r>
              <a:rPr lang="en-US" dirty="0"/>
              <a:t>2</a:t>
            </a:r>
          </a:p>
        </p:txBody>
      </p:sp>
    </p:spTree>
    <p:extLst>
      <p:ext uri="{BB962C8B-B14F-4D97-AF65-F5344CB8AC3E}">
        <p14:creationId xmlns:p14="http://schemas.microsoft.com/office/powerpoint/2010/main" val="84022207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Obraz 10">
            <a:extLst>
              <a:ext uri="{FF2B5EF4-FFF2-40B4-BE49-F238E27FC236}">
                <a16:creationId xmlns:a16="http://schemas.microsoft.com/office/drawing/2014/main" id="{CBA42F9E-024D-4A86-AF1E-896285D0395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983537" y="1821452"/>
            <a:ext cx="8004768" cy="4467599"/>
          </a:xfrm>
          <a:prstGeom prst="rect">
            <a:avLst/>
          </a:prstGeom>
        </p:spPr>
      </p:pic>
      <p:sp>
        <p:nvSpPr>
          <p:cNvPr id="2" name="Tytuł 1">
            <a:extLst>
              <a:ext uri="{FF2B5EF4-FFF2-40B4-BE49-F238E27FC236}">
                <a16:creationId xmlns:a16="http://schemas.microsoft.com/office/drawing/2014/main" id="{DEA935F7-2904-40FF-A73D-3CCC59AF658E}"/>
              </a:ext>
            </a:extLst>
          </p:cNvPr>
          <p:cNvSpPr>
            <a:spLocks noGrp="1"/>
          </p:cNvSpPr>
          <p:nvPr>
            <p:ph type="title"/>
          </p:nvPr>
        </p:nvSpPr>
        <p:spPr/>
        <p:txBody>
          <a:bodyPr/>
          <a:lstStyle/>
          <a:p>
            <a:r>
              <a:rPr lang="en-US" dirty="0"/>
              <a:t>Async Main method</a:t>
            </a:r>
          </a:p>
        </p:txBody>
      </p:sp>
      <p:sp>
        <p:nvSpPr>
          <p:cNvPr id="4" name="Symbol zastępczy tekstu 3">
            <a:extLst>
              <a:ext uri="{FF2B5EF4-FFF2-40B4-BE49-F238E27FC236}">
                <a16:creationId xmlns:a16="http://schemas.microsoft.com/office/drawing/2014/main" id="{5AE649E8-E6A2-4473-82C4-13CDFACEAAA5}"/>
              </a:ext>
            </a:extLst>
          </p:cNvPr>
          <p:cNvSpPr>
            <a:spLocks noGrp="1"/>
          </p:cNvSpPr>
          <p:nvPr>
            <p:ph type="body" sz="quarter" idx="11"/>
          </p:nvPr>
        </p:nvSpPr>
        <p:spPr/>
        <p:txBody>
          <a:bodyPr/>
          <a:lstStyle/>
          <a:p>
            <a:r>
              <a:rPr lang="en-US" dirty="0"/>
              <a:t>C# 7.0, async</a:t>
            </a:r>
          </a:p>
          <a:p>
            <a:endParaRPr lang="en-US" dirty="0"/>
          </a:p>
        </p:txBody>
      </p:sp>
      <p:sp>
        <p:nvSpPr>
          <p:cNvPr id="5" name="Symbol zastępczy tekstu 4">
            <a:extLst>
              <a:ext uri="{FF2B5EF4-FFF2-40B4-BE49-F238E27FC236}">
                <a16:creationId xmlns:a16="http://schemas.microsoft.com/office/drawing/2014/main" id="{026454BF-D147-4265-B180-0D1A4FC7A23F}"/>
              </a:ext>
            </a:extLst>
          </p:cNvPr>
          <p:cNvSpPr>
            <a:spLocks noGrp="1"/>
          </p:cNvSpPr>
          <p:nvPr>
            <p:ph type="body" sz="quarter" idx="12"/>
          </p:nvPr>
        </p:nvSpPr>
        <p:spPr/>
        <p:txBody>
          <a:bodyPr/>
          <a:lstStyle/>
          <a:p>
            <a:r>
              <a:rPr lang="en-US" dirty="0"/>
              <a:t>3</a:t>
            </a:r>
          </a:p>
        </p:txBody>
      </p:sp>
    </p:spTree>
    <p:extLst>
      <p:ext uri="{BB962C8B-B14F-4D97-AF65-F5344CB8AC3E}">
        <p14:creationId xmlns:p14="http://schemas.microsoft.com/office/powerpoint/2010/main" val="141564040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Obraz 7">
            <a:extLst>
              <a:ext uri="{FF2B5EF4-FFF2-40B4-BE49-F238E27FC236}">
                <a16:creationId xmlns:a16="http://schemas.microsoft.com/office/drawing/2014/main" id="{1007853A-E0AF-4828-AB21-E669E4AF09D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987102" y="1821452"/>
            <a:ext cx="6335496" cy="4461725"/>
          </a:xfrm>
          <a:prstGeom prst="rect">
            <a:avLst/>
          </a:prstGeom>
        </p:spPr>
      </p:pic>
      <p:sp>
        <p:nvSpPr>
          <p:cNvPr id="2" name="Tytuł 1">
            <a:extLst>
              <a:ext uri="{FF2B5EF4-FFF2-40B4-BE49-F238E27FC236}">
                <a16:creationId xmlns:a16="http://schemas.microsoft.com/office/drawing/2014/main" id="{DEA935F7-2904-40FF-A73D-3CCC59AF658E}"/>
              </a:ext>
            </a:extLst>
          </p:cNvPr>
          <p:cNvSpPr>
            <a:spLocks noGrp="1"/>
          </p:cNvSpPr>
          <p:nvPr>
            <p:ph type="title"/>
          </p:nvPr>
        </p:nvSpPr>
        <p:spPr/>
        <p:txBody>
          <a:bodyPr/>
          <a:lstStyle/>
          <a:p>
            <a:r>
              <a:rPr lang="en-US" dirty="0"/>
              <a:t>Async Main method</a:t>
            </a:r>
          </a:p>
        </p:txBody>
      </p:sp>
      <p:sp>
        <p:nvSpPr>
          <p:cNvPr id="4" name="Symbol zastępczy tekstu 3">
            <a:extLst>
              <a:ext uri="{FF2B5EF4-FFF2-40B4-BE49-F238E27FC236}">
                <a16:creationId xmlns:a16="http://schemas.microsoft.com/office/drawing/2014/main" id="{5AE649E8-E6A2-4473-82C4-13CDFACEAAA5}"/>
              </a:ext>
            </a:extLst>
          </p:cNvPr>
          <p:cNvSpPr>
            <a:spLocks noGrp="1"/>
          </p:cNvSpPr>
          <p:nvPr>
            <p:ph type="body" sz="quarter" idx="11"/>
          </p:nvPr>
        </p:nvSpPr>
        <p:spPr/>
        <p:txBody>
          <a:bodyPr/>
          <a:lstStyle/>
          <a:p>
            <a:r>
              <a:rPr lang="en-US" dirty="0"/>
              <a:t>C# 7.0, async, awaiter</a:t>
            </a:r>
          </a:p>
          <a:p>
            <a:endParaRPr lang="en-US" dirty="0"/>
          </a:p>
        </p:txBody>
      </p:sp>
      <p:sp>
        <p:nvSpPr>
          <p:cNvPr id="5" name="Symbol zastępczy tekstu 4">
            <a:extLst>
              <a:ext uri="{FF2B5EF4-FFF2-40B4-BE49-F238E27FC236}">
                <a16:creationId xmlns:a16="http://schemas.microsoft.com/office/drawing/2014/main" id="{026454BF-D147-4265-B180-0D1A4FC7A23F}"/>
              </a:ext>
            </a:extLst>
          </p:cNvPr>
          <p:cNvSpPr>
            <a:spLocks noGrp="1"/>
          </p:cNvSpPr>
          <p:nvPr>
            <p:ph type="body" sz="quarter" idx="12"/>
          </p:nvPr>
        </p:nvSpPr>
        <p:spPr/>
        <p:txBody>
          <a:bodyPr/>
          <a:lstStyle/>
          <a:p>
            <a:r>
              <a:rPr lang="en-US" dirty="0"/>
              <a:t>4</a:t>
            </a:r>
          </a:p>
        </p:txBody>
      </p:sp>
    </p:spTree>
    <p:extLst>
      <p:ext uri="{BB962C8B-B14F-4D97-AF65-F5344CB8AC3E}">
        <p14:creationId xmlns:p14="http://schemas.microsoft.com/office/powerpoint/2010/main" val="146422642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Obraz 9">
            <a:extLst>
              <a:ext uri="{FF2B5EF4-FFF2-40B4-BE49-F238E27FC236}">
                <a16:creationId xmlns:a16="http://schemas.microsoft.com/office/drawing/2014/main" id="{C0A3FCAC-3AE7-492F-9EED-5A0555CAAE2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991691" y="1821455"/>
            <a:ext cx="8004766" cy="4467598"/>
          </a:xfrm>
          <a:prstGeom prst="rect">
            <a:avLst/>
          </a:prstGeom>
        </p:spPr>
      </p:pic>
      <p:sp>
        <p:nvSpPr>
          <p:cNvPr id="2" name="Tytuł 1">
            <a:extLst>
              <a:ext uri="{FF2B5EF4-FFF2-40B4-BE49-F238E27FC236}">
                <a16:creationId xmlns:a16="http://schemas.microsoft.com/office/drawing/2014/main" id="{DEA935F7-2904-40FF-A73D-3CCC59AF658E}"/>
              </a:ext>
            </a:extLst>
          </p:cNvPr>
          <p:cNvSpPr>
            <a:spLocks noGrp="1"/>
          </p:cNvSpPr>
          <p:nvPr>
            <p:ph type="title"/>
          </p:nvPr>
        </p:nvSpPr>
        <p:spPr/>
        <p:txBody>
          <a:bodyPr/>
          <a:lstStyle/>
          <a:p>
            <a:r>
              <a:rPr lang="en-US" dirty="0"/>
              <a:t>Async Main method</a:t>
            </a:r>
          </a:p>
        </p:txBody>
      </p:sp>
      <p:sp>
        <p:nvSpPr>
          <p:cNvPr id="4" name="Symbol zastępczy tekstu 3">
            <a:extLst>
              <a:ext uri="{FF2B5EF4-FFF2-40B4-BE49-F238E27FC236}">
                <a16:creationId xmlns:a16="http://schemas.microsoft.com/office/drawing/2014/main" id="{5AE649E8-E6A2-4473-82C4-13CDFACEAAA5}"/>
              </a:ext>
            </a:extLst>
          </p:cNvPr>
          <p:cNvSpPr>
            <a:spLocks noGrp="1"/>
          </p:cNvSpPr>
          <p:nvPr>
            <p:ph type="body" sz="quarter" idx="11"/>
          </p:nvPr>
        </p:nvSpPr>
        <p:spPr/>
        <p:txBody>
          <a:bodyPr/>
          <a:lstStyle/>
          <a:p>
            <a:r>
              <a:rPr lang="en-US" dirty="0"/>
              <a:t>C# 7.1, async</a:t>
            </a:r>
          </a:p>
          <a:p>
            <a:endParaRPr lang="en-US" dirty="0"/>
          </a:p>
        </p:txBody>
      </p:sp>
      <p:sp>
        <p:nvSpPr>
          <p:cNvPr id="5" name="Symbol zastępczy tekstu 4">
            <a:extLst>
              <a:ext uri="{FF2B5EF4-FFF2-40B4-BE49-F238E27FC236}">
                <a16:creationId xmlns:a16="http://schemas.microsoft.com/office/drawing/2014/main" id="{026454BF-D147-4265-B180-0D1A4FC7A23F}"/>
              </a:ext>
            </a:extLst>
          </p:cNvPr>
          <p:cNvSpPr>
            <a:spLocks noGrp="1"/>
          </p:cNvSpPr>
          <p:nvPr>
            <p:ph type="body" sz="quarter" idx="12"/>
          </p:nvPr>
        </p:nvSpPr>
        <p:spPr/>
        <p:txBody>
          <a:bodyPr/>
          <a:lstStyle/>
          <a:p>
            <a:r>
              <a:rPr lang="en-US" dirty="0"/>
              <a:t>5</a:t>
            </a:r>
          </a:p>
        </p:txBody>
      </p:sp>
    </p:spTree>
    <p:extLst>
      <p:ext uri="{BB962C8B-B14F-4D97-AF65-F5344CB8AC3E}">
        <p14:creationId xmlns:p14="http://schemas.microsoft.com/office/powerpoint/2010/main" val="232830164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pl-PL" dirty="0"/>
              <a:t>Agenda</a:t>
            </a:r>
            <a:endParaRPr lang="en-GB" dirty="0"/>
          </a:p>
        </p:txBody>
      </p:sp>
      <p:sp>
        <p:nvSpPr>
          <p:cNvPr id="5" name="Text Placeholder 4"/>
          <p:cNvSpPr>
            <a:spLocks noGrp="1"/>
          </p:cNvSpPr>
          <p:nvPr>
            <p:ph type="body" sz="quarter" idx="10"/>
          </p:nvPr>
        </p:nvSpPr>
        <p:spPr/>
        <p:txBody>
          <a:bodyPr/>
          <a:lstStyle/>
          <a:p>
            <a:pPr lvl="1"/>
            <a:r>
              <a:rPr lang="en-US" dirty="0">
                <a:solidFill>
                  <a:schemeClr val="bg1">
                    <a:lumMod val="95000"/>
                  </a:schemeClr>
                </a:solidFill>
              </a:rPr>
              <a:t>Introduction</a:t>
            </a:r>
          </a:p>
          <a:p>
            <a:pPr lvl="2"/>
            <a:r>
              <a:rPr lang="en-US" dirty="0">
                <a:solidFill>
                  <a:schemeClr val="bg1">
                    <a:lumMod val="95000"/>
                  </a:schemeClr>
                </a:solidFill>
              </a:rPr>
              <a:t>The recent C# versions timeline,</a:t>
            </a:r>
          </a:p>
          <a:p>
            <a:pPr lvl="2"/>
            <a:r>
              <a:rPr lang="en-US" dirty="0">
                <a:solidFill>
                  <a:schemeClr val="bg1">
                    <a:lumMod val="95000"/>
                  </a:schemeClr>
                </a:solidFill>
              </a:rPr>
              <a:t>C# 8.0 pre-requirements,</a:t>
            </a:r>
          </a:p>
          <a:p>
            <a:pPr lvl="2"/>
            <a:r>
              <a:rPr lang="en-US" dirty="0">
                <a:solidFill>
                  <a:schemeClr val="bg1">
                    <a:lumMod val="95000"/>
                  </a:schemeClr>
                </a:solidFill>
              </a:rPr>
              <a:t>dive into an example.</a:t>
            </a:r>
          </a:p>
          <a:p>
            <a:pPr lvl="1"/>
            <a:r>
              <a:rPr lang="en-US" dirty="0">
                <a:solidFill>
                  <a:schemeClr val="bg1">
                    <a:lumMod val="95000"/>
                  </a:schemeClr>
                </a:solidFill>
              </a:rPr>
              <a:t>What’s new in C# 7.1</a:t>
            </a:r>
          </a:p>
          <a:p>
            <a:pPr lvl="2"/>
            <a:r>
              <a:rPr lang="en-US" dirty="0">
                <a:solidFill>
                  <a:schemeClr val="bg1">
                    <a:lumMod val="95000"/>
                  </a:schemeClr>
                </a:solidFill>
              </a:rPr>
              <a:t>Async Main method,</a:t>
            </a:r>
          </a:p>
          <a:p>
            <a:pPr lvl="2"/>
            <a:r>
              <a:rPr lang="en-US" dirty="0">
                <a:solidFill>
                  <a:schemeClr val="bg1">
                    <a:lumMod val="95000"/>
                  </a:schemeClr>
                </a:solidFill>
              </a:rPr>
              <a:t>default literal expressions,</a:t>
            </a:r>
          </a:p>
          <a:p>
            <a:pPr lvl="2"/>
            <a:r>
              <a:rPr lang="en-US" dirty="0">
                <a:solidFill>
                  <a:schemeClr val="bg1">
                    <a:lumMod val="95000"/>
                  </a:schemeClr>
                </a:solidFill>
              </a:rPr>
              <a:t>inferred tuple element names.</a:t>
            </a:r>
          </a:p>
          <a:p>
            <a:pPr lvl="1"/>
            <a:r>
              <a:rPr lang="en-US" dirty="0">
                <a:solidFill>
                  <a:schemeClr val="bg1">
                    <a:lumMod val="95000"/>
                  </a:schemeClr>
                </a:solidFill>
              </a:rPr>
              <a:t>What’s new in C# 7.2</a:t>
            </a:r>
          </a:p>
          <a:p>
            <a:pPr lvl="2"/>
            <a:r>
              <a:rPr lang="en-US" dirty="0">
                <a:solidFill>
                  <a:schemeClr val="bg1">
                    <a:lumMod val="95000"/>
                  </a:schemeClr>
                </a:solidFill>
              </a:rPr>
              <a:t>Safe efficient code enhancements,</a:t>
            </a:r>
          </a:p>
          <a:p>
            <a:pPr lvl="2"/>
            <a:r>
              <a:rPr lang="en-US" dirty="0">
                <a:solidFill>
                  <a:schemeClr val="bg1">
                    <a:lumMod val="95000"/>
                  </a:schemeClr>
                </a:solidFill>
              </a:rPr>
              <a:t>non-trailing named arguments,</a:t>
            </a:r>
          </a:p>
          <a:p>
            <a:pPr lvl="2"/>
            <a:r>
              <a:rPr lang="en-US" dirty="0">
                <a:solidFill>
                  <a:schemeClr val="bg1">
                    <a:lumMod val="95000"/>
                  </a:schemeClr>
                </a:solidFill>
              </a:rPr>
              <a:t>leading underscores in numeric literals,</a:t>
            </a:r>
          </a:p>
          <a:p>
            <a:pPr lvl="2"/>
            <a:r>
              <a:rPr lang="en-US" dirty="0">
                <a:solidFill>
                  <a:schemeClr val="bg1">
                    <a:lumMod val="95000"/>
                  </a:schemeClr>
                </a:solidFill>
              </a:rPr>
              <a:t>private protected access modifier,</a:t>
            </a:r>
          </a:p>
          <a:p>
            <a:pPr lvl="2"/>
            <a:r>
              <a:rPr lang="en-US" dirty="0">
                <a:solidFill>
                  <a:schemeClr val="bg1">
                    <a:lumMod val="95000"/>
                  </a:schemeClr>
                </a:solidFill>
              </a:rPr>
              <a:t>conditional ref expressions.</a:t>
            </a:r>
          </a:p>
        </p:txBody>
      </p:sp>
      <p:sp>
        <p:nvSpPr>
          <p:cNvPr id="6" name="Text Placeholder 5"/>
          <p:cNvSpPr>
            <a:spLocks noGrp="1"/>
          </p:cNvSpPr>
          <p:nvPr>
            <p:ph type="body" sz="quarter" idx="11"/>
          </p:nvPr>
        </p:nvSpPr>
        <p:spPr/>
        <p:txBody>
          <a:bodyPr/>
          <a:lstStyle/>
          <a:p>
            <a:r>
              <a:rPr lang="en-US" dirty="0"/>
              <a:t>We are going to talk about…</a:t>
            </a:r>
          </a:p>
        </p:txBody>
      </p:sp>
      <p:sp>
        <p:nvSpPr>
          <p:cNvPr id="8" name="Text Placeholder 4">
            <a:extLst>
              <a:ext uri="{FF2B5EF4-FFF2-40B4-BE49-F238E27FC236}">
                <a16:creationId xmlns:a16="http://schemas.microsoft.com/office/drawing/2014/main" id="{52580643-4575-408B-8BE0-E817BC2D360B}"/>
              </a:ext>
            </a:extLst>
          </p:cNvPr>
          <p:cNvSpPr txBox="1">
            <a:spLocks/>
          </p:cNvSpPr>
          <p:nvPr/>
        </p:nvSpPr>
        <p:spPr>
          <a:xfrm>
            <a:off x="227348" y="1815350"/>
            <a:ext cx="11700000" cy="4466201"/>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r>
              <a:rPr lang="en-US" dirty="0"/>
              <a:t>Introduction</a:t>
            </a:r>
          </a:p>
          <a:p>
            <a:pPr lvl="2"/>
            <a:r>
              <a:rPr lang="en-US" dirty="0"/>
              <a:t>The recent C# versions timeline,</a:t>
            </a:r>
          </a:p>
          <a:p>
            <a:pPr lvl="2"/>
            <a:r>
              <a:rPr lang="en-US" dirty="0"/>
              <a:t>C# 8.0 pre-requirements,</a:t>
            </a:r>
          </a:p>
          <a:p>
            <a:pPr lvl="2"/>
            <a:r>
              <a:rPr lang="en-US" dirty="0"/>
              <a:t>dive into an example.</a:t>
            </a:r>
          </a:p>
          <a:p>
            <a:pPr lvl="1"/>
            <a:r>
              <a:rPr lang="en-US" dirty="0"/>
              <a:t>What’s new in C# 7.1</a:t>
            </a:r>
          </a:p>
          <a:p>
            <a:pPr lvl="2"/>
            <a:r>
              <a:rPr lang="en-US" dirty="0"/>
              <a:t>Async Main method,</a:t>
            </a:r>
          </a:p>
          <a:p>
            <a:pPr lvl="2"/>
            <a:r>
              <a:rPr lang="en-US" dirty="0"/>
              <a:t>default literal expressions,</a:t>
            </a:r>
          </a:p>
          <a:p>
            <a:pPr lvl="2"/>
            <a:r>
              <a:rPr lang="en-US" dirty="0"/>
              <a:t>inferred tuple element names.</a:t>
            </a:r>
          </a:p>
          <a:p>
            <a:pPr lvl="1"/>
            <a:r>
              <a:rPr lang="en-US" dirty="0"/>
              <a:t>What’s new in C# 7.2</a:t>
            </a:r>
          </a:p>
          <a:p>
            <a:pPr lvl="2"/>
            <a:r>
              <a:rPr lang="en-US" dirty="0"/>
              <a:t>Safe efficient code enhancements,</a:t>
            </a:r>
          </a:p>
          <a:p>
            <a:pPr lvl="2"/>
            <a:r>
              <a:rPr lang="en-US" dirty="0"/>
              <a:t>non-trailing named arguments,</a:t>
            </a:r>
          </a:p>
          <a:p>
            <a:pPr lvl="2"/>
            <a:r>
              <a:rPr lang="en-US" dirty="0"/>
              <a:t>leading underscores in numeric literals,</a:t>
            </a:r>
          </a:p>
          <a:p>
            <a:pPr lvl="2"/>
            <a:r>
              <a:rPr lang="en-US" dirty="0"/>
              <a:t>private protected access modifier,</a:t>
            </a:r>
          </a:p>
          <a:p>
            <a:pPr lvl="2"/>
            <a:r>
              <a:rPr lang="en-US" dirty="0"/>
              <a:t>conditional ref expressions.</a:t>
            </a: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
                                            <p:txEl>
                                              <p:pRg st="1" end="1"/>
                                            </p:txEl>
                                          </p:spTgt>
                                        </p:tgtEl>
                                        <p:attrNameLst>
                                          <p:attrName>style.visibility</p:attrName>
                                        </p:attrNameLst>
                                      </p:cBhvr>
                                      <p:to>
                                        <p:strVal val="visible"/>
                                      </p:to>
                                    </p:set>
                                    <p:animEffect transition="in" filter="fade">
                                      <p:cBhvr>
                                        <p:cTn id="7" dur="500"/>
                                        <p:tgtEl>
                                          <p:spTgt spid="8">
                                            <p:txEl>
                                              <p:pRg st="1" end="1"/>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8">
                                            <p:txEl>
                                              <p:pRg st="2" end="2"/>
                                            </p:txEl>
                                          </p:spTgt>
                                        </p:tgtEl>
                                        <p:attrNameLst>
                                          <p:attrName>style.visibility</p:attrName>
                                        </p:attrNameLst>
                                      </p:cBhvr>
                                      <p:to>
                                        <p:strVal val="visible"/>
                                      </p:to>
                                    </p:set>
                                    <p:animEffect transition="in" filter="fade">
                                      <p:cBhvr>
                                        <p:cTn id="10" dur="500"/>
                                        <p:tgtEl>
                                          <p:spTgt spid="8">
                                            <p:txEl>
                                              <p:pRg st="2" end="2"/>
                                            </p:txEl>
                                          </p:spTgt>
                                        </p:tgtEl>
                                      </p:cBhvr>
                                    </p:animEffect>
                                  </p:childTnLst>
                                </p:cTn>
                              </p:par>
                              <p:par>
                                <p:cTn id="11" presetID="10" presetClass="entr" presetSubtype="0" fill="hold" nodeType="withEffect">
                                  <p:stCondLst>
                                    <p:cond delay="0"/>
                                  </p:stCondLst>
                                  <p:childTnLst>
                                    <p:set>
                                      <p:cBhvr>
                                        <p:cTn id="12" dur="1" fill="hold">
                                          <p:stCondLst>
                                            <p:cond delay="0"/>
                                          </p:stCondLst>
                                        </p:cTn>
                                        <p:tgtEl>
                                          <p:spTgt spid="8">
                                            <p:txEl>
                                              <p:pRg st="3" end="3"/>
                                            </p:txEl>
                                          </p:spTgt>
                                        </p:tgtEl>
                                        <p:attrNameLst>
                                          <p:attrName>style.visibility</p:attrName>
                                        </p:attrNameLst>
                                      </p:cBhvr>
                                      <p:to>
                                        <p:strVal val="visible"/>
                                      </p:to>
                                    </p:set>
                                    <p:animEffect transition="in" filter="fade">
                                      <p:cBhvr>
                                        <p:cTn id="13" dur="500"/>
                                        <p:tgtEl>
                                          <p:spTgt spid="8">
                                            <p:txEl>
                                              <p:pRg st="3" end="3"/>
                                            </p:txEl>
                                          </p:spTgt>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nodeType="clickEffect">
                                  <p:stCondLst>
                                    <p:cond delay="0"/>
                                  </p:stCondLst>
                                  <p:childTnLst>
                                    <p:set>
                                      <p:cBhvr>
                                        <p:cTn id="17" dur="1" fill="hold">
                                          <p:stCondLst>
                                            <p:cond delay="0"/>
                                          </p:stCondLst>
                                        </p:cTn>
                                        <p:tgtEl>
                                          <p:spTgt spid="8">
                                            <p:txEl>
                                              <p:pRg st="4" end="4"/>
                                            </p:txEl>
                                          </p:spTgt>
                                        </p:tgtEl>
                                        <p:attrNameLst>
                                          <p:attrName>style.visibility</p:attrName>
                                        </p:attrNameLst>
                                      </p:cBhvr>
                                      <p:to>
                                        <p:strVal val="visible"/>
                                      </p:to>
                                    </p:set>
                                    <p:animEffect transition="in" filter="fade">
                                      <p:cBhvr>
                                        <p:cTn id="18" dur="500"/>
                                        <p:tgtEl>
                                          <p:spTgt spid="8">
                                            <p:txEl>
                                              <p:pRg st="4" end="4"/>
                                            </p:txEl>
                                          </p:spTgt>
                                        </p:tgtEl>
                                      </p:cBhvr>
                                    </p:animEffect>
                                  </p:childTnLst>
                                </p:cTn>
                              </p:par>
                              <p:par>
                                <p:cTn id="19" presetID="10" presetClass="entr" presetSubtype="0" fill="hold" nodeType="withEffect">
                                  <p:stCondLst>
                                    <p:cond delay="0"/>
                                  </p:stCondLst>
                                  <p:childTnLst>
                                    <p:set>
                                      <p:cBhvr>
                                        <p:cTn id="20" dur="1" fill="hold">
                                          <p:stCondLst>
                                            <p:cond delay="0"/>
                                          </p:stCondLst>
                                        </p:cTn>
                                        <p:tgtEl>
                                          <p:spTgt spid="8">
                                            <p:txEl>
                                              <p:pRg st="5" end="5"/>
                                            </p:txEl>
                                          </p:spTgt>
                                        </p:tgtEl>
                                        <p:attrNameLst>
                                          <p:attrName>style.visibility</p:attrName>
                                        </p:attrNameLst>
                                      </p:cBhvr>
                                      <p:to>
                                        <p:strVal val="visible"/>
                                      </p:to>
                                    </p:set>
                                    <p:animEffect transition="in" filter="fade">
                                      <p:cBhvr>
                                        <p:cTn id="21" dur="500"/>
                                        <p:tgtEl>
                                          <p:spTgt spid="8">
                                            <p:txEl>
                                              <p:pRg st="5" end="5"/>
                                            </p:txEl>
                                          </p:spTgt>
                                        </p:tgtEl>
                                      </p:cBhvr>
                                    </p:animEffect>
                                  </p:childTnLst>
                                </p:cTn>
                              </p:par>
                              <p:par>
                                <p:cTn id="22" presetID="10" presetClass="entr" presetSubtype="0" fill="hold" nodeType="withEffect">
                                  <p:stCondLst>
                                    <p:cond delay="0"/>
                                  </p:stCondLst>
                                  <p:childTnLst>
                                    <p:set>
                                      <p:cBhvr>
                                        <p:cTn id="23" dur="1" fill="hold">
                                          <p:stCondLst>
                                            <p:cond delay="0"/>
                                          </p:stCondLst>
                                        </p:cTn>
                                        <p:tgtEl>
                                          <p:spTgt spid="8">
                                            <p:txEl>
                                              <p:pRg st="6" end="6"/>
                                            </p:txEl>
                                          </p:spTgt>
                                        </p:tgtEl>
                                        <p:attrNameLst>
                                          <p:attrName>style.visibility</p:attrName>
                                        </p:attrNameLst>
                                      </p:cBhvr>
                                      <p:to>
                                        <p:strVal val="visible"/>
                                      </p:to>
                                    </p:set>
                                    <p:animEffect transition="in" filter="fade">
                                      <p:cBhvr>
                                        <p:cTn id="24" dur="500"/>
                                        <p:tgtEl>
                                          <p:spTgt spid="8">
                                            <p:txEl>
                                              <p:pRg st="6" end="6"/>
                                            </p:txEl>
                                          </p:spTgt>
                                        </p:tgtEl>
                                      </p:cBhvr>
                                    </p:animEffect>
                                  </p:childTnLst>
                                </p:cTn>
                              </p:par>
                              <p:par>
                                <p:cTn id="25" presetID="10" presetClass="entr" presetSubtype="0" fill="hold" nodeType="withEffect">
                                  <p:stCondLst>
                                    <p:cond delay="0"/>
                                  </p:stCondLst>
                                  <p:childTnLst>
                                    <p:set>
                                      <p:cBhvr>
                                        <p:cTn id="26" dur="1" fill="hold">
                                          <p:stCondLst>
                                            <p:cond delay="0"/>
                                          </p:stCondLst>
                                        </p:cTn>
                                        <p:tgtEl>
                                          <p:spTgt spid="8">
                                            <p:txEl>
                                              <p:pRg st="7" end="7"/>
                                            </p:txEl>
                                          </p:spTgt>
                                        </p:tgtEl>
                                        <p:attrNameLst>
                                          <p:attrName>style.visibility</p:attrName>
                                        </p:attrNameLst>
                                      </p:cBhvr>
                                      <p:to>
                                        <p:strVal val="visible"/>
                                      </p:to>
                                    </p:set>
                                    <p:animEffect transition="in" filter="fade">
                                      <p:cBhvr>
                                        <p:cTn id="27" dur="500"/>
                                        <p:tgtEl>
                                          <p:spTgt spid="8">
                                            <p:txEl>
                                              <p:pRg st="7" end="7"/>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8">
                                            <p:txEl>
                                              <p:pRg st="8" end="8"/>
                                            </p:txEl>
                                          </p:spTgt>
                                        </p:tgtEl>
                                        <p:attrNameLst>
                                          <p:attrName>style.visibility</p:attrName>
                                        </p:attrNameLst>
                                      </p:cBhvr>
                                      <p:to>
                                        <p:strVal val="visible"/>
                                      </p:to>
                                    </p:set>
                                    <p:animEffect transition="in" filter="fade">
                                      <p:cBhvr>
                                        <p:cTn id="32" dur="500"/>
                                        <p:tgtEl>
                                          <p:spTgt spid="8">
                                            <p:txEl>
                                              <p:pRg st="8" end="8"/>
                                            </p:txEl>
                                          </p:spTgt>
                                        </p:tgtEl>
                                      </p:cBhvr>
                                    </p:animEffect>
                                  </p:childTnLst>
                                </p:cTn>
                              </p:par>
                              <p:par>
                                <p:cTn id="33" presetID="10" presetClass="entr" presetSubtype="0" fill="hold" nodeType="withEffect">
                                  <p:stCondLst>
                                    <p:cond delay="0"/>
                                  </p:stCondLst>
                                  <p:childTnLst>
                                    <p:set>
                                      <p:cBhvr>
                                        <p:cTn id="34" dur="1" fill="hold">
                                          <p:stCondLst>
                                            <p:cond delay="0"/>
                                          </p:stCondLst>
                                        </p:cTn>
                                        <p:tgtEl>
                                          <p:spTgt spid="8">
                                            <p:txEl>
                                              <p:pRg st="9" end="9"/>
                                            </p:txEl>
                                          </p:spTgt>
                                        </p:tgtEl>
                                        <p:attrNameLst>
                                          <p:attrName>style.visibility</p:attrName>
                                        </p:attrNameLst>
                                      </p:cBhvr>
                                      <p:to>
                                        <p:strVal val="visible"/>
                                      </p:to>
                                    </p:set>
                                    <p:animEffect transition="in" filter="fade">
                                      <p:cBhvr>
                                        <p:cTn id="35" dur="500"/>
                                        <p:tgtEl>
                                          <p:spTgt spid="8">
                                            <p:txEl>
                                              <p:pRg st="9" end="9"/>
                                            </p:txEl>
                                          </p:spTgt>
                                        </p:tgtEl>
                                      </p:cBhvr>
                                    </p:animEffect>
                                  </p:childTnLst>
                                </p:cTn>
                              </p:par>
                              <p:par>
                                <p:cTn id="36" presetID="10" presetClass="entr" presetSubtype="0" fill="hold" nodeType="withEffect">
                                  <p:stCondLst>
                                    <p:cond delay="0"/>
                                  </p:stCondLst>
                                  <p:childTnLst>
                                    <p:set>
                                      <p:cBhvr>
                                        <p:cTn id="37" dur="1" fill="hold">
                                          <p:stCondLst>
                                            <p:cond delay="0"/>
                                          </p:stCondLst>
                                        </p:cTn>
                                        <p:tgtEl>
                                          <p:spTgt spid="8">
                                            <p:txEl>
                                              <p:pRg st="10" end="10"/>
                                            </p:txEl>
                                          </p:spTgt>
                                        </p:tgtEl>
                                        <p:attrNameLst>
                                          <p:attrName>style.visibility</p:attrName>
                                        </p:attrNameLst>
                                      </p:cBhvr>
                                      <p:to>
                                        <p:strVal val="visible"/>
                                      </p:to>
                                    </p:set>
                                    <p:animEffect transition="in" filter="fade">
                                      <p:cBhvr>
                                        <p:cTn id="38" dur="500"/>
                                        <p:tgtEl>
                                          <p:spTgt spid="8">
                                            <p:txEl>
                                              <p:pRg st="10" end="10"/>
                                            </p:txEl>
                                          </p:spTgt>
                                        </p:tgtEl>
                                      </p:cBhvr>
                                    </p:animEffect>
                                  </p:childTnLst>
                                </p:cTn>
                              </p:par>
                              <p:par>
                                <p:cTn id="39" presetID="10" presetClass="entr" presetSubtype="0" fill="hold" nodeType="withEffect">
                                  <p:stCondLst>
                                    <p:cond delay="0"/>
                                  </p:stCondLst>
                                  <p:childTnLst>
                                    <p:set>
                                      <p:cBhvr>
                                        <p:cTn id="40" dur="1" fill="hold">
                                          <p:stCondLst>
                                            <p:cond delay="0"/>
                                          </p:stCondLst>
                                        </p:cTn>
                                        <p:tgtEl>
                                          <p:spTgt spid="8">
                                            <p:txEl>
                                              <p:pRg st="11" end="11"/>
                                            </p:txEl>
                                          </p:spTgt>
                                        </p:tgtEl>
                                        <p:attrNameLst>
                                          <p:attrName>style.visibility</p:attrName>
                                        </p:attrNameLst>
                                      </p:cBhvr>
                                      <p:to>
                                        <p:strVal val="visible"/>
                                      </p:to>
                                    </p:set>
                                    <p:animEffect transition="in" filter="fade">
                                      <p:cBhvr>
                                        <p:cTn id="41" dur="500"/>
                                        <p:tgtEl>
                                          <p:spTgt spid="8">
                                            <p:txEl>
                                              <p:pRg st="11" end="11"/>
                                            </p:txEl>
                                          </p:spTgt>
                                        </p:tgtEl>
                                      </p:cBhvr>
                                    </p:animEffect>
                                  </p:childTnLst>
                                </p:cTn>
                              </p:par>
                              <p:par>
                                <p:cTn id="42" presetID="10" presetClass="entr" presetSubtype="0" fill="hold" nodeType="withEffect">
                                  <p:stCondLst>
                                    <p:cond delay="0"/>
                                  </p:stCondLst>
                                  <p:childTnLst>
                                    <p:set>
                                      <p:cBhvr>
                                        <p:cTn id="43" dur="1" fill="hold">
                                          <p:stCondLst>
                                            <p:cond delay="0"/>
                                          </p:stCondLst>
                                        </p:cTn>
                                        <p:tgtEl>
                                          <p:spTgt spid="8">
                                            <p:txEl>
                                              <p:pRg st="12" end="12"/>
                                            </p:txEl>
                                          </p:spTgt>
                                        </p:tgtEl>
                                        <p:attrNameLst>
                                          <p:attrName>style.visibility</p:attrName>
                                        </p:attrNameLst>
                                      </p:cBhvr>
                                      <p:to>
                                        <p:strVal val="visible"/>
                                      </p:to>
                                    </p:set>
                                    <p:animEffect transition="in" filter="fade">
                                      <p:cBhvr>
                                        <p:cTn id="44" dur="500"/>
                                        <p:tgtEl>
                                          <p:spTgt spid="8">
                                            <p:txEl>
                                              <p:pRg st="12" end="12"/>
                                            </p:txEl>
                                          </p:spTgt>
                                        </p:tgtEl>
                                      </p:cBhvr>
                                    </p:animEffect>
                                  </p:childTnLst>
                                </p:cTn>
                              </p:par>
                              <p:par>
                                <p:cTn id="45" presetID="10" presetClass="entr" presetSubtype="0" fill="hold" nodeType="withEffect">
                                  <p:stCondLst>
                                    <p:cond delay="0"/>
                                  </p:stCondLst>
                                  <p:childTnLst>
                                    <p:set>
                                      <p:cBhvr>
                                        <p:cTn id="46" dur="1" fill="hold">
                                          <p:stCondLst>
                                            <p:cond delay="0"/>
                                          </p:stCondLst>
                                        </p:cTn>
                                        <p:tgtEl>
                                          <p:spTgt spid="8">
                                            <p:txEl>
                                              <p:pRg st="13" end="13"/>
                                            </p:txEl>
                                          </p:spTgt>
                                        </p:tgtEl>
                                        <p:attrNameLst>
                                          <p:attrName>style.visibility</p:attrName>
                                        </p:attrNameLst>
                                      </p:cBhvr>
                                      <p:to>
                                        <p:strVal val="visible"/>
                                      </p:to>
                                    </p:set>
                                    <p:animEffect transition="in" filter="fade">
                                      <p:cBhvr>
                                        <p:cTn id="47" dur="500"/>
                                        <p:tgtEl>
                                          <p:spTgt spid="8">
                                            <p:txEl>
                                              <p:pRg st="13" end="1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Obraz 6">
            <a:extLst>
              <a:ext uri="{FF2B5EF4-FFF2-40B4-BE49-F238E27FC236}">
                <a16:creationId xmlns:a16="http://schemas.microsoft.com/office/drawing/2014/main" id="{89DF4F7B-F639-406B-977B-65DD2FE3E95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986027" y="1824013"/>
            <a:ext cx="6336570" cy="4462480"/>
          </a:xfrm>
          <a:prstGeom prst="rect">
            <a:avLst/>
          </a:prstGeom>
        </p:spPr>
      </p:pic>
      <p:sp>
        <p:nvSpPr>
          <p:cNvPr id="2" name="Tytuł 1">
            <a:extLst>
              <a:ext uri="{FF2B5EF4-FFF2-40B4-BE49-F238E27FC236}">
                <a16:creationId xmlns:a16="http://schemas.microsoft.com/office/drawing/2014/main" id="{DEA935F7-2904-40FF-A73D-3CCC59AF658E}"/>
              </a:ext>
            </a:extLst>
          </p:cNvPr>
          <p:cNvSpPr>
            <a:spLocks noGrp="1"/>
          </p:cNvSpPr>
          <p:nvPr>
            <p:ph type="title"/>
          </p:nvPr>
        </p:nvSpPr>
        <p:spPr/>
        <p:txBody>
          <a:bodyPr/>
          <a:lstStyle/>
          <a:p>
            <a:r>
              <a:rPr lang="en-US" dirty="0"/>
              <a:t>Async Main method</a:t>
            </a:r>
          </a:p>
        </p:txBody>
      </p:sp>
      <p:sp>
        <p:nvSpPr>
          <p:cNvPr id="4" name="Symbol zastępczy tekstu 3">
            <a:extLst>
              <a:ext uri="{FF2B5EF4-FFF2-40B4-BE49-F238E27FC236}">
                <a16:creationId xmlns:a16="http://schemas.microsoft.com/office/drawing/2014/main" id="{5AE649E8-E6A2-4473-82C4-13CDFACEAAA5}"/>
              </a:ext>
            </a:extLst>
          </p:cNvPr>
          <p:cNvSpPr>
            <a:spLocks noGrp="1"/>
          </p:cNvSpPr>
          <p:nvPr>
            <p:ph type="body" sz="quarter" idx="11"/>
          </p:nvPr>
        </p:nvSpPr>
        <p:spPr/>
        <p:txBody>
          <a:bodyPr/>
          <a:lstStyle/>
          <a:p>
            <a:r>
              <a:rPr lang="en-US" dirty="0"/>
              <a:t>C# 7.1, async-await</a:t>
            </a:r>
          </a:p>
          <a:p>
            <a:endParaRPr lang="en-US" dirty="0"/>
          </a:p>
        </p:txBody>
      </p:sp>
      <p:sp>
        <p:nvSpPr>
          <p:cNvPr id="5" name="Symbol zastępczy tekstu 4">
            <a:extLst>
              <a:ext uri="{FF2B5EF4-FFF2-40B4-BE49-F238E27FC236}">
                <a16:creationId xmlns:a16="http://schemas.microsoft.com/office/drawing/2014/main" id="{026454BF-D147-4265-B180-0D1A4FC7A23F}"/>
              </a:ext>
            </a:extLst>
          </p:cNvPr>
          <p:cNvSpPr>
            <a:spLocks noGrp="1"/>
          </p:cNvSpPr>
          <p:nvPr>
            <p:ph type="body" sz="quarter" idx="12"/>
          </p:nvPr>
        </p:nvSpPr>
        <p:spPr/>
        <p:txBody>
          <a:bodyPr/>
          <a:lstStyle/>
          <a:p>
            <a:r>
              <a:rPr lang="en-US" dirty="0"/>
              <a:t>6</a:t>
            </a:r>
          </a:p>
        </p:txBody>
      </p:sp>
    </p:spTree>
    <p:extLst>
      <p:ext uri="{BB962C8B-B14F-4D97-AF65-F5344CB8AC3E}">
        <p14:creationId xmlns:p14="http://schemas.microsoft.com/office/powerpoint/2010/main" val="418576210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Obraz 7">
            <a:extLst>
              <a:ext uri="{FF2B5EF4-FFF2-40B4-BE49-F238E27FC236}">
                <a16:creationId xmlns:a16="http://schemas.microsoft.com/office/drawing/2014/main" id="{DD48FD49-C1CC-4D0A-ABE2-AD86016C19C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987100" y="1824011"/>
            <a:ext cx="6398013" cy="4462480"/>
          </a:xfrm>
          <a:prstGeom prst="rect">
            <a:avLst/>
          </a:prstGeom>
        </p:spPr>
      </p:pic>
      <p:sp>
        <p:nvSpPr>
          <p:cNvPr id="2" name="Tytuł 1">
            <a:extLst>
              <a:ext uri="{FF2B5EF4-FFF2-40B4-BE49-F238E27FC236}">
                <a16:creationId xmlns:a16="http://schemas.microsoft.com/office/drawing/2014/main" id="{DEA935F7-2904-40FF-A73D-3CCC59AF658E}"/>
              </a:ext>
            </a:extLst>
          </p:cNvPr>
          <p:cNvSpPr>
            <a:spLocks noGrp="1"/>
          </p:cNvSpPr>
          <p:nvPr>
            <p:ph type="title"/>
          </p:nvPr>
        </p:nvSpPr>
        <p:spPr/>
        <p:txBody>
          <a:bodyPr/>
          <a:lstStyle/>
          <a:p>
            <a:r>
              <a:rPr lang="en-US" dirty="0"/>
              <a:t>Async Main method</a:t>
            </a:r>
          </a:p>
        </p:txBody>
      </p:sp>
      <p:sp>
        <p:nvSpPr>
          <p:cNvPr id="4" name="Symbol zastępczy tekstu 3">
            <a:extLst>
              <a:ext uri="{FF2B5EF4-FFF2-40B4-BE49-F238E27FC236}">
                <a16:creationId xmlns:a16="http://schemas.microsoft.com/office/drawing/2014/main" id="{5AE649E8-E6A2-4473-82C4-13CDFACEAAA5}"/>
              </a:ext>
            </a:extLst>
          </p:cNvPr>
          <p:cNvSpPr>
            <a:spLocks noGrp="1"/>
          </p:cNvSpPr>
          <p:nvPr>
            <p:ph type="body" sz="quarter" idx="11"/>
          </p:nvPr>
        </p:nvSpPr>
        <p:spPr/>
        <p:txBody>
          <a:bodyPr/>
          <a:lstStyle/>
          <a:p>
            <a:r>
              <a:rPr lang="en-US" dirty="0"/>
              <a:t>C# 7.1, async, await</a:t>
            </a:r>
          </a:p>
          <a:p>
            <a:endParaRPr lang="en-US" dirty="0"/>
          </a:p>
        </p:txBody>
      </p:sp>
      <p:sp>
        <p:nvSpPr>
          <p:cNvPr id="5" name="Symbol zastępczy tekstu 4">
            <a:extLst>
              <a:ext uri="{FF2B5EF4-FFF2-40B4-BE49-F238E27FC236}">
                <a16:creationId xmlns:a16="http://schemas.microsoft.com/office/drawing/2014/main" id="{026454BF-D147-4265-B180-0D1A4FC7A23F}"/>
              </a:ext>
            </a:extLst>
          </p:cNvPr>
          <p:cNvSpPr>
            <a:spLocks noGrp="1"/>
          </p:cNvSpPr>
          <p:nvPr>
            <p:ph type="body" sz="quarter" idx="12"/>
          </p:nvPr>
        </p:nvSpPr>
        <p:spPr/>
        <p:txBody>
          <a:bodyPr/>
          <a:lstStyle/>
          <a:p>
            <a:r>
              <a:rPr lang="en-US" dirty="0"/>
              <a:t>7</a:t>
            </a:r>
          </a:p>
        </p:txBody>
      </p:sp>
    </p:spTree>
    <p:extLst>
      <p:ext uri="{BB962C8B-B14F-4D97-AF65-F5344CB8AC3E}">
        <p14:creationId xmlns:p14="http://schemas.microsoft.com/office/powerpoint/2010/main" val="427780400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pl-PL" dirty="0"/>
              <a:t>Agenda</a:t>
            </a:r>
            <a:endParaRPr lang="en-GB" dirty="0"/>
          </a:p>
        </p:txBody>
      </p:sp>
      <p:sp>
        <p:nvSpPr>
          <p:cNvPr id="5" name="Text Placeholder 4"/>
          <p:cNvSpPr>
            <a:spLocks noGrp="1"/>
          </p:cNvSpPr>
          <p:nvPr>
            <p:ph type="body" sz="quarter" idx="10"/>
          </p:nvPr>
        </p:nvSpPr>
        <p:spPr/>
        <p:txBody>
          <a:bodyPr/>
          <a:lstStyle/>
          <a:p>
            <a:pPr lvl="1"/>
            <a:r>
              <a:rPr lang="en-US" dirty="0">
                <a:solidFill>
                  <a:schemeClr val="bg1">
                    <a:lumMod val="95000"/>
                  </a:schemeClr>
                </a:solidFill>
              </a:rPr>
              <a:t>Introduction</a:t>
            </a:r>
          </a:p>
          <a:p>
            <a:pPr lvl="2"/>
            <a:r>
              <a:rPr lang="en-US" dirty="0">
                <a:solidFill>
                  <a:schemeClr val="bg1">
                    <a:lumMod val="95000"/>
                  </a:schemeClr>
                </a:solidFill>
              </a:rPr>
              <a:t>The recent C# versions timeline,</a:t>
            </a:r>
          </a:p>
          <a:p>
            <a:pPr lvl="2"/>
            <a:r>
              <a:rPr lang="en-US" dirty="0">
                <a:solidFill>
                  <a:schemeClr val="bg1">
                    <a:lumMod val="95000"/>
                  </a:schemeClr>
                </a:solidFill>
              </a:rPr>
              <a:t>C# 8.0 pre-requirements,</a:t>
            </a:r>
          </a:p>
          <a:p>
            <a:pPr lvl="2"/>
            <a:r>
              <a:rPr lang="en-US" dirty="0">
                <a:solidFill>
                  <a:schemeClr val="bg1">
                    <a:lumMod val="95000"/>
                  </a:schemeClr>
                </a:solidFill>
              </a:rPr>
              <a:t>dive into an example.</a:t>
            </a:r>
          </a:p>
          <a:p>
            <a:pPr lvl="1"/>
            <a:r>
              <a:rPr lang="en-US" dirty="0">
                <a:solidFill>
                  <a:schemeClr val="bg1">
                    <a:lumMod val="95000"/>
                  </a:schemeClr>
                </a:solidFill>
              </a:rPr>
              <a:t>What’s new in C# 7.1</a:t>
            </a:r>
          </a:p>
          <a:p>
            <a:pPr lvl="2"/>
            <a:r>
              <a:rPr lang="en-US" dirty="0">
                <a:solidFill>
                  <a:schemeClr val="bg1">
                    <a:lumMod val="95000"/>
                  </a:schemeClr>
                </a:solidFill>
              </a:rPr>
              <a:t>Async Main method,</a:t>
            </a:r>
          </a:p>
          <a:p>
            <a:pPr lvl="2"/>
            <a:r>
              <a:rPr lang="en-US" dirty="0">
                <a:solidFill>
                  <a:schemeClr val="bg1">
                    <a:lumMod val="95000"/>
                  </a:schemeClr>
                </a:solidFill>
              </a:rPr>
              <a:t>default literal expressions,</a:t>
            </a:r>
          </a:p>
          <a:p>
            <a:pPr lvl="2"/>
            <a:r>
              <a:rPr lang="en-US" dirty="0">
                <a:solidFill>
                  <a:schemeClr val="bg1">
                    <a:lumMod val="95000"/>
                  </a:schemeClr>
                </a:solidFill>
              </a:rPr>
              <a:t>inferred tuple element names.</a:t>
            </a:r>
          </a:p>
          <a:p>
            <a:pPr lvl="1"/>
            <a:r>
              <a:rPr lang="en-US" dirty="0">
                <a:solidFill>
                  <a:schemeClr val="bg1">
                    <a:lumMod val="95000"/>
                  </a:schemeClr>
                </a:solidFill>
              </a:rPr>
              <a:t>What’s new in C# 7.2</a:t>
            </a:r>
          </a:p>
          <a:p>
            <a:pPr lvl="2"/>
            <a:r>
              <a:rPr lang="en-US" dirty="0">
                <a:solidFill>
                  <a:schemeClr val="bg1">
                    <a:lumMod val="95000"/>
                  </a:schemeClr>
                </a:solidFill>
              </a:rPr>
              <a:t>Safe efficient code enhancements,</a:t>
            </a:r>
          </a:p>
          <a:p>
            <a:pPr lvl="2"/>
            <a:r>
              <a:rPr lang="en-US" dirty="0">
                <a:solidFill>
                  <a:schemeClr val="bg1">
                    <a:lumMod val="95000"/>
                  </a:schemeClr>
                </a:solidFill>
              </a:rPr>
              <a:t>non-trailing named arguments,</a:t>
            </a:r>
          </a:p>
          <a:p>
            <a:pPr lvl="2"/>
            <a:r>
              <a:rPr lang="en-US" dirty="0">
                <a:solidFill>
                  <a:schemeClr val="bg1">
                    <a:lumMod val="95000"/>
                  </a:schemeClr>
                </a:solidFill>
              </a:rPr>
              <a:t>leading underscores in numeric literals,</a:t>
            </a:r>
          </a:p>
          <a:p>
            <a:pPr lvl="2"/>
            <a:r>
              <a:rPr lang="en-US" dirty="0">
                <a:solidFill>
                  <a:schemeClr val="bg1">
                    <a:lumMod val="95000"/>
                  </a:schemeClr>
                </a:solidFill>
              </a:rPr>
              <a:t>private protected access modifier,</a:t>
            </a:r>
          </a:p>
          <a:p>
            <a:pPr lvl="2"/>
            <a:r>
              <a:rPr lang="en-US" dirty="0">
                <a:solidFill>
                  <a:schemeClr val="bg1">
                    <a:lumMod val="95000"/>
                  </a:schemeClr>
                </a:solidFill>
              </a:rPr>
              <a:t>conditional ref expressions.</a:t>
            </a:r>
          </a:p>
        </p:txBody>
      </p:sp>
      <p:sp>
        <p:nvSpPr>
          <p:cNvPr id="6" name="Text Placeholder 5"/>
          <p:cNvSpPr>
            <a:spLocks noGrp="1"/>
          </p:cNvSpPr>
          <p:nvPr>
            <p:ph type="body" sz="quarter" idx="11"/>
          </p:nvPr>
        </p:nvSpPr>
        <p:spPr/>
        <p:txBody>
          <a:bodyPr/>
          <a:lstStyle/>
          <a:p>
            <a:r>
              <a:rPr lang="en-US" dirty="0"/>
              <a:t>We are going to talk about…</a:t>
            </a:r>
          </a:p>
        </p:txBody>
      </p:sp>
      <p:sp>
        <p:nvSpPr>
          <p:cNvPr id="8" name="Text Placeholder 4">
            <a:extLst>
              <a:ext uri="{FF2B5EF4-FFF2-40B4-BE49-F238E27FC236}">
                <a16:creationId xmlns:a16="http://schemas.microsoft.com/office/drawing/2014/main" id="{52580643-4575-408B-8BE0-E817BC2D360B}"/>
              </a:ext>
            </a:extLst>
          </p:cNvPr>
          <p:cNvSpPr txBox="1">
            <a:spLocks/>
          </p:cNvSpPr>
          <p:nvPr/>
        </p:nvSpPr>
        <p:spPr>
          <a:xfrm>
            <a:off x="227348" y="1815350"/>
            <a:ext cx="11700000" cy="4466201"/>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r>
              <a:rPr lang="en-US" dirty="0"/>
              <a:t>Introduction</a:t>
            </a:r>
          </a:p>
          <a:p>
            <a:pPr lvl="2"/>
            <a:r>
              <a:rPr lang="en-US" dirty="0"/>
              <a:t>The recent C# versions timeline,</a:t>
            </a:r>
          </a:p>
          <a:p>
            <a:pPr lvl="2"/>
            <a:r>
              <a:rPr lang="en-US" dirty="0"/>
              <a:t>C# 8.0 pre-requirements,</a:t>
            </a:r>
          </a:p>
          <a:p>
            <a:pPr lvl="2"/>
            <a:r>
              <a:rPr lang="en-US" dirty="0"/>
              <a:t>dive into an example.</a:t>
            </a:r>
          </a:p>
          <a:p>
            <a:pPr lvl="1"/>
            <a:r>
              <a:rPr lang="en-US" dirty="0"/>
              <a:t>What’s new in C# 7.1</a:t>
            </a:r>
          </a:p>
          <a:p>
            <a:pPr lvl="2"/>
            <a:r>
              <a:rPr lang="en-US" dirty="0"/>
              <a:t>Async Main method,</a:t>
            </a:r>
          </a:p>
          <a:p>
            <a:pPr lvl="2"/>
            <a:r>
              <a:rPr lang="en-US" dirty="0"/>
              <a:t>default literal expressions,</a:t>
            </a:r>
          </a:p>
        </p:txBody>
      </p:sp>
    </p:spTree>
    <p:extLst>
      <p:ext uri="{BB962C8B-B14F-4D97-AF65-F5344CB8AC3E}">
        <p14:creationId xmlns:p14="http://schemas.microsoft.com/office/powerpoint/2010/main" val="335829779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
                                            <p:txEl>
                                              <p:pRg st="6" end="6"/>
                                            </p:txEl>
                                          </p:spTgt>
                                        </p:tgtEl>
                                        <p:attrNameLst>
                                          <p:attrName>style.visibility</p:attrName>
                                        </p:attrNameLst>
                                      </p:cBhvr>
                                      <p:to>
                                        <p:strVal val="visible"/>
                                      </p:to>
                                    </p:set>
                                    <p:animEffect transition="in" filter="fade">
                                      <p:cBhvr>
                                        <p:cTn id="7" dur="500"/>
                                        <p:tgtEl>
                                          <p:spTgt spid="8">
                                            <p:txEl>
                                              <p:pRg st="6" end="6"/>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1">
            <a:extLst>
              <a:ext uri="{FF2B5EF4-FFF2-40B4-BE49-F238E27FC236}">
                <a16:creationId xmlns:a16="http://schemas.microsoft.com/office/drawing/2014/main" id="{81357B91-ACB4-4DED-8B22-99E149A22272}"/>
              </a:ext>
            </a:extLst>
          </p:cNvPr>
          <p:cNvSpPr>
            <a:spLocks noGrp="1"/>
          </p:cNvSpPr>
          <p:nvPr>
            <p:ph type="pic" sz="quarter" idx="10"/>
          </p:nvPr>
        </p:nvSpPr>
        <p:spPr/>
      </p:sp>
      <p:sp>
        <p:nvSpPr>
          <p:cNvPr id="6" name="Symbol zastępczy tekstu 5">
            <a:extLst>
              <a:ext uri="{FF2B5EF4-FFF2-40B4-BE49-F238E27FC236}">
                <a16:creationId xmlns:a16="http://schemas.microsoft.com/office/drawing/2014/main" id="{EC19D1F0-CA19-48E4-B6B7-FE7D3388EB92}"/>
              </a:ext>
            </a:extLst>
          </p:cNvPr>
          <p:cNvSpPr>
            <a:spLocks noGrp="1"/>
          </p:cNvSpPr>
          <p:nvPr>
            <p:ph type="body" sz="quarter" idx="11"/>
          </p:nvPr>
        </p:nvSpPr>
        <p:spPr/>
        <p:txBody>
          <a:bodyPr/>
          <a:lstStyle/>
          <a:p>
            <a:r>
              <a:rPr lang="en-US" dirty="0"/>
              <a:t>What’s new in C# 7.1</a:t>
            </a:r>
          </a:p>
          <a:p>
            <a:r>
              <a:rPr lang="en-US" sz="2400" dirty="0"/>
              <a:t>Default literal expressions</a:t>
            </a:r>
          </a:p>
          <a:p>
            <a:endParaRPr lang="en-US" dirty="0"/>
          </a:p>
        </p:txBody>
      </p:sp>
      <p:sp>
        <p:nvSpPr>
          <p:cNvPr id="28" name="Freeform 37">
            <a:extLst>
              <a:ext uri="{FF2B5EF4-FFF2-40B4-BE49-F238E27FC236}">
                <a16:creationId xmlns:a16="http://schemas.microsoft.com/office/drawing/2014/main" id="{C163FEF7-EB42-4298-AED9-19E8D9ACF2E4}"/>
              </a:ext>
            </a:extLst>
          </p:cNvPr>
          <p:cNvSpPr>
            <a:spLocks/>
          </p:cNvSpPr>
          <p:nvPr/>
        </p:nvSpPr>
        <p:spPr bwMode="auto">
          <a:xfrm>
            <a:off x="8472264" y="3933056"/>
            <a:ext cx="844550" cy="793750"/>
          </a:xfrm>
          <a:custGeom>
            <a:avLst/>
            <a:gdLst>
              <a:gd name="T0" fmla="*/ 51 w 440"/>
              <a:gd name="T1" fmla="*/ 298 h 410"/>
              <a:gd name="T2" fmla="*/ 128 w 440"/>
              <a:gd name="T3" fmla="*/ 48 h 410"/>
              <a:gd name="T4" fmla="*/ 389 w 440"/>
              <a:gd name="T5" fmla="*/ 122 h 410"/>
              <a:gd name="T6" fmla="*/ 307 w 440"/>
              <a:gd name="T7" fmla="*/ 362 h 410"/>
              <a:gd name="T8" fmla="*/ 51 w 440"/>
              <a:gd name="T9" fmla="*/ 298 h 410"/>
            </a:gdLst>
            <a:ahLst/>
            <a:cxnLst>
              <a:cxn ang="0">
                <a:pos x="T0" y="T1"/>
              </a:cxn>
              <a:cxn ang="0">
                <a:pos x="T2" y="T3"/>
              </a:cxn>
              <a:cxn ang="0">
                <a:pos x="T4" y="T5"/>
              </a:cxn>
              <a:cxn ang="0">
                <a:pos x="T6" y="T7"/>
              </a:cxn>
              <a:cxn ang="0">
                <a:pos x="T8" y="T9"/>
              </a:cxn>
            </a:cxnLst>
            <a:rect l="0" t="0" r="r" b="b"/>
            <a:pathLst>
              <a:path w="440" h="410">
                <a:moveTo>
                  <a:pt x="51" y="298"/>
                </a:moveTo>
                <a:cubicBezTo>
                  <a:pt x="0" y="209"/>
                  <a:pt x="34" y="97"/>
                  <a:pt x="128" y="48"/>
                </a:cubicBezTo>
                <a:cubicBezTo>
                  <a:pt x="221" y="0"/>
                  <a:pt x="338" y="33"/>
                  <a:pt x="389" y="122"/>
                </a:cubicBezTo>
                <a:cubicBezTo>
                  <a:pt x="440" y="212"/>
                  <a:pt x="400" y="313"/>
                  <a:pt x="307" y="362"/>
                </a:cubicBezTo>
                <a:cubicBezTo>
                  <a:pt x="214" y="410"/>
                  <a:pt x="102" y="388"/>
                  <a:pt x="51" y="298"/>
                </a:cubicBezTo>
              </a:path>
            </a:pathLst>
          </a:custGeom>
          <a:solidFill>
            <a:srgbClr val="860864"/>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3" name="Oval 20">
            <a:extLst>
              <a:ext uri="{FF2B5EF4-FFF2-40B4-BE49-F238E27FC236}">
                <a16:creationId xmlns:a16="http://schemas.microsoft.com/office/drawing/2014/main" id="{EE9B31FA-25FA-4CC1-863F-BB3D69944DF9}"/>
              </a:ext>
            </a:extLst>
          </p:cNvPr>
          <p:cNvSpPr/>
          <p:nvPr/>
        </p:nvSpPr>
        <p:spPr>
          <a:xfrm>
            <a:off x="8897441" y="2431978"/>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42" name="Oval 20">
            <a:extLst>
              <a:ext uri="{FF2B5EF4-FFF2-40B4-BE49-F238E27FC236}">
                <a16:creationId xmlns:a16="http://schemas.microsoft.com/office/drawing/2014/main" id="{9C48F09E-5C3B-4BEA-BD8F-85A5DCB0325B}"/>
              </a:ext>
            </a:extLst>
          </p:cNvPr>
          <p:cNvSpPr/>
          <p:nvPr/>
        </p:nvSpPr>
        <p:spPr>
          <a:xfrm>
            <a:off x="8948712" y="4379462"/>
            <a:ext cx="1356623" cy="128178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14" name="Group 600">
            <a:extLst>
              <a:ext uri="{FF2B5EF4-FFF2-40B4-BE49-F238E27FC236}">
                <a16:creationId xmlns:a16="http://schemas.microsoft.com/office/drawing/2014/main" id="{E3C85D9F-99F6-47AD-B81E-AB6D896FA387}"/>
              </a:ext>
            </a:extLst>
          </p:cNvPr>
          <p:cNvGrpSpPr>
            <a:grpSpLocks noChangeAspect="1"/>
          </p:cNvGrpSpPr>
          <p:nvPr/>
        </p:nvGrpSpPr>
        <p:grpSpPr>
          <a:xfrm>
            <a:off x="9209320" y="2855157"/>
            <a:ext cx="1408914" cy="1294440"/>
            <a:chOff x="6588124" y="5894388"/>
            <a:chExt cx="508000" cy="466725"/>
          </a:xfrm>
        </p:grpSpPr>
        <p:sp>
          <p:nvSpPr>
            <p:cNvPr id="16" name="Freeform 210">
              <a:extLst>
                <a:ext uri="{FF2B5EF4-FFF2-40B4-BE49-F238E27FC236}">
                  <a16:creationId xmlns:a16="http://schemas.microsoft.com/office/drawing/2014/main" id="{7E9E3482-A498-410A-B0EA-F128251200B9}"/>
                </a:ext>
              </a:extLst>
            </p:cNvPr>
            <p:cNvSpPr>
              <a:spLocks/>
            </p:cNvSpPr>
            <p:nvPr/>
          </p:nvSpPr>
          <p:spPr bwMode="auto">
            <a:xfrm>
              <a:off x="6588124" y="5930900"/>
              <a:ext cx="409575" cy="430213"/>
            </a:xfrm>
            <a:custGeom>
              <a:avLst/>
              <a:gdLst>
                <a:gd name="T0" fmla="*/ 89 w 213"/>
                <a:gd name="T1" fmla="*/ 222 h 222"/>
                <a:gd name="T2" fmla="*/ 46 w 213"/>
                <a:gd name="T3" fmla="*/ 184 h 222"/>
                <a:gd name="T4" fmla="*/ 21 w 213"/>
                <a:gd name="T5" fmla="*/ 124 h 222"/>
                <a:gd name="T6" fmla="*/ 104 w 213"/>
                <a:gd name="T7" fmla="*/ 27 h 222"/>
                <a:gd name="T8" fmla="*/ 186 w 213"/>
                <a:gd name="T9" fmla="*/ 21 h 222"/>
                <a:gd name="T10" fmla="*/ 186 w 213"/>
                <a:gd name="T11" fmla="*/ 21 h 222"/>
                <a:gd name="T12" fmla="*/ 192 w 213"/>
                <a:gd name="T13" fmla="*/ 103 h 222"/>
                <a:gd name="T14" fmla="*/ 91 w 213"/>
                <a:gd name="T15" fmla="*/ 220 h 222"/>
                <a:gd name="T16" fmla="*/ 89 w 213"/>
                <a:gd name="T17" fmla="*/ 222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3" h="222">
                  <a:moveTo>
                    <a:pt x="89" y="222"/>
                  </a:moveTo>
                  <a:cubicBezTo>
                    <a:pt x="46" y="184"/>
                    <a:pt x="46" y="184"/>
                    <a:pt x="46" y="184"/>
                  </a:cubicBezTo>
                  <a:cubicBezTo>
                    <a:pt x="21" y="163"/>
                    <a:pt x="0" y="148"/>
                    <a:pt x="21" y="124"/>
                  </a:cubicBezTo>
                  <a:cubicBezTo>
                    <a:pt x="104" y="27"/>
                    <a:pt x="104" y="27"/>
                    <a:pt x="104" y="27"/>
                  </a:cubicBezTo>
                  <a:cubicBezTo>
                    <a:pt x="125" y="3"/>
                    <a:pt x="161" y="0"/>
                    <a:pt x="186" y="21"/>
                  </a:cubicBezTo>
                  <a:cubicBezTo>
                    <a:pt x="186" y="21"/>
                    <a:pt x="186" y="21"/>
                    <a:pt x="186" y="21"/>
                  </a:cubicBezTo>
                  <a:cubicBezTo>
                    <a:pt x="210" y="42"/>
                    <a:pt x="213" y="78"/>
                    <a:pt x="192" y="103"/>
                  </a:cubicBezTo>
                  <a:cubicBezTo>
                    <a:pt x="91" y="220"/>
                    <a:pt x="91" y="220"/>
                    <a:pt x="91" y="220"/>
                  </a:cubicBezTo>
                  <a:lnTo>
                    <a:pt x="89" y="222"/>
                  </a:lnTo>
                  <a:close/>
                </a:path>
              </a:pathLst>
            </a:custGeom>
            <a:solidFill>
              <a:srgbClr val="FF6327"/>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7" name="Freeform 211">
              <a:extLst>
                <a:ext uri="{FF2B5EF4-FFF2-40B4-BE49-F238E27FC236}">
                  <a16:creationId xmlns:a16="http://schemas.microsoft.com/office/drawing/2014/main" id="{8C7CF88D-B321-48C8-B684-6F082500E653}"/>
                </a:ext>
              </a:extLst>
            </p:cNvPr>
            <p:cNvSpPr>
              <a:spLocks/>
            </p:cNvSpPr>
            <p:nvPr/>
          </p:nvSpPr>
          <p:spPr bwMode="auto">
            <a:xfrm>
              <a:off x="6843712" y="5992813"/>
              <a:ext cx="90487" cy="90488"/>
            </a:xfrm>
            <a:custGeom>
              <a:avLst/>
              <a:gdLst>
                <a:gd name="T0" fmla="*/ 39 w 47"/>
                <a:gd name="T1" fmla="*/ 38 h 47"/>
                <a:gd name="T2" fmla="*/ 9 w 47"/>
                <a:gd name="T3" fmla="*/ 40 h 47"/>
                <a:gd name="T4" fmla="*/ 7 w 47"/>
                <a:gd name="T5" fmla="*/ 10 h 47"/>
                <a:gd name="T6" fmla="*/ 37 w 47"/>
                <a:gd name="T7" fmla="*/ 8 h 47"/>
                <a:gd name="T8" fmla="*/ 39 w 47"/>
                <a:gd name="T9" fmla="*/ 38 h 47"/>
              </a:gdLst>
              <a:ahLst/>
              <a:cxnLst>
                <a:cxn ang="0">
                  <a:pos x="T0" y="T1"/>
                </a:cxn>
                <a:cxn ang="0">
                  <a:pos x="T2" y="T3"/>
                </a:cxn>
                <a:cxn ang="0">
                  <a:pos x="T4" y="T5"/>
                </a:cxn>
                <a:cxn ang="0">
                  <a:pos x="T6" y="T7"/>
                </a:cxn>
                <a:cxn ang="0">
                  <a:pos x="T8" y="T9"/>
                </a:cxn>
              </a:cxnLst>
              <a:rect l="0" t="0" r="r" b="b"/>
              <a:pathLst>
                <a:path w="47" h="47">
                  <a:moveTo>
                    <a:pt x="39" y="38"/>
                  </a:moveTo>
                  <a:cubicBezTo>
                    <a:pt x="32" y="46"/>
                    <a:pt x="18" y="47"/>
                    <a:pt x="9" y="40"/>
                  </a:cubicBezTo>
                  <a:cubicBezTo>
                    <a:pt x="1" y="32"/>
                    <a:pt x="0" y="19"/>
                    <a:pt x="7" y="10"/>
                  </a:cubicBezTo>
                  <a:cubicBezTo>
                    <a:pt x="15" y="1"/>
                    <a:pt x="28" y="0"/>
                    <a:pt x="37" y="8"/>
                  </a:cubicBezTo>
                  <a:cubicBezTo>
                    <a:pt x="46" y="15"/>
                    <a:pt x="47" y="29"/>
                    <a:pt x="39" y="38"/>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 name="Freeform 212">
              <a:extLst>
                <a:ext uri="{FF2B5EF4-FFF2-40B4-BE49-F238E27FC236}">
                  <a16:creationId xmlns:a16="http://schemas.microsoft.com/office/drawing/2014/main" id="{23C7A207-6C9B-4DB6-86E6-D25642C1618B}"/>
                </a:ext>
              </a:extLst>
            </p:cNvPr>
            <p:cNvSpPr>
              <a:spLocks/>
            </p:cNvSpPr>
            <p:nvPr/>
          </p:nvSpPr>
          <p:spPr bwMode="auto">
            <a:xfrm>
              <a:off x="6919912" y="5894388"/>
              <a:ext cx="176212" cy="142875"/>
            </a:xfrm>
            <a:custGeom>
              <a:avLst/>
              <a:gdLst>
                <a:gd name="T0" fmla="*/ 2 w 91"/>
                <a:gd name="T1" fmla="*/ 74 h 74"/>
                <a:gd name="T2" fmla="*/ 0 w 91"/>
                <a:gd name="T3" fmla="*/ 63 h 74"/>
                <a:gd name="T4" fmla="*/ 77 w 91"/>
                <a:gd name="T5" fmla="*/ 26 h 74"/>
                <a:gd name="T6" fmla="*/ 76 w 91"/>
                <a:gd name="T7" fmla="*/ 17 h 74"/>
                <a:gd name="T8" fmla="*/ 66 w 91"/>
                <a:gd name="T9" fmla="*/ 13 h 74"/>
                <a:gd name="T10" fmla="*/ 17 w 91"/>
                <a:gd name="T11" fmla="*/ 44 h 74"/>
                <a:gd name="T12" fmla="*/ 8 w 91"/>
                <a:gd name="T13" fmla="*/ 36 h 74"/>
                <a:gd name="T14" fmla="*/ 67 w 91"/>
                <a:gd name="T15" fmla="*/ 1 h 74"/>
                <a:gd name="T16" fmla="*/ 86 w 91"/>
                <a:gd name="T17" fmla="*/ 11 h 74"/>
                <a:gd name="T18" fmla="*/ 88 w 91"/>
                <a:gd name="T19" fmla="*/ 31 h 74"/>
                <a:gd name="T20" fmla="*/ 2 w 91"/>
                <a:gd name="T21" fmla="*/ 74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1" h="74">
                  <a:moveTo>
                    <a:pt x="2" y="74"/>
                  </a:moveTo>
                  <a:cubicBezTo>
                    <a:pt x="0" y="63"/>
                    <a:pt x="0" y="63"/>
                    <a:pt x="0" y="63"/>
                  </a:cubicBezTo>
                  <a:cubicBezTo>
                    <a:pt x="63" y="47"/>
                    <a:pt x="75" y="32"/>
                    <a:pt x="77" y="26"/>
                  </a:cubicBezTo>
                  <a:cubicBezTo>
                    <a:pt x="78" y="24"/>
                    <a:pt x="78" y="21"/>
                    <a:pt x="76" y="17"/>
                  </a:cubicBezTo>
                  <a:cubicBezTo>
                    <a:pt x="73" y="14"/>
                    <a:pt x="69" y="13"/>
                    <a:pt x="66" y="13"/>
                  </a:cubicBezTo>
                  <a:cubicBezTo>
                    <a:pt x="53" y="12"/>
                    <a:pt x="34" y="24"/>
                    <a:pt x="17" y="44"/>
                  </a:cubicBezTo>
                  <a:cubicBezTo>
                    <a:pt x="8" y="36"/>
                    <a:pt x="8" y="36"/>
                    <a:pt x="8" y="36"/>
                  </a:cubicBezTo>
                  <a:cubicBezTo>
                    <a:pt x="36" y="4"/>
                    <a:pt x="57" y="0"/>
                    <a:pt x="67" y="1"/>
                  </a:cubicBezTo>
                  <a:cubicBezTo>
                    <a:pt x="75" y="1"/>
                    <a:pt x="82" y="5"/>
                    <a:pt x="86" y="11"/>
                  </a:cubicBezTo>
                  <a:cubicBezTo>
                    <a:pt x="90" y="17"/>
                    <a:pt x="91" y="24"/>
                    <a:pt x="88" y="31"/>
                  </a:cubicBezTo>
                  <a:cubicBezTo>
                    <a:pt x="82" y="47"/>
                    <a:pt x="54" y="62"/>
                    <a:pt x="2" y="74"/>
                  </a:cubicBezTo>
                  <a:close/>
                </a:path>
              </a:pathLst>
            </a:custGeom>
            <a:solidFill>
              <a:srgbClr val="88D5ED"/>
            </a:solidFill>
            <a:ln>
              <a:noFill/>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352557185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ytuł 1">
            <a:extLst>
              <a:ext uri="{FF2B5EF4-FFF2-40B4-BE49-F238E27FC236}">
                <a16:creationId xmlns:a16="http://schemas.microsoft.com/office/drawing/2014/main" id="{DEA935F7-2904-40FF-A73D-3CCC59AF658E}"/>
              </a:ext>
            </a:extLst>
          </p:cNvPr>
          <p:cNvSpPr>
            <a:spLocks noGrp="1"/>
          </p:cNvSpPr>
          <p:nvPr>
            <p:ph type="title"/>
          </p:nvPr>
        </p:nvSpPr>
        <p:spPr/>
        <p:txBody>
          <a:bodyPr/>
          <a:lstStyle/>
          <a:p>
            <a:r>
              <a:rPr lang="en-US" sz="3200" dirty="0"/>
              <a:t>Default literal expressions</a:t>
            </a:r>
          </a:p>
        </p:txBody>
      </p:sp>
      <p:sp>
        <p:nvSpPr>
          <p:cNvPr id="4" name="Symbol zastępczy tekstu 3">
            <a:extLst>
              <a:ext uri="{FF2B5EF4-FFF2-40B4-BE49-F238E27FC236}">
                <a16:creationId xmlns:a16="http://schemas.microsoft.com/office/drawing/2014/main" id="{5AE649E8-E6A2-4473-82C4-13CDFACEAAA5}"/>
              </a:ext>
            </a:extLst>
          </p:cNvPr>
          <p:cNvSpPr>
            <a:spLocks noGrp="1"/>
          </p:cNvSpPr>
          <p:nvPr>
            <p:ph type="body" sz="quarter" idx="11"/>
          </p:nvPr>
        </p:nvSpPr>
        <p:spPr/>
        <p:txBody>
          <a:bodyPr/>
          <a:lstStyle/>
          <a:p>
            <a:r>
              <a:rPr lang="en-US" dirty="0"/>
              <a:t>C# 7.0</a:t>
            </a:r>
          </a:p>
          <a:p>
            <a:endParaRPr lang="en-US" dirty="0"/>
          </a:p>
        </p:txBody>
      </p:sp>
      <p:sp>
        <p:nvSpPr>
          <p:cNvPr id="5" name="Symbol zastępczy tekstu 4">
            <a:extLst>
              <a:ext uri="{FF2B5EF4-FFF2-40B4-BE49-F238E27FC236}">
                <a16:creationId xmlns:a16="http://schemas.microsoft.com/office/drawing/2014/main" id="{026454BF-D147-4265-B180-0D1A4FC7A23F}"/>
              </a:ext>
            </a:extLst>
          </p:cNvPr>
          <p:cNvSpPr>
            <a:spLocks noGrp="1"/>
          </p:cNvSpPr>
          <p:nvPr>
            <p:ph type="body" sz="quarter" idx="12"/>
          </p:nvPr>
        </p:nvSpPr>
        <p:spPr/>
        <p:txBody>
          <a:bodyPr/>
          <a:lstStyle/>
          <a:p>
            <a:r>
              <a:rPr lang="en-US" dirty="0"/>
              <a:t>1</a:t>
            </a:r>
          </a:p>
        </p:txBody>
      </p:sp>
    </p:spTree>
    <p:extLst>
      <p:ext uri="{BB962C8B-B14F-4D97-AF65-F5344CB8AC3E}">
        <p14:creationId xmlns:p14="http://schemas.microsoft.com/office/powerpoint/2010/main" val="268286255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ytuł 1">
            <a:extLst>
              <a:ext uri="{FF2B5EF4-FFF2-40B4-BE49-F238E27FC236}">
                <a16:creationId xmlns:a16="http://schemas.microsoft.com/office/drawing/2014/main" id="{DEA935F7-2904-40FF-A73D-3CCC59AF658E}"/>
              </a:ext>
            </a:extLst>
          </p:cNvPr>
          <p:cNvSpPr>
            <a:spLocks noGrp="1"/>
          </p:cNvSpPr>
          <p:nvPr>
            <p:ph type="title"/>
          </p:nvPr>
        </p:nvSpPr>
        <p:spPr/>
        <p:txBody>
          <a:bodyPr/>
          <a:lstStyle/>
          <a:p>
            <a:r>
              <a:rPr lang="en-US" sz="3200" dirty="0"/>
              <a:t>Default literal expressions</a:t>
            </a:r>
          </a:p>
        </p:txBody>
      </p:sp>
      <p:sp>
        <p:nvSpPr>
          <p:cNvPr id="4" name="Symbol zastępczy tekstu 3">
            <a:extLst>
              <a:ext uri="{FF2B5EF4-FFF2-40B4-BE49-F238E27FC236}">
                <a16:creationId xmlns:a16="http://schemas.microsoft.com/office/drawing/2014/main" id="{5AE649E8-E6A2-4473-82C4-13CDFACEAAA5}"/>
              </a:ext>
            </a:extLst>
          </p:cNvPr>
          <p:cNvSpPr>
            <a:spLocks noGrp="1"/>
          </p:cNvSpPr>
          <p:nvPr>
            <p:ph type="body" sz="quarter" idx="11"/>
          </p:nvPr>
        </p:nvSpPr>
        <p:spPr/>
        <p:txBody>
          <a:bodyPr/>
          <a:lstStyle/>
          <a:p>
            <a:r>
              <a:rPr lang="en-US" dirty="0"/>
              <a:t>C# 7.1</a:t>
            </a:r>
          </a:p>
          <a:p>
            <a:endParaRPr lang="en-US" dirty="0"/>
          </a:p>
        </p:txBody>
      </p:sp>
      <p:sp>
        <p:nvSpPr>
          <p:cNvPr id="5" name="Symbol zastępczy tekstu 4">
            <a:extLst>
              <a:ext uri="{FF2B5EF4-FFF2-40B4-BE49-F238E27FC236}">
                <a16:creationId xmlns:a16="http://schemas.microsoft.com/office/drawing/2014/main" id="{026454BF-D147-4265-B180-0D1A4FC7A23F}"/>
              </a:ext>
            </a:extLst>
          </p:cNvPr>
          <p:cNvSpPr>
            <a:spLocks noGrp="1"/>
          </p:cNvSpPr>
          <p:nvPr>
            <p:ph type="body" sz="quarter" idx="12"/>
          </p:nvPr>
        </p:nvSpPr>
        <p:spPr/>
        <p:txBody>
          <a:bodyPr/>
          <a:lstStyle/>
          <a:p>
            <a:r>
              <a:rPr lang="en-US" dirty="0"/>
              <a:t>2</a:t>
            </a:r>
          </a:p>
        </p:txBody>
      </p:sp>
    </p:spTree>
    <p:extLst>
      <p:ext uri="{BB962C8B-B14F-4D97-AF65-F5344CB8AC3E}">
        <p14:creationId xmlns:p14="http://schemas.microsoft.com/office/powerpoint/2010/main" val="32327408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pl-PL" dirty="0"/>
              <a:t>Agenda</a:t>
            </a:r>
            <a:endParaRPr lang="en-GB" dirty="0"/>
          </a:p>
        </p:txBody>
      </p:sp>
      <p:sp>
        <p:nvSpPr>
          <p:cNvPr id="5" name="Text Placeholder 4"/>
          <p:cNvSpPr>
            <a:spLocks noGrp="1"/>
          </p:cNvSpPr>
          <p:nvPr>
            <p:ph type="body" sz="quarter" idx="10"/>
          </p:nvPr>
        </p:nvSpPr>
        <p:spPr/>
        <p:txBody>
          <a:bodyPr/>
          <a:lstStyle/>
          <a:p>
            <a:pPr lvl="1"/>
            <a:r>
              <a:rPr lang="en-US" dirty="0">
                <a:solidFill>
                  <a:schemeClr val="bg1">
                    <a:lumMod val="95000"/>
                  </a:schemeClr>
                </a:solidFill>
              </a:rPr>
              <a:t>Introduction</a:t>
            </a:r>
          </a:p>
          <a:p>
            <a:pPr lvl="2"/>
            <a:r>
              <a:rPr lang="en-US" dirty="0">
                <a:solidFill>
                  <a:schemeClr val="bg1">
                    <a:lumMod val="95000"/>
                  </a:schemeClr>
                </a:solidFill>
              </a:rPr>
              <a:t>The recent C# versions timeline,</a:t>
            </a:r>
          </a:p>
          <a:p>
            <a:pPr lvl="2"/>
            <a:r>
              <a:rPr lang="en-US" dirty="0">
                <a:solidFill>
                  <a:schemeClr val="bg1">
                    <a:lumMod val="95000"/>
                  </a:schemeClr>
                </a:solidFill>
              </a:rPr>
              <a:t>C# 8.0 pre-requirements,</a:t>
            </a:r>
          </a:p>
          <a:p>
            <a:pPr lvl="2"/>
            <a:r>
              <a:rPr lang="en-US" dirty="0">
                <a:solidFill>
                  <a:schemeClr val="bg1">
                    <a:lumMod val="95000"/>
                  </a:schemeClr>
                </a:solidFill>
              </a:rPr>
              <a:t>dive into an example.</a:t>
            </a:r>
          </a:p>
          <a:p>
            <a:pPr lvl="1"/>
            <a:r>
              <a:rPr lang="en-US" dirty="0">
                <a:solidFill>
                  <a:schemeClr val="bg1">
                    <a:lumMod val="95000"/>
                  </a:schemeClr>
                </a:solidFill>
              </a:rPr>
              <a:t>What’s new in C# 7.1</a:t>
            </a:r>
          </a:p>
          <a:p>
            <a:pPr lvl="2"/>
            <a:r>
              <a:rPr lang="en-US" dirty="0">
                <a:solidFill>
                  <a:schemeClr val="bg1">
                    <a:lumMod val="95000"/>
                  </a:schemeClr>
                </a:solidFill>
              </a:rPr>
              <a:t>Async Main method,</a:t>
            </a:r>
          </a:p>
          <a:p>
            <a:pPr lvl="2"/>
            <a:r>
              <a:rPr lang="en-US" dirty="0">
                <a:solidFill>
                  <a:schemeClr val="bg1">
                    <a:lumMod val="95000"/>
                  </a:schemeClr>
                </a:solidFill>
              </a:rPr>
              <a:t>default literal expressions,</a:t>
            </a:r>
          </a:p>
          <a:p>
            <a:pPr lvl="2"/>
            <a:r>
              <a:rPr lang="en-US" dirty="0">
                <a:solidFill>
                  <a:schemeClr val="bg1">
                    <a:lumMod val="95000"/>
                  </a:schemeClr>
                </a:solidFill>
              </a:rPr>
              <a:t>inferred tuple element names.</a:t>
            </a:r>
          </a:p>
          <a:p>
            <a:pPr lvl="1"/>
            <a:r>
              <a:rPr lang="en-US" dirty="0">
                <a:solidFill>
                  <a:schemeClr val="bg1">
                    <a:lumMod val="95000"/>
                  </a:schemeClr>
                </a:solidFill>
              </a:rPr>
              <a:t>What’s new in C# 7.2</a:t>
            </a:r>
          </a:p>
          <a:p>
            <a:pPr lvl="2"/>
            <a:r>
              <a:rPr lang="en-US" dirty="0">
                <a:solidFill>
                  <a:schemeClr val="bg1">
                    <a:lumMod val="95000"/>
                  </a:schemeClr>
                </a:solidFill>
              </a:rPr>
              <a:t>Safe efficient code enhancements,</a:t>
            </a:r>
          </a:p>
          <a:p>
            <a:pPr lvl="2"/>
            <a:r>
              <a:rPr lang="en-US" dirty="0">
                <a:solidFill>
                  <a:schemeClr val="bg1">
                    <a:lumMod val="95000"/>
                  </a:schemeClr>
                </a:solidFill>
              </a:rPr>
              <a:t>non-trailing named arguments,</a:t>
            </a:r>
          </a:p>
          <a:p>
            <a:pPr lvl="2"/>
            <a:r>
              <a:rPr lang="en-US" dirty="0">
                <a:solidFill>
                  <a:schemeClr val="bg1">
                    <a:lumMod val="95000"/>
                  </a:schemeClr>
                </a:solidFill>
              </a:rPr>
              <a:t>leading underscores in numeric literals,</a:t>
            </a:r>
          </a:p>
          <a:p>
            <a:pPr lvl="2"/>
            <a:r>
              <a:rPr lang="en-US" dirty="0">
                <a:solidFill>
                  <a:schemeClr val="bg1">
                    <a:lumMod val="95000"/>
                  </a:schemeClr>
                </a:solidFill>
              </a:rPr>
              <a:t>private protected access modifier,</a:t>
            </a:r>
          </a:p>
          <a:p>
            <a:pPr lvl="2"/>
            <a:r>
              <a:rPr lang="en-US" dirty="0">
                <a:solidFill>
                  <a:schemeClr val="bg1">
                    <a:lumMod val="95000"/>
                  </a:schemeClr>
                </a:solidFill>
              </a:rPr>
              <a:t>conditional ref expressions.</a:t>
            </a:r>
          </a:p>
        </p:txBody>
      </p:sp>
      <p:sp>
        <p:nvSpPr>
          <p:cNvPr id="6" name="Text Placeholder 5"/>
          <p:cNvSpPr>
            <a:spLocks noGrp="1"/>
          </p:cNvSpPr>
          <p:nvPr>
            <p:ph type="body" sz="quarter" idx="11"/>
          </p:nvPr>
        </p:nvSpPr>
        <p:spPr/>
        <p:txBody>
          <a:bodyPr/>
          <a:lstStyle/>
          <a:p>
            <a:r>
              <a:rPr lang="en-US" dirty="0"/>
              <a:t>We are going to talk about…</a:t>
            </a:r>
          </a:p>
        </p:txBody>
      </p:sp>
      <p:sp>
        <p:nvSpPr>
          <p:cNvPr id="8" name="Text Placeholder 4">
            <a:extLst>
              <a:ext uri="{FF2B5EF4-FFF2-40B4-BE49-F238E27FC236}">
                <a16:creationId xmlns:a16="http://schemas.microsoft.com/office/drawing/2014/main" id="{52580643-4575-408B-8BE0-E817BC2D360B}"/>
              </a:ext>
            </a:extLst>
          </p:cNvPr>
          <p:cNvSpPr txBox="1">
            <a:spLocks/>
          </p:cNvSpPr>
          <p:nvPr/>
        </p:nvSpPr>
        <p:spPr>
          <a:xfrm>
            <a:off x="227348" y="1815350"/>
            <a:ext cx="11700000" cy="4466201"/>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r>
              <a:rPr lang="en-US" dirty="0"/>
              <a:t>Introduction</a:t>
            </a:r>
          </a:p>
          <a:p>
            <a:pPr lvl="2"/>
            <a:r>
              <a:rPr lang="en-US" dirty="0"/>
              <a:t>The recent C# versions timeline,</a:t>
            </a:r>
          </a:p>
          <a:p>
            <a:pPr lvl="2"/>
            <a:r>
              <a:rPr lang="en-US" dirty="0"/>
              <a:t>C# 8.0 pre-requirements,</a:t>
            </a:r>
          </a:p>
          <a:p>
            <a:pPr lvl="2"/>
            <a:r>
              <a:rPr lang="en-US" dirty="0"/>
              <a:t>dive into an example.</a:t>
            </a:r>
          </a:p>
          <a:p>
            <a:pPr lvl="1"/>
            <a:r>
              <a:rPr lang="en-US" dirty="0"/>
              <a:t>What’s new in C# 7.1</a:t>
            </a:r>
          </a:p>
          <a:p>
            <a:pPr lvl="2"/>
            <a:r>
              <a:rPr lang="en-US" dirty="0"/>
              <a:t>Async Main method,</a:t>
            </a:r>
          </a:p>
          <a:p>
            <a:pPr lvl="2"/>
            <a:r>
              <a:rPr lang="en-US" dirty="0"/>
              <a:t>default literal expressions,</a:t>
            </a:r>
          </a:p>
          <a:p>
            <a:pPr lvl="2"/>
            <a:r>
              <a:rPr lang="en-US" dirty="0"/>
              <a:t>inferred tuple element names.</a:t>
            </a:r>
          </a:p>
        </p:txBody>
      </p:sp>
    </p:spTree>
    <p:extLst>
      <p:ext uri="{BB962C8B-B14F-4D97-AF65-F5344CB8AC3E}">
        <p14:creationId xmlns:p14="http://schemas.microsoft.com/office/powerpoint/2010/main" val="243902432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
                                            <p:txEl>
                                              <p:pRg st="7" end="7"/>
                                            </p:txEl>
                                          </p:spTgt>
                                        </p:tgtEl>
                                        <p:attrNameLst>
                                          <p:attrName>style.visibility</p:attrName>
                                        </p:attrNameLst>
                                      </p:cBhvr>
                                      <p:to>
                                        <p:strVal val="visible"/>
                                      </p:to>
                                    </p:set>
                                    <p:animEffect transition="in" filter="fade">
                                      <p:cBhvr>
                                        <p:cTn id="7" dur="500"/>
                                        <p:tgtEl>
                                          <p:spTgt spid="8">
                                            <p:txEl>
                                              <p:pRg st="7" end="7"/>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1">
            <a:extLst>
              <a:ext uri="{FF2B5EF4-FFF2-40B4-BE49-F238E27FC236}">
                <a16:creationId xmlns:a16="http://schemas.microsoft.com/office/drawing/2014/main" id="{DFE65AC8-4B48-4DEB-B06E-2387FD91B563}"/>
              </a:ext>
            </a:extLst>
          </p:cNvPr>
          <p:cNvSpPr>
            <a:spLocks noGrp="1"/>
          </p:cNvSpPr>
          <p:nvPr>
            <p:ph type="pic" sz="quarter" idx="10"/>
          </p:nvPr>
        </p:nvSpPr>
        <p:spPr/>
      </p:sp>
      <p:sp>
        <p:nvSpPr>
          <p:cNvPr id="6" name="Symbol zastępczy tekstu 5">
            <a:extLst>
              <a:ext uri="{FF2B5EF4-FFF2-40B4-BE49-F238E27FC236}">
                <a16:creationId xmlns:a16="http://schemas.microsoft.com/office/drawing/2014/main" id="{EC19D1F0-CA19-48E4-B6B7-FE7D3388EB92}"/>
              </a:ext>
            </a:extLst>
          </p:cNvPr>
          <p:cNvSpPr>
            <a:spLocks noGrp="1"/>
          </p:cNvSpPr>
          <p:nvPr>
            <p:ph type="body" sz="quarter" idx="11"/>
          </p:nvPr>
        </p:nvSpPr>
        <p:spPr/>
        <p:txBody>
          <a:bodyPr/>
          <a:lstStyle/>
          <a:p>
            <a:r>
              <a:rPr lang="en-US" dirty="0"/>
              <a:t>What’s new in C# 7.1</a:t>
            </a:r>
          </a:p>
          <a:p>
            <a:r>
              <a:rPr lang="en-US" sz="2400" dirty="0"/>
              <a:t>Inferred tuple element names</a:t>
            </a:r>
          </a:p>
          <a:p>
            <a:endParaRPr lang="en-US" dirty="0"/>
          </a:p>
        </p:txBody>
      </p:sp>
      <p:sp>
        <p:nvSpPr>
          <p:cNvPr id="28" name="Freeform 37">
            <a:extLst>
              <a:ext uri="{FF2B5EF4-FFF2-40B4-BE49-F238E27FC236}">
                <a16:creationId xmlns:a16="http://schemas.microsoft.com/office/drawing/2014/main" id="{C163FEF7-EB42-4298-AED9-19E8D9ACF2E4}"/>
              </a:ext>
            </a:extLst>
          </p:cNvPr>
          <p:cNvSpPr>
            <a:spLocks/>
          </p:cNvSpPr>
          <p:nvPr/>
        </p:nvSpPr>
        <p:spPr bwMode="auto">
          <a:xfrm>
            <a:off x="8472264" y="3933056"/>
            <a:ext cx="844550" cy="793750"/>
          </a:xfrm>
          <a:custGeom>
            <a:avLst/>
            <a:gdLst>
              <a:gd name="T0" fmla="*/ 51 w 440"/>
              <a:gd name="T1" fmla="*/ 298 h 410"/>
              <a:gd name="T2" fmla="*/ 128 w 440"/>
              <a:gd name="T3" fmla="*/ 48 h 410"/>
              <a:gd name="T4" fmla="*/ 389 w 440"/>
              <a:gd name="T5" fmla="*/ 122 h 410"/>
              <a:gd name="T6" fmla="*/ 307 w 440"/>
              <a:gd name="T7" fmla="*/ 362 h 410"/>
              <a:gd name="T8" fmla="*/ 51 w 440"/>
              <a:gd name="T9" fmla="*/ 298 h 410"/>
            </a:gdLst>
            <a:ahLst/>
            <a:cxnLst>
              <a:cxn ang="0">
                <a:pos x="T0" y="T1"/>
              </a:cxn>
              <a:cxn ang="0">
                <a:pos x="T2" y="T3"/>
              </a:cxn>
              <a:cxn ang="0">
                <a:pos x="T4" y="T5"/>
              </a:cxn>
              <a:cxn ang="0">
                <a:pos x="T6" y="T7"/>
              </a:cxn>
              <a:cxn ang="0">
                <a:pos x="T8" y="T9"/>
              </a:cxn>
            </a:cxnLst>
            <a:rect l="0" t="0" r="r" b="b"/>
            <a:pathLst>
              <a:path w="440" h="410">
                <a:moveTo>
                  <a:pt x="51" y="298"/>
                </a:moveTo>
                <a:cubicBezTo>
                  <a:pt x="0" y="209"/>
                  <a:pt x="34" y="97"/>
                  <a:pt x="128" y="48"/>
                </a:cubicBezTo>
                <a:cubicBezTo>
                  <a:pt x="221" y="0"/>
                  <a:pt x="338" y="33"/>
                  <a:pt x="389" y="122"/>
                </a:cubicBezTo>
                <a:cubicBezTo>
                  <a:pt x="440" y="212"/>
                  <a:pt x="400" y="313"/>
                  <a:pt x="307" y="362"/>
                </a:cubicBezTo>
                <a:cubicBezTo>
                  <a:pt x="214" y="410"/>
                  <a:pt x="102" y="388"/>
                  <a:pt x="51" y="298"/>
                </a:cubicBezTo>
              </a:path>
            </a:pathLst>
          </a:custGeom>
          <a:solidFill>
            <a:srgbClr val="860864"/>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3" name="Oval 20">
            <a:extLst>
              <a:ext uri="{FF2B5EF4-FFF2-40B4-BE49-F238E27FC236}">
                <a16:creationId xmlns:a16="http://schemas.microsoft.com/office/drawing/2014/main" id="{EE9B31FA-25FA-4CC1-863F-BB3D69944DF9}"/>
              </a:ext>
            </a:extLst>
          </p:cNvPr>
          <p:cNvSpPr/>
          <p:nvPr/>
        </p:nvSpPr>
        <p:spPr>
          <a:xfrm>
            <a:off x="8897441" y="2431978"/>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42" name="Oval 20">
            <a:extLst>
              <a:ext uri="{FF2B5EF4-FFF2-40B4-BE49-F238E27FC236}">
                <a16:creationId xmlns:a16="http://schemas.microsoft.com/office/drawing/2014/main" id="{9C48F09E-5C3B-4BEA-BD8F-85A5DCB0325B}"/>
              </a:ext>
            </a:extLst>
          </p:cNvPr>
          <p:cNvSpPr/>
          <p:nvPr/>
        </p:nvSpPr>
        <p:spPr>
          <a:xfrm>
            <a:off x="8948712" y="4379462"/>
            <a:ext cx="1356623" cy="128178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10" name="Group 597">
            <a:extLst>
              <a:ext uri="{FF2B5EF4-FFF2-40B4-BE49-F238E27FC236}">
                <a16:creationId xmlns:a16="http://schemas.microsoft.com/office/drawing/2014/main" id="{C86AC1E7-8BAA-4168-A870-680E08912891}"/>
              </a:ext>
            </a:extLst>
          </p:cNvPr>
          <p:cNvGrpSpPr>
            <a:grpSpLocks noChangeAspect="1"/>
          </p:cNvGrpSpPr>
          <p:nvPr/>
        </p:nvGrpSpPr>
        <p:grpSpPr>
          <a:xfrm>
            <a:off x="9303052" y="2739280"/>
            <a:ext cx="1411297" cy="1271403"/>
            <a:chOff x="2995612" y="5824538"/>
            <a:chExt cx="544512" cy="490538"/>
          </a:xfrm>
        </p:grpSpPr>
        <p:sp>
          <p:nvSpPr>
            <p:cNvPr id="12" name="Freeform 234">
              <a:extLst>
                <a:ext uri="{FF2B5EF4-FFF2-40B4-BE49-F238E27FC236}">
                  <a16:creationId xmlns:a16="http://schemas.microsoft.com/office/drawing/2014/main" id="{EB0E0BA5-03BC-4982-8568-F71744BEA480}"/>
                </a:ext>
              </a:extLst>
            </p:cNvPr>
            <p:cNvSpPr>
              <a:spLocks/>
            </p:cNvSpPr>
            <p:nvPr/>
          </p:nvSpPr>
          <p:spPr bwMode="auto">
            <a:xfrm>
              <a:off x="3060700" y="5943600"/>
              <a:ext cx="152400" cy="163513"/>
            </a:xfrm>
            <a:custGeom>
              <a:avLst/>
              <a:gdLst>
                <a:gd name="T0" fmla="*/ 42 w 79"/>
                <a:gd name="T1" fmla="*/ 83 h 84"/>
                <a:gd name="T2" fmla="*/ 78 w 79"/>
                <a:gd name="T3" fmla="*/ 39 h 84"/>
                <a:gd name="T4" fmla="*/ 40 w 79"/>
                <a:gd name="T5" fmla="*/ 1 h 84"/>
                <a:gd name="T6" fmla="*/ 1 w 79"/>
                <a:gd name="T7" fmla="*/ 45 h 84"/>
                <a:gd name="T8" fmla="*/ 42 w 79"/>
                <a:gd name="T9" fmla="*/ 83 h 84"/>
              </a:gdLst>
              <a:ahLst/>
              <a:cxnLst>
                <a:cxn ang="0">
                  <a:pos x="T0" y="T1"/>
                </a:cxn>
                <a:cxn ang="0">
                  <a:pos x="T2" y="T3"/>
                </a:cxn>
                <a:cxn ang="0">
                  <a:pos x="T4" y="T5"/>
                </a:cxn>
                <a:cxn ang="0">
                  <a:pos x="T6" y="T7"/>
                </a:cxn>
                <a:cxn ang="0">
                  <a:pos x="T8" y="T9"/>
                </a:cxn>
              </a:cxnLst>
              <a:rect l="0" t="0" r="r" b="b"/>
              <a:pathLst>
                <a:path w="79" h="84">
                  <a:moveTo>
                    <a:pt x="42" y="83"/>
                  </a:moveTo>
                  <a:cubicBezTo>
                    <a:pt x="64" y="81"/>
                    <a:pt x="79" y="62"/>
                    <a:pt x="78" y="39"/>
                  </a:cubicBezTo>
                  <a:cubicBezTo>
                    <a:pt x="78" y="17"/>
                    <a:pt x="62" y="0"/>
                    <a:pt x="40" y="1"/>
                  </a:cubicBezTo>
                  <a:cubicBezTo>
                    <a:pt x="18" y="3"/>
                    <a:pt x="0" y="22"/>
                    <a:pt x="1" y="45"/>
                  </a:cubicBezTo>
                  <a:cubicBezTo>
                    <a:pt x="2" y="67"/>
                    <a:pt x="20" y="84"/>
                    <a:pt x="42" y="83"/>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235">
              <a:extLst>
                <a:ext uri="{FF2B5EF4-FFF2-40B4-BE49-F238E27FC236}">
                  <a16:creationId xmlns:a16="http://schemas.microsoft.com/office/drawing/2014/main" id="{172FA0C8-D560-4A9F-990A-38F1D18DC067}"/>
                </a:ext>
              </a:extLst>
            </p:cNvPr>
            <p:cNvSpPr>
              <a:spLocks/>
            </p:cNvSpPr>
            <p:nvPr/>
          </p:nvSpPr>
          <p:spPr bwMode="auto">
            <a:xfrm>
              <a:off x="2995612" y="6126163"/>
              <a:ext cx="282575" cy="188913"/>
            </a:xfrm>
            <a:custGeom>
              <a:avLst/>
              <a:gdLst>
                <a:gd name="T0" fmla="*/ 0 w 147"/>
                <a:gd name="T1" fmla="*/ 83 h 97"/>
                <a:gd name="T2" fmla="*/ 1 w 147"/>
                <a:gd name="T3" fmla="*/ 65 h 97"/>
                <a:gd name="T4" fmla="*/ 54 w 147"/>
                <a:gd name="T5" fmla="*/ 11 h 97"/>
                <a:gd name="T6" fmla="*/ 142 w 147"/>
                <a:gd name="T7" fmla="*/ 53 h 97"/>
                <a:gd name="T8" fmla="*/ 121 w 147"/>
                <a:gd name="T9" fmla="*/ 87 h 97"/>
                <a:gd name="T10" fmla="*/ 0 w 147"/>
                <a:gd name="T11" fmla="*/ 83 h 97"/>
              </a:gdLst>
              <a:ahLst/>
              <a:cxnLst>
                <a:cxn ang="0">
                  <a:pos x="T0" y="T1"/>
                </a:cxn>
                <a:cxn ang="0">
                  <a:pos x="T2" y="T3"/>
                </a:cxn>
                <a:cxn ang="0">
                  <a:pos x="T4" y="T5"/>
                </a:cxn>
                <a:cxn ang="0">
                  <a:pos x="T6" y="T7"/>
                </a:cxn>
                <a:cxn ang="0">
                  <a:pos x="T8" y="T9"/>
                </a:cxn>
                <a:cxn ang="0">
                  <a:pos x="T10" y="T11"/>
                </a:cxn>
              </a:cxnLst>
              <a:rect l="0" t="0" r="r" b="b"/>
              <a:pathLst>
                <a:path w="147" h="97">
                  <a:moveTo>
                    <a:pt x="0" y="83"/>
                  </a:moveTo>
                  <a:cubicBezTo>
                    <a:pt x="0" y="77"/>
                    <a:pt x="0" y="71"/>
                    <a:pt x="1" y="65"/>
                  </a:cubicBezTo>
                  <a:cubicBezTo>
                    <a:pt x="7" y="38"/>
                    <a:pt x="28" y="17"/>
                    <a:pt x="54" y="11"/>
                  </a:cubicBezTo>
                  <a:cubicBezTo>
                    <a:pt x="104" y="0"/>
                    <a:pt x="133" y="25"/>
                    <a:pt x="142" y="53"/>
                  </a:cubicBezTo>
                  <a:cubicBezTo>
                    <a:pt x="147" y="68"/>
                    <a:pt x="137" y="85"/>
                    <a:pt x="121" y="87"/>
                  </a:cubicBezTo>
                  <a:cubicBezTo>
                    <a:pt x="65" y="97"/>
                    <a:pt x="33" y="81"/>
                    <a:pt x="0" y="83"/>
                  </a:cubicBezTo>
                </a:path>
              </a:pathLst>
            </a:custGeom>
            <a:solidFill>
              <a:srgbClr val="C7FF17"/>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5" name="Freeform 250">
              <a:extLst>
                <a:ext uri="{FF2B5EF4-FFF2-40B4-BE49-F238E27FC236}">
                  <a16:creationId xmlns:a16="http://schemas.microsoft.com/office/drawing/2014/main" id="{3AC82D17-CCE8-4261-812E-54C91D629680}"/>
                </a:ext>
              </a:extLst>
            </p:cNvPr>
            <p:cNvSpPr>
              <a:spLocks/>
            </p:cNvSpPr>
            <p:nvPr/>
          </p:nvSpPr>
          <p:spPr bwMode="auto">
            <a:xfrm>
              <a:off x="3221037" y="5824538"/>
              <a:ext cx="319087" cy="261938"/>
            </a:xfrm>
            <a:custGeom>
              <a:avLst/>
              <a:gdLst>
                <a:gd name="T0" fmla="*/ 86 w 166"/>
                <a:gd name="T1" fmla="*/ 0 h 135"/>
                <a:gd name="T2" fmla="*/ 6 w 166"/>
                <a:gd name="T3" fmla="*/ 62 h 135"/>
                <a:gd name="T4" fmla="*/ 16 w 166"/>
                <a:gd name="T5" fmla="*/ 135 h 135"/>
                <a:gd name="T6" fmla="*/ 55 w 166"/>
                <a:gd name="T7" fmla="*/ 119 h 135"/>
                <a:gd name="T8" fmla="*/ 73 w 166"/>
                <a:gd name="T9" fmla="*/ 122 h 135"/>
                <a:gd name="T10" fmla="*/ 86 w 166"/>
                <a:gd name="T11" fmla="*/ 123 h 135"/>
                <a:gd name="T12" fmla="*/ 134 w 166"/>
                <a:gd name="T13" fmla="*/ 111 h 135"/>
                <a:gd name="T14" fmla="*/ 166 w 166"/>
                <a:gd name="T15" fmla="*/ 62 h 135"/>
                <a:gd name="T16" fmla="*/ 86 w 166"/>
                <a:gd name="T17" fmla="*/ 0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6" h="135">
                  <a:moveTo>
                    <a:pt x="86" y="0"/>
                  </a:moveTo>
                  <a:cubicBezTo>
                    <a:pt x="42" y="0"/>
                    <a:pt x="12" y="28"/>
                    <a:pt x="6" y="62"/>
                  </a:cubicBezTo>
                  <a:cubicBezTo>
                    <a:pt x="0" y="96"/>
                    <a:pt x="24" y="115"/>
                    <a:pt x="16" y="135"/>
                  </a:cubicBezTo>
                  <a:cubicBezTo>
                    <a:pt x="55" y="119"/>
                    <a:pt x="55" y="119"/>
                    <a:pt x="55" y="119"/>
                  </a:cubicBezTo>
                  <a:cubicBezTo>
                    <a:pt x="61" y="120"/>
                    <a:pt x="67" y="122"/>
                    <a:pt x="73" y="122"/>
                  </a:cubicBezTo>
                  <a:cubicBezTo>
                    <a:pt x="77" y="123"/>
                    <a:pt x="81" y="123"/>
                    <a:pt x="86" y="123"/>
                  </a:cubicBezTo>
                  <a:cubicBezTo>
                    <a:pt x="104" y="123"/>
                    <a:pt x="121" y="119"/>
                    <a:pt x="134" y="111"/>
                  </a:cubicBezTo>
                  <a:cubicBezTo>
                    <a:pt x="153" y="100"/>
                    <a:pt x="166" y="82"/>
                    <a:pt x="166" y="62"/>
                  </a:cubicBezTo>
                  <a:cubicBezTo>
                    <a:pt x="166" y="27"/>
                    <a:pt x="130" y="0"/>
                    <a:pt x="86" y="0"/>
                  </a:cubicBezTo>
                  <a:close/>
                </a:path>
              </a:pathLst>
            </a:custGeom>
            <a:solidFill>
              <a:srgbClr val="6D64CC"/>
            </a:solidFill>
            <a:ln>
              <a:noFill/>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306580519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ytuł 1">
            <a:extLst>
              <a:ext uri="{FF2B5EF4-FFF2-40B4-BE49-F238E27FC236}">
                <a16:creationId xmlns:a16="http://schemas.microsoft.com/office/drawing/2014/main" id="{DEA935F7-2904-40FF-A73D-3CCC59AF658E}"/>
              </a:ext>
            </a:extLst>
          </p:cNvPr>
          <p:cNvSpPr>
            <a:spLocks noGrp="1"/>
          </p:cNvSpPr>
          <p:nvPr>
            <p:ph type="title"/>
          </p:nvPr>
        </p:nvSpPr>
        <p:spPr/>
        <p:txBody>
          <a:bodyPr/>
          <a:lstStyle/>
          <a:p>
            <a:r>
              <a:rPr lang="en-US" sz="3200" dirty="0"/>
              <a:t>Inferred tuple element names</a:t>
            </a:r>
          </a:p>
        </p:txBody>
      </p:sp>
      <p:sp>
        <p:nvSpPr>
          <p:cNvPr id="4" name="Symbol zastępczy tekstu 3">
            <a:extLst>
              <a:ext uri="{FF2B5EF4-FFF2-40B4-BE49-F238E27FC236}">
                <a16:creationId xmlns:a16="http://schemas.microsoft.com/office/drawing/2014/main" id="{5AE649E8-E6A2-4473-82C4-13CDFACEAAA5}"/>
              </a:ext>
            </a:extLst>
          </p:cNvPr>
          <p:cNvSpPr>
            <a:spLocks noGrp="1"/>
          </p:cNvSpPr>
          <p:nvPr>
            <p:ph type="body" sz="quarter" idx="11"/>
          </p:nvPr>
        </p:nvSpPr>
        <p:spPr/>
        <p:txBody>
          <a:bodyPr/>
          <a:lstStyle/>
          <a:p>
            <a:r>
              <a:rPr lang="en-US" dirty="0"/>
              <a:t>C# 7.0</a:t>
            </a:r>
          </a:p>
          <a:p>
            <a:endParaRPr lang="en-US" dirty="0"/>
          </a:p>
        </p:txBody>
      </p:sp>
      <p:sp>
        <p:nvSpPr>
          <p:cNvPr id="5" name="Symbol zastępczy tekstu 4">
            <a:extLst>
              <a:ext uri="{FF2B5EF4-FFF2-40B4-BE49-F238E27FC236}">
                <a16:creationId xmlns:a16="http://schemas.microsoft.com/office/drawing/2014/main" id="{026454BF-D147-4265-B180-0D1A4FC7A23F}"/>
              </a:ext>
            </a:extLst>
          </p:cNvPr>
          <p:cNvSpPr>
            <a:spLocks noGrp="1"/>
          </p:cNvSpPr>
          <p:nvPr>
            <p:ph type="body" sz="quarter" idx="12"/>
          </p:nvPr>
        </p:nvSpPr>
        <p:spPr/>
        <p:txBody>
          <a:bodyPr/>
          <a:lstStyle/>
          <a:p>
            <a:r>
              <a:rPr lang="en-US" dirty="0"/>
              <a:t>1</a:t>
            </a:r>
          </a:p>
        </p:txBody>
      </p:sp>
    </p:spTree>
    <p:extLst>
      <p:ext uri="{BB962C8B-B14F-4D97-AF65-F5344CB8AC3E}">
        <p14:creationId xmlns:p14="http://schemas.microsoft.com/office/powerpoint/2010/main" val="82652659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ytuł 1">
            <a:extLst>
              <a:ext uri="{FF2B5EF4-FFF2-40B4-BE49-F238E27FC236}">
                <a16:creationId xmlns:a16="http://schemas.microsoft.com/office/drawing/2014/main" id="{DEA935F7-2904-40FF-A73D-3CCC59AF658E}"/>
              </a:ext>
            </a:extLst>
          </p:cNvPr>
          <p:cNvSpPr>
            <a:spLocks noGrp="1"/>
          </p:cNvSpPr>
          <p:nvPr>
            <p:ph type="title"/>
          </p:nvPr>
        </p:nvSpPr>
        <p:spPr/>
        <p:txBody>
          <a:bodyPr/>
          <a:lstStyle/>
          <a:p>
            <a:r>
              <a:rPr lang="en-US" sz="3200" dirty="0"/>
              <a:t>Inferred tuple element names</a:t>
            </a:r>
          </a:p>
        </p:txBody>
      </p:sp>
      <p:sp>
        <p:nvSpPr>
          <p:cNvPr id="4" name="Symbol zastępczy tekstu 3">
            <a:extLst>
              <a:ext uri="{FF2B5EF4-FFF2-40B4-BE49-F238E27FC236}">
                <a16:creationId xmlns:a16="http://schemas.microsoft.com/office/drawing/2014/main" id="{5AE649E8-E6A2-4473-82C4-13CDFACEAAA5}"/>
              </a:ext>
            </a:extLst>
          </p:cNvPr>
          <p:cNvSpPr>
            <a:spLocks noGrp="1"/>
          </p:cNvSpPr>
          <p:nvPr>
            <p:ph type="body" sz="quarter" idx="11"/>
          </p:nvPr>
        </p:nvSpPr>
        <p:spPr/>
        <p:txBody>
          <a:bodyPr/>
          <a:lstStyle/>
          <a:p>
            <a:r>
              <a:rPr lang="en-US" dirty="0"/>
              <a:t>C# 7.1</a:t>
            </a:r>
          </a:p>
          <a:p>
            <a:endParaRPr lang="en-US" dirty="0"/>
          </a:p>
        </p:txBody>
      </p:sp>
      <p:sp>
        <p:nvSpPr>
          <p:cNvPr id="5" name="Symbol zastępczy tekstu 4">
            <a:extLst>
              <a:ext uri="{FF2B5EF4-FFF2-40B4-BE49-F238E27FC236}">
                <a16:creationId xmlns:a16="http://schemas.microsoft.com/office/drawing/2014/main" id="{026454BF-D147-4265-B180-0D1A4FC7A23F}"/>
              </a:ext>
            </a:extLst>
          </p:cNvPr>
          <p:cNvSpPr>
            <a:spLocks noGrp="1"/>
          </p:cNvSpPr>
          <p:nvPr>
            <p:ph type="body" sz="quarter" idx="12"/>
          </p:nvPr>
        </p:nvSpPr>
        <p:spPr/>
        <p:txBody>
          <a:bodyPr/>
          <a:lstStyle/>
          <a:p>
            <a:r>
              <a:rPr lang="en-US" dirty="0"/>
              <a:t>2</a:t>
            </a:r>
          </a:p>
        </p:txBody>
      </p:sp>
    </p:spTree>
    <p:extLst>
      <p:ext uri="{BB962C8B-B14F-4D97-AF65-F5344CB8AC3E}">
        <p14:creationId xmlns:p14="http://schemas.microsoft.com/office/powerpoint/2010/main" val="289704550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pl-PL" dirty="0"/>
              <a:t>Agenda</a:t>
            </a:r>
            <a:endParaRPr lang="en-GB" dirty="0"/>
          </a:p>
        </p:txBody>
      </p:sp>
      <p:sp>
        <p:nvSpPr>
          <p:cNvPr id="5" name="Text Placeholder 4"/>
          <p:cNvSpPr>
            <a:spLocks noGrp="1"/>
          </p:cNvSpPr>
          <p:nvPr>
            <p:ph type="body" sz="quarter" idx="10"/>
          </p:nvPr>
        </p:nvSpPr>
        <p:spPr/>
        <p:txBody>
          <a:bodyPr/>
          <a:lstStyle/>
          <a:p>
            <a:pPr lvl="1"/>
            <a:r>
              <a:rPr lang="en-US" dirty="0">
                <a:solidFill>
                  <a:schemeClr val="bg1">
                    <a:lumMod val="95000"/>
                  </a:schemeClr>
                </a:solidFill>
              </a:rPr>
              <a:t>What’s new in C# 7.3</a:t>
            </a:r>
          </a:p>
          <a:p>
            <a:pPr lvl="2"/>
            <a:r>
              <a:rPr lang="en-US" dirty="0">
                <a:solidFill>
                  <a:schemeClr val="bg1">
                    <a:lumMod val="95000"/>
                  </a:schemeClr>
                </a:solidFill>
              </a:rPr>
              <a:t>Enabling more efficient safe code,</a:t>
            </a:r>
          </a:p>
          <a:p>
            <a:pPr lvl="3"/>
            <a:r>
              <a:rPr lang="en-US" dirty="0">
                <a:solidFill>
                  <a:schemeClr val="bg1">
                    <a:lumMod val="95000"/>
                  </a:schemeClr>
                </a:solidFill>
              </a:rPr>
              <a:t>fixed fields without pinning access,</a:t>
            </a:r>
          </a:p>
          <a:p>
            <a:pPr lvl="3"/>
            <a:r>
              <a:rPr lang="en-US" dirty="0">
                <a:solidFill>
                  <a:schemeClr val="bg1">
                    <a:lumMod val="95000"/>
                  </a:schemeClr>
                </a:solidFill>
              </a:rPr>
              <a:t>local ref variables reassignment,</a:t>
            </a:r>
          </a:p>
          <a:p>
            <a:pPr lvl="3"/>
            <a:r>
              <a:rPr lang="en-US" dirty="0">
                <a:solidFill>
                  <a:schemeClr val="bg1">
                    <a:lumMod val="95000"/>
                  </a:schemeClr>
                </a:solidFill>
              </a:rPr>
              <a:t>array initializers with stackalloc,</a:t>
            </a:r>
          </a:p>
          <a:p>
            <a:pPr lvl="3"/>
            <a:r>
              <a:rPr lang="en-US" dirty="0">
                <a:solidFill>
                  <a:schemeClr val="bg1">
                    <a:lumMod val="95000"/>
                  </a:schemeClr>
                </a:solidFill>
              </a:rPr>
              <a:t>extended fixed support for types,</a:t>
            </a:r>
          </a:p>
          <a:p>
            <a:pPr lvl="3"/>
            <a:r>
              <a:rPr lang="en-US" dirty="0">
                <a:solidFill>
                  <a:schemeClr val="bg1">
                    <a:lumMod val="95000"/>
                  </a:schemeClr>
                </a:solidFill>
              </a:rPr>
              <a:t>enhanced generic constraints.</a:t>
            </a:r>
          </a:p>
          <a:p>
            <a:pPr lvl="2"/>
            <a:r>
              <a:rPr lang="en-US" dirty="0">
                <a:solidFill>
                  <a:schemeClr val="bg1">
                    <a:lumMod val="95000"/>
                  </a:schemeClr>
                </a:solidFill>
              </a:rPr>
              <a:t>Make existing features better</a:t>
            </a:r>
          </a:p>
          <a:p>
            <a:pPr lvl="3"/>
            <a:r>
              <a:rPr lang="en-US" dirty="0">
                <a:solidFill>
                  <a:schemeClr val="bg1">
                    <a:lumMod val="95000"/>
                  </a:schemeClr>
                </a:solidFill>
              </a:rPr>
              <a:t>equality comparator tuple support,</a:t>
            </a:r>
          </a:p>
          <a:p>
            <a:pPr lvl="3"/>
            <a:r>
              <a:rPr lang="en-US" dirty="0">
                <a:solidFill>
                  <a:schemeClr val="bg1">
                    <a:lumMod val="95000"/>
                  </a:schemeClr>
                </a:solidFill>
              </a:rPr>
              <a:t>field attributes for auto-implemented properties,</a:t>
            </a:r>
          </a:p>
          <a:p>
            <a:pPr lvl="3"/>
            <a:r>
              <a:rPr lang="en-US" dirty="0">
                <a:solidFill>
                  <a:schemeClr val="bg1">
                    <a:lumMod val="95000"/>
                  </a:schemeClr>
                </a:solidFill>
              </a:rPr>
              <a:t>in method overload,</a:t>
            </a:r>
          </a:p>
          <a:p>
            <a:pPr lvl="3"/>
            <a:r>
              <a:rPr lang="en-US" dirty="0">
                <a:solidFill>
                  <a:schemeClr val="bg1">
                    <a:lumMod val="95000"/>
                  </a:schemeClr>
                </a:solidFill>
              </a:rPr>
              <a:t>extend expression variables in initializers.</a:t>
            </a:r>
            <a:endParaRPr lang="en-GB" dirty="0">
              <a:solidFill>
                <a:schemeClr val="bg1">
                  <a:lumMod val="95000"/>
                </a:schemeClr>
              </a:solidFill>
            </a:endParaRPr>
          </a:p>
        </p:txBody>
      </p:sp>
      <p:sp>
        <p:nvSpPr>
          <p:cNvPr id="6" name="Text Placeholder 5"/>
          <p:cNvSpPr>
            <a:spLocks noGrp="1"/>
          </p:cNvSpPr>
          <p:nvPr>
            <p:ph type="body" sz="quarter" idx="11"/>
          </p:nvPr>
        </p:nvSpPr>
        <p:spPr/>
        <p:txBody>
          <a:bodyPr/>
          <a:lstStyle/>
          <a:p>
            <a:r>
              <a:rPr lang="en-US" dirty="0"/>
              <a:t>We are going to talk about…</a:t>
            </a:r>
          </a:p>
        </p:txBody>
      </p:sp>
      <p:sp>
        <p:nvSpPr>
          <p:cNvPr id="7" name="Text Placeholder 4">
            <a:extLst>
              <a:ext uri="{FF2B5EF4-FFF2-40B4-BE49-F238E27FC236}">
                <a16:creationId xmlns:a16="http://schemas.microsoft.com/office/drawing/2014/main" id="{ED73704D-A765-4676-B99A-0282F156294F}"/>
              </a:ext>
            </a:extLst>
          </p:cNvPr>
          <p:cNvSpPr txBox="1">
            <a:spLocks/>
          </p:cNvSpPr>
          <p:nvPr/>
        </p:nvSpPr>
        <p:spPr>
          <a:xfrm>
            <a:off x="227348" y="1815351"/>
            <a:ext cx="11700000" cy="4466201"/>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r>
              <a:rPr lang="en-US" dirty="0"/>
              <a:t>What’s new in C# 7.3</a:t>
            </a:r>
          </a:p>
          <a:p>
            <a:pPr lvl="2"/>
            <a:r>
              <a:rPr lang="en-US" dirty="0"/>
              <a:t>Enabling more efficient safe code,</a:t>
            </a:r>
          </a:p>
          <a:p>
            <a:pPr lvl="3"/>
            <a:r>
              <a:rPr lang="en-US" dirty="0"/>
              <a:t>fixed fields without pinning access,</a:t>
            </a:r>
          </a:p>
          <a:p>
            <a:pPr lvl="3"/>
            <a:r>
              <a:rPr lang="en-US" dirty="0"/>
              <a:t>local ref variables reassignment,</a:t>
            </a:r>
          </a:p>
          <a:p>
            <a:pPr lvl="3"/>
            <a:r>
              <a:rPr lang="en-US" dirty="0"/>
              <a:t>array initializers with stackalloc,</a:t>
            </a:r>
          </a:p>
          <a:p>
            <a:pPr lvl="3"/>
            <a:r>
              <a:rPr lang="en-US" dirty="0"/>
              <a:t>extended fixed support for types,</a:t>
            </a:r>
          </a:p>
          <a:p>
            <a:pPr lvl="3"/>
            <a:r>
              <a:rPr lang="en-US" dirty="0"/>
              <a:t>enhanced generic constraints.</a:t>
            </a:r>
          </a:p>
          <a:p>
            <a:pPr lvl="2"/>
            <a:r>
              <a:rPr lang="en-US" dirty="0"/>
              <a:t>Make existing features better</a:t>
            </a:r>
          </a:p>
          <a:p>
            <a:pPr lvl="3"/>
            <a:r>
              <a:rPr lang="en-US" dirty="0"/>
              <a:t>equality comparator tuple support,</a:t>
            </a:r>
          </a:p>
          <a:p>
            <a:pPr lvl="3"/>
            <a:r>
              <a:rPr lang="en-US" dirty="0"/>
              <a:t>field attributes for auto-implemented properties,</a:t>
            </a:r>
          </a:p>
          <a:p>
            <a:pPr lvl="3"/>
            <a:r>
              <a:rPr lang="en-US" dirty="0"/>
              <a:t>in method overload,</a:t>
            </a:r>
          </a:p>
          <a:p>
            <a:pPr lvl="3"/>
            <a:r>
              <a:rPr lang="en-US" dirty="0"/>
              <a:t>extend expression variables in initializers.</a:t>
            </a:r>
            <a:endParaRPr lang="en-GB" dirty="0"/>
          </a:p>
        </p:txBody>
      </p:sp>
    </p:spTree>
    <p:extLst>
      <p:ext uri="{BB962C8B-B14F-4D97-AF65-F5344CB8AC3E}">
        <p14:creationId xmlns:p14="http://schemas.microsoft.com/office/powerpoint/2010/main" val="98290896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
                                            <p:txEl>
                                              <p:pRg st="1" end="1"/>
                                            </p:txEl>
                                          </p:spTgt>
                                        </p:tgtEl>
                                        <p:attrNameLst>
                                          <p:attrName>style.visibility</p:attrName>
                                        </p:attrNameLst>
                                      </p:cBhvr>
                                      <p:to>
                                        <p:strVal val="visible"/>
                                      </p:to>
                                    </p:set>
                                    <p:animEffect transition="in" filter="fade">
                                      <p:cBhvr>
                                        <p:cTn id="7" dur="500"/>
                                        <p:tgtEl>
                                          <p:spTgt spid="7">
                                            <p:txEl>
                                              <p:pRg st="1" end="1"/>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7">
                                            <p:txEl>
                                              <p:pRg st="2" end="2"/>
                                            </p:txEl>
                                          </p:spTgt>
                                        </p:tgtEl>
                                        <p:attrNameLst>
                                          <p:attrName>style.visibility</p:attrName>
                                        </p:attrNameLst>
                                      </p:cBhvr>
                                      <p:to>
                                        <p:strVal val="visible"/>
                                      </p:to>
                                    </p:set>
                                    <p:animEffect transition="in" filter="fade">
                                      <p:cBhvr>
                                        <p:cTn id="10" dur="500"/>
                                        <p:tgtEl>
                                          <p:spTgt spid="7">
                                            <p:txEl>
                                              <p:pRg st="2" end="2"/>
                                            </p:txEl>
                                          </p:spTgt>
                                        </p:tgtEl>
                                      </p:cBhvr>
                                    </p:animEffect>
                                  </p:childTnLst>
                                </p:cTn>
                              </p:par>
                              <p:par>
                                <p:cTn id="11" presetID="10" presetClass="entr" presetSubtype="0" fill="hold" nodeType="withEffect">
                                  <p:stCondLst>
                                    <p:cond delay="0"/>
                                  </p:stCondLst>
                                  <p:childTnLst>
                                    <p:set>
                                      <p:cBhvr>
                                        <p:cTn id="12" dur="1" fill="hold">
                                          <p:stCondLst>
                                            <p:cond delay="0"/>
                                          </p:stCondLst>
                                        </p:cTn>
                                        <p:tgtEl>
                                          <p:spTgt spid="7">
                                            <p:txEl>
                                              <p:pRg st="3" end="3"/>
                                            </p:txEl>
                                          </p:spTgt>
                                        </p:tgtEl>
                                        <p:attrNameLst>
                                          <p:attrName>style.visibility</p:attrName>
                                        </p:attrNameLst>
                                      </p:cBhvr>
                                      <p:to>
                                        <p:strVal val="visible"/>
                                      </p:to>
                                    </p:set>
                                    <p:animEffect transition="in" filter="fade">
                                      <p:cBhvr>
                                        <p:cTn id="13" dur="500"/>
                                        <p:tgtEl>
                                          <p:spTgt spid="7">
                                            <p:txEl>
                                              <p:pRg st="3" end="3"/>
                                            </p:txEl>
                                          </p:spTgt>
                                        </p:tgtEl>
                                      </p:cBhvr>
                                    </p:animEffect>
                                  </p:childTnLst>
                                </p:cTn>
                              </p:par>
                              <p:par>
                                <p:cTn id="14" presetID="10" presetClass="entr" presetSubtype="0" fill="hold" nodeType="withEffect">
                                  <p:stCondLst>
                                    <p:cond delay="0"/>
                                  </p:stCondLst>
                                  <p:childTnLst>
                                    <p:set>
                                      <p:cBhvr>
                                        <p:cTn id="15" dur="1" fill="hold">
                                          <p:stCondLst>
                                            <p:cond delay="0"/>
                                          </p:stCondLst>
                                        </p:cTn>
                                        <p:tgtEl>
                                          <p:spTgt spid="7">
                                            <p:txEl>
                                              <p:pRg st="4" end="4"/>
                                            </p:txEl>
                                          </p:spTgt>
                                        </p:tgtEl>
                                        <p:attrNameLst>
                                          <p:attrName>style.visibility</p:attrName>
                                        </p:attrNameLst>
                                      </p:cBhvr>
                                      <p:to>
                                        <p:strVal val="visible"/>
                                      </p:to>
                                    </p:set>
                                    <p:animEffect transition="in" filter="fade">
                                      <p:cBhvr>
                                        <p:cTn id="16" dur="500"/>
                                        <p:tgtEl>
                                          <p:spTgt spid="7">
                                            <p:txEl>
                                              <p:pRg st="4" end="4"/>
                                            </p:txEl>
                                          </p:spTgt>
                                        </p:tgtEl>
                                      </p:cBhvr>
                                    </p:animEffect>
                                  </p:childTnLst>
                                </p:cTn>
                              </p:par>
                              <p:par>
                                <p:cTn id="17" presetID="10" presetClass="entr" presetSubtype="0" fill="hold" nodeType="withEffect">
                                  <p:stCondLst>
                                    <p:cond delay="0"/>
                                  </p:stCondLst>
                                  <p:childTnLst>
                                    <p:set>
                                      <p:cBhvr>
                                        <p:cTn id="18" dur="1" fill="hold">
                                          <p:stCondLst>
                                            <p:cond delay="0"/>
                                          </p:stCondLst>
                                        </p:cTn>
                                        <p:tgtEl>
                                          <p:spTgt spid="7">
                                            <p:txEl>
                                              <p:pRg st="5" end="5"/>
                                            </p:txEl>
                                          </p:spTgt>
                                        </p:tgtEl>
                                        <p:attrNameLst>
                                          <p:attrName>style.visibility</p:attrName>
                                        </p:attrNameLst>
                                      </p:cBhvr>
                                      <p:to>
                                        <p:strVal val="visible"/>
                                      </p:to>
                                    </p:set>
                                    <p:animEffect transition="in" filter="fade">
                                      <p:cBhvr>
                                        <p:cTn id="19" dur="500"/>
                                        <p:tgtEl>
                                          <p:spTgt spid="7">
                                            <p:txEl>
                                              <p:pRg st="5" end="5"/>
                                            </p:txEl>
                                          </p:spTgt>
                                        </p:tgtEl>
                                      </p:cBhvr>
                                    </p:animEffect>
                                  </p:childTnLst>
                                </p:cTn>
                              </p:par>
                              <p:par>
                                <p:cTn id="20" presetID="10" presetClass="entr" presetSubtype="0" fill="hold" nodeType="withEffect">
                                  <p:stCondLst>
                                    <p:cond delay="0"/>
                                  </p:stCondLst>
                                  <p:childTnLst>
                                    <p:set>
                                      <p:cBhvr>
                                        <p:cTn id="21" dur="1" fill="hold">
                                          <p:stCondLst>
                                            <p:cond delay="0"/>
                                          </p:stCondLst>
                                        </p:cTn>
                                        <p:tgtEl>
                                          <p:spTgt spid="7">
                                            <p:txEl>
                                              <p:pRg st="6" end="6"/>
                                            </p:txEl>
                                          </p:spTgt>
                                        </p:tgtEl>
                                        <p:attrNameLst>
                                          <p:attrName>style.visibility</p:attrName>
                                        </p:attrNameLst>
                                      </p:cBhvr>
                                      <p:to>
                                        <p:strVal val="visible"/>
                                      </p:to>
                                    </p:set>
                                    <p:animEffect transition="in" filter="fade">
                                      <p:cBhvr>
                                        <p:cTn id="22" dur="500"/>
                                        <p:tgtEl>
                                          <p:spTgt spid="7">
                                            <p:txEl>
                                              <p:pRg st="6" end="6"/>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7">
                                            <p:txEl>
                                              <p:pRg st="7" end="7"/>
                                            </p:txEl>
                                          </p:spTgt>
                                        </p:tgtEl>
                                        <p:attrNameLst>
                                          <p:attrName>style.visibility</p:attrName>
                                        </p:attrNameLst>
                                      </p:cBhvr>
                                      <p:to>
                                        <p:strVal val="visible"/>
                                      </p:to>
                                    </p:set>
                                    <p:animEffect transition="in" filter="fade">
                                      <p:cBhvr>
                                        <p:cTn id="27" dur="500"/>
                                        <p:tgtEl>
                                          <p:spTgt spid="7">
                                            <p:txEl>
                                              <p:pRg st="7" end="7"/>
                                            </p:txEl>
                                          </p:spTgt>
                                        </p:tgtEl>
                                      </p:cBhvr>
                                    </p:animEffect>
                                  </p:childTnLst>
                                </p:cTn>
                              </p:par>
                              <p:par>
                                <p:cTn id="28" presetID="10" presetClass="entr" presetSubtype="0" fill="hold" nodeType="withEffect">
                                  <p:stCondLst>
                                    <p:cond delay="0"/>
                                  </p:stCondLst>
                                  <p:childTnLst>
                                    <p:set>
                                      <p:cBhvr>
                                        <p:cTn id="29" dur="1" fill="hold">
                                          <p:stCondLst>
                                            <p:cond delay="0"/>
                                          </p:stCondLst>
                                        </p:cTn>
                                        <p:tgtEl>
                                          <p:spTgt spid="7">
                                            <p:txEl>
                                              <p:pRg st="8" end="8"/>
                                            </p:txEl>
                                          </p:spTgt>
                                        </p:tgtEl>
                                        <p:attrNameLst>
                                          <p:attrName>style.visibility</p:attrName>
                                        </p:attrNameLst>
                                      </p:cBhvr>
                                      <p:to>
                                        <p:strVal val="visible"/>
                                      </p:to>
                                    </p:set>
                                    <p:animEffect transition="in" filter="fade">
                                      <p:cBhvr>
                                        <p:cTn id="30" dur="500"/>
                                        <p:tgtEl>
                                          <p:spTgt spid="7">
                                            <p:txEl>
                                              <p:pRg st="8" end="8"/>
                                            </p:txEl>
                                          </p:spTgt>
                                        </p:tgtEl>
                                      </p:cBhvr>
                                    </p:animEffect>
                                  </p:childTnLst>
                                </p:cTn>
                              </p:par>
                              <p:par>
                                <p:cTn id="31" presetID="10" presetClass="entr" presetSubtype="0" fill="hold" nodeType="withEffect">
                                  <p:stCondLst>
                                    <p:cond delay="0"/>
                                  </p:stCondLst>
                                  <p:childTnLst>
                                    <p:set>
                                      <p:cBhvr>
                                        <p:cTn id="32" dur="1" fill="hold">
                                          <p:stCondLst>
                                            <p:cond delay="0"/>
                                          </p:stCondLst>
                                        </p:cTn>
                                        <p:tgtEl>
                                          <p:spTgt spid="7">
                                            <p:txEl>
                                              <p:pRg st="9" end="9"/>
                                            </p:txEl>
                                          </p:spTgt>
                                        </p:tgtEl>
                                        <p:attrNameLst>
                                          <p:attrName>style.visibility</p:attrName>
                                        </p:attrNameLst>
                                      </p:cBhvr>
                                      <p:to>
                                        <p:strVal val="visible"/>
                                      </p:to>
                                    </p:set>
                                    <p:animEffect transition="in" filter="fade">
                                      <p:cBhvr>
                                        <p:cTn id="33" dur="500"/>
                                        <p:tgtEl>
                                          <p:spTgt spid="7">
                                            <p:txEl>
                                              <p:pRg st="9" end="9"/>
                                            </p:txEl>
                                          </p:spTgt>
                                        </p:tgtEl>
                                      </p:cBhvr>
                                    </p:animEffect>
                                  </p:childTnLst>
                                </p:cTn>
                              </p:par>
                              <p:par>
                                <p:cTn id="34" presetID="10" presetClass="entr" presetSubtype="0" fill="hold" nodeType="withEffect">
                                  <p:stCondLst>
                                    <p:cond delay="0"/>
                                  </p:stCondLst>
                                  <p:childTnLst>
                                    <p:set>
                                      <p:cBhvr>
                                        <p:cTn id="35" dur="1" fill="hold">
                                          <p:stCondLst>
                                            <p:cond delay="0"/>
                                          </p:stCondLst>
                                        </p:cTn>
                                        <p:tgtEl>
                                          <p:spTgt spid="7">
                                            <p:txEl>
                                              <p:pRg st="10" end="10"/>
                                            </p:txEl>
                                          </p:spTgt>
                                        </p:tgtEl>
                                        <p:attrNameLst>
                                          <p:attrName>style.visibility</p:attrName>
                                        </p:attrNameLst>
                                      </p:cBhvr>
                                      <p:to>
                                        <p:strVal val="visible"/>
                                      </p:to>
                                    </p:set>
                                    <p:animEffect transition="in" filter="fade">
                                      <p:cBhvr>
                                        <p:cTn id="36" dur="500"/>
                                        <p:tgtEl>
                                          <p:spTgt spid="7">
                                            <p:txEl>
                                              <p:pRg st="10" end="10"/>
                                            </p:txEl>
                                          </p:spTgt>
                                        </p:tgtEl>
                                      </p:cBhvr>
                                    </p:animEffect>
                                  </p:childTnLst>
                                </p:cTn>
                              </p:par>
                              <p:par>
                                <p:cTn id="37" presetID="10" presetClass="entr" presetSubtype="0" fill="hold" nodeType="withEffect">
                                  <p:stCondLst>
                                    <p:cond delay="0"/>
                                  </p:stCondLst>
                                  <p:childTnLst>
                                    <p:set>
                                      <p:cBhvr>
                                        <p:cTn id="38" dur="1" fill="hold">
                                          <p:stCondLst>
                                            <p:cond delay="0"/>
                                          </p:stCondLst>
                                        </p:cTn>
                                        <p:tgtEl>
                                          <p:spTgt spid="7">
                                            <p:txEl>
                                              <p:pRg st="11" end="11"/>
                                            </p:txEl>
                                          </p:spTgt>
                                        </p:tgtEl>
                                        <p:attrNameLst>
                                          <p:attrName>style.visibility</p:attrName>
                                        </p:attrNameLst>
                                      </p:cBhvr>
                                      <p:to>
                                        <p:strVal val="visible"/>
                                      </p:to>
                                    </p:set>
                                    <p:animEffect transition="in" filter="fade">
                                      <p:cBhvr>
                                        <p:cTn id="39" dur="500"/>
                                        <p:tgtEl>
                                          <p:spTgt spid="7">
                                            <p:txEl>
                                              <p:pRg st="11" end="1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ymbol zastępczy tekstu 5">
            <a:extLst>
              <a:ext uri="{FF2B5EF4-FFF2-40B4-BE49-F238E27FC236}">
                <a16:creationId xmlns:a16="http://schemas.microsoft.com/office/drawing/2014/main" id="{EC19D1F0-CA19-48E4-B6B7-FE7D3388EB92}"/>
              </a:ext>
            </a:extLst>
          </p:cNvPr>
          <p:cNvSpPr>
            <a:spLocks noGrp="1"/>
          </p:cNvSpPr>
          <p:nvPr>
            <p:ph type="body" sz="quarter" idx="11"/>
          </p:nvPr>
        </p:nvSpPr>
        <p:spPr/>
        <p:txBody>
          <a:bodyPr/>
          <a:lstStyle/>
          <a:p>
            <a:r>
              <a:rPr lang="en-US" dirty="0"/>
              <a:t>What’s new </a:t>
            </a:r>
            <a:br>
              <a:rPr lang="en-US" dirty="0"/>
            </a:br>
            <a:r>
              <a:rPr lang="en-US" dirty="0"/>
              <a:t>in C# 7.2</a:t>
            </a:r>
          </a:p>
        </p:txBody>
      </p:sp>
      <p:sp>
        <p:nvSpPr>
          <p:cNvPr id="28" name="Freeform 37">
            <a:extLst>
              <a:ext uri="{FF2B5EF4-FFF2-40B4-BE49-F238E27FC236}">
                <a16:creationId xmlns:a16="http://schemas.microsoft.com/office/drawing/2014/main" id="{C163FEF7-EB42-4298-AED9-19E8D9ACF2E4}"/>
              </a:ext>
            </a:extLst>
          </p:cNvPr>
          <p:cNvSpPr>
            <a:spLocks/>
          </p:cNvSpPr>
          <p:nvPr/>
        </p:nvSpPr>
        <p:spPr bwMode="auto">
          <a:xfrm>
            <a:off x="1291010" y="2646539"/>
            <a:ext cx="844550" cy="793750"/>
          </a:xfrm>
          <a:custGeom>
            <a:avLst/>
            <a:gdLst>
              <a:gd name="T0" fmla="*/ 51 w 440"/>
              <a:gd name="T1" fmla="*/ 298 h 410"/>
              <a:gd name="T2" fmla="*/ 128 w 440"/>
              <a:gd name="T3" fmla="*/ 48 h 410"/>
              <a:gd name="T4" fmla="*/ 389 w 440"/>
              <a:gd name="T5" fmla="*/ 122 h 410"/>
              <a:gd name="T6" fmla="*/ 307 w 440"/>
              <a:gd name="T7" fmla="*/ 362 h 410"/>
              <a:gd name="T8" fmla="*/ 51 w 440"/>
              <a:gd name="T9" fmla="*/ 298 h 410"/>
            </a:gdLst>
            <a:ahLst/>
            <a:cxnLst>
              <a:cxn ang="0">
                <a:pos x="T0" y="T1"/>
              </a:cxn>
              <a:cxn ang="0">
                <a:pos x="T2" y="T3"/>
              </a:cxn>
              <a:cxn ang="0">
                <a:pos x="T4" y="T5"/>
              </a:cxn>
              <a:cxn ang="0">
                <a:pos x="T6" y="T7"/>
              </a:cxn>
              <a:cxn ang="0">
                <a:pos x="T8" y="T9"/>
              </a:cxn>
            </a:cxnLst>
            <a:rect l="0" t="0" r="r" b="b"/>
            <a:pathLst>
              <a:path w="440" h="410">
                <a:moveTo>
                  <a:pt x="51" y="298"/>
                </a:moveTo>
                <a:cubicBezTo>
                  <a:pt x="0" y="209"/>
                  <a:pt x="34" y="97"/>
                  <a:pt x="128" y="48"/>
                </a:cubicBezTo>
                <a:cubicBezTo>
                  <a:pt x="221" y="0"/>
                  <a:pt x="338" y="33"/>
                  <a:pt x="389" y="122"/>
                </a:cubicBezTo>
                <a:cubicBezTo>
                  <a:pt x="440" y="212"/>
                  <a:pt x="400" y="313"/>
                  <a:pt x="307" y="362"/>
                </a:cubicBezTo>
                <a:cubicBezTo>
                  <a:pt x="214" y="410"/>
                  <a:pt x="102" y="388"/>
                  <a:pt x="51" y="298"/>
                </a:cubicBezTo>
              </a:path>
            </a:pathLst>
          </a:custGeom>
          <a:solidFill>
            <a:srgbClr val="6D64CC"/>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3" name="Oval 20">
            <a:extLst>
              <a:ext uri="{FF2B5EF4-FFF2-40B4-BE49-F238E27FC236}">
                <a16:creationId xmlns:a16="http://schemas.microsoft.com/office/drawing/2014/main" id="{EE9B31FA-25FA-4CC1-863F-BB3D69944DF9}"/>
              </a:ext>
            </a:extLst>
          </p:cNvPr>
          <p:cNvSpPr/>
          <p:nvPr/>
        </p:nvSpPr>
        <p:spPr>
          <a:xfrm>
            <a:off x="623392" y="738251"/>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42" name="Oval 20">
            <a:extLst>
              <a:ext uri="{FF2B5EF4-FFF2-40B4-BE49-F238E27FC236}">
                <a16:creationId xmlns:a16="http://schemas.microsoft.com/office/drawing/2014/main" id="{9C48F09E-5C3B-4BEA-BD8F-85A5DCB0325B}"/>
              </a:ext>
            </a:extLst>
          </p:cNvPr>
          <p:cNvSpPr/>
          <p:nvPr/>
        </p:nvSpPr>
        <p:spPr>
          <a:xfrm>
            <a:off x="2071114" y="2276872"/>
            <a:ext cx="1356623" cy="128178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CC29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2218258849"/>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pl-PL" dirty="0"/>
              <a:t>Agenda</a:t>
            </a:r>
            <a:endParaRPr lang="en-GB" dirty="0"/>
          </a:p>
        </p:txBody>
      </p:sp>
      <p:sp>
        <p:nvSpPr>
          <p:cNvPr id="5" name="Text Placeholder 4"/>
          <p:cNvSpPr>
            <a:spLocks noGrp="1"/>
          </p:cNvSpPr>
          <p:nvPr>
            <p:ph type="body" sz="quarter" idx="10"/>
          </p:nvPr>
        </p:nvSpPr>
        <p:spPr/>
        <p:txBody>
          <a:bodyPr/>
          <a:lstStyle/>
          <a:p>
            <a:pPr lvl="1"/>
            <a:r>
              <a:rPr lang="en-US" dirty="0">
                <a:solidFill>
                  <a:schemeClr val="bg1">
                    <a:lumMod val="95000"/>
                  </a:schemeClr>
                </a:solidFill>
              </a:rPr>
              <a:t>Introduction</a:t>
            </a:r>
          </a:p>
          <a:p>
            <a:pPr lvl="2"/>
            <a:r>
              <a:rPr lang="en-US" dirty="0">
                <a:solidFill>
                  <a:schemeClr val="bg1">
                    <a:lumMod val="95000"/>
                  </a:schemeClr>
                </a:solidFill>
              </a:rPr>
              <a:t>The recent C# versions timeline,</a:t>
            </a:r>
          </a:p>
          <a:p>
            <a:pPr lvl="2"/>
            <a:r>
              <a:rPr lang="en-US" dirty="0">
                <a:solidFill>
                  <a:schemeClr val="bg1">
                    <a:lumMod val="95000"/>
                  </a:schemeClr>
                </a:solidFill>
              </a:rPr>
              <a:t>C# 8.0 pre-requirements,</a:t>
            </a:r>
          </a:p>
          <a:p>
            <a:pPr lvl="2"/>
            <a:r>
              <a:rPr lang="en-US" dirty="0">
                <a:solidFill>
                  <a:schemeClr val="bg1">
                    <a:lumMod val="95000"/>
                  </a:schemeClr>
                </a:solidFill>
              </a:rPr>
              <a:t>dive into an example.</a:t>
            </a:r>
          </a:p>
          <a:p>
            <a:pPr lvl="1"/>
            <a:r>
              <a:rPr lang="en-US" dirty="0">
                <a:solidFill>
                  <a:schemeClr val="bg1">
                    <a:lumMod val="95000"/>
                  </a:schemeClr>
                </a:solidFill>
              </a:rPr>
              <a:t>What’s new in C# 7.1</a:t>
            </a:r>
          </a:p>
          <a:p>
            <a:pPr lvl="2"/>
            <a:r>
              <a:rPr lang="en-US" dirty="0">
                <a:solidFill>
                  <a:schemeClr val="bg1">
                    <a:lumMod val="95000"/>
                  </a:schemeClr>
                </a:solidFill>
              </a:rPr>
              <a:t>Async Main method,</a:t>
            </a:r>
          </a:p>
          <a:p>
            <a:pPr lvl="2"/>
            <a:r>
              <a:rPr lang="en-US" dirty="0">
                <a:solidFill>
                  <a:schemeClr val="bg1">
                    <a:lumMod val="95000"/>
                  </a:schemeClr>
                </a:solidFill>
              </a:rPr>
              <a:t>default literal expressions,</a:t>
            </a:r>
          </a:p>
          <a:p>
            <a:pPr lvl="2"/>
            <a:r>
              <a:rPr lang="en-US" dirty="0">
                <a:solidFill>
                  <a:schemeClr val="bg1">
                    <a:lumMod val="95000"/>
                  </a:schemeClr>
                </a:solidFill>
              </a:rPr>
              <a:t>inferred tuple element names.</a:t>
            </a:r>
          </a:p>
          <a:p>
            <a:pPr lvl="1"/>
            <a:r>
              <a:rPr lang="en-US" dirty="0">
                <a:solidFill>
                  <a:schemeClr val="bg1">
                    <a:lumMod val="95000"/>
                  </a:schemeClr>
                </a:solidFill>
              </a:rPr>
              <a:t>What’s new in C# 7.2</a:t>
            </a:r>
          </a:p>
          <a:p>
            <a:pPr lvl="2"/>
            <a:r>
              <a:rPr lang="en-US" dirty="0">
                <a:solidFill>
                  <a:schemeClr val="bg1">
                    <a:lumMod val="95000"/>
                  </a:schemeClr>
                </a:solidFill>
              </a:rPr>
              <a:t>Safe efficient code enhancements,</a:t>
            </a:r>
          </a:p>
          <a:p>
            <a:pPr lvl="2"/>
            <a:r>
              <a:rPr lang="en-US" dirty="0">
                <a:solidFill>
                  <a:schemeClr val="bg1">
                    <a:lumMod val="95000"/>
                  </a:schemeClr>
                </a:solidFill>
              </a:rPr>
              <a:t>non-trailing named arguments,</a:t>
            </a:r>
          </a:p>
          <a:p>
            <a:pPr lvl="2"/>
            <a:r>
              <a:rPr lang="en-US" dirty="0">
                <a:solidFill>
                  <a:schemeClr val="bg1">
                    <a:lumMod val="95000"/>
                  </a:schemeClr>
                </a:solidFill>
              </a:rPr>
              <a:t>leading underscores in numeric literals,</a:t>
            </a:r>
          </a:p>
          <a:p>
            <a:pPr lvl="2"/>
            <a:r>
              <a:rPr lang="en-US" dirty="0">
                <a:solidFill>
                  <a:schemeClr val="bg1">
                    <a:lumMod val="95000"/>
                  </a:schemeClr>
                </a:solidFill>
              </a:rPr>
              <a:t>private protected access modifier,</a:t>
            </a:r>
          </a:p>
          <a:p>
            <a:pPr lvl="2"/>
            <a:r>
              <a:rPr lang="en-US" dirty="0">
                <a:solidFill>
                  <a:schemeClr val="bg1">
                    <a:lumMod val="95000"/>
                  </a:schemeClr>
                </a:solidFill>
              </a:rPr>
              <a:t>conditional ref expressions.</a:t>
            </a:r>
          </a:p>
        </p:txBody>
      </p:sp>
      <p:sp>
        <p:nvSpPr>
          <p:cNvPr id="6" name="Text Placeholder 5"/>
          <p:cNvSpPr>
            <a:spLocks noGrp="1"/>
          </p:cNvSpPr>
          <p:nvPr>
            <p:ph type="body" sz="quarter" idx="11"/>
          </p:nvPr>
        </p:nvSpPr>
        <p:spPr/>
        <p:txBody>
          <a:bodyPr/>
          <a:lstStyle/>
          <a:p>
            <a:r>
              <a:rPr lang="en-US" dirty="0"/>
              <a:t>We are going to talk about…</a:t>
            </a:r>
          </a:p>
        </p:txBody>
      </p:sp>
      <p:sp>
        <p:nvSpPr>
          <p:cNvPr id="8" name="Text Placeholder 4">
            <a:extLst>
              <a:ext uri="{FF2B5EF4-FFF2-40B4-BE49-F238E27FC236}">
                <a16:creationId xmlns:a16="http://schemas.microsoft.com/office/drawing/2014/main" id="{52580643-4575-408B-8BE0-E817BC2D360B}"/>
              </a:ext>
            </a:extLst>
          </p:cNvPr>
          <p:cNvSpPr txBox="1">
            <a:spLocks/>
          </p:cNvSpPr>
          <p:nvPr/>
        </p:nvSpPr>
        <p:spPr>
          <a:xfrm>
            <a:off x="227348" y="1815350"/>
            <a:ext cx="11700000" cy="4466201"/>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buClr>
                <a:srgbClr val="860864"/>
              </a:buClr>
            </a:pPr>
            <a:r>
              <a:rPr lang="en-US" dirty="0"/>
              <a:t>Introduction</a:t>
            </a:r>
          </a:p>
          <a:p>
            <a:pPr lvl="2">
              <a:buClr>
                <a:srgbClr val="CC2980"/>
              </a:buClr>
            </a:pPr>
            <a:r>
              <a:rPr lang="en-US" dirty="0"/>
              <a:t>The recent C# versions timeline,</a:t>
            </a:r>
          </a:p>
          <a:p>
            <a:pPr lvl="2">
              <a:buClr>
                <a:srgbClr val="CC2980"/>
              </a:buClr>
            </a:pPr>
            <a:r>
              <a:rPr lang="en-US" dirty="0"/>
              <a:t>C# 8.0 pre-requirements,</a:t>
            </a:r>
          </a:p>
          <a:p>
            <a:pPr lvl="2">
              <a:buClr>
                <a:srgbClr val="CC2980"/>
              </a:buClr>
            </a:pPr>
            <a:r>
              <a:rPr lang="en-US" dirty="0"/>
              <a:t>dive into an example.</a:t>
            </a:r>
          </a:p>
          <a:p>
            <a:pPr lvl="1">
              <a:buClr>
                <a:srgbClr val="860864"/>
              </a:buClr>
            </a:pPr>
            <a:r>
              <a:rPr lang="en-US" dirty="0"/>
              <a:t>What’s new in C# 7.1</a:t>
            </a:r>
          </a:p>
          <a:p>
            <a:pPr lvl="2">
              <a:buClr>
                <a:srgbClr val="CC2980"/>
              </a:buClr>
            </a:pPr>
            <a:r>
              <a:rPr lang="en-US" dirty="0"/>
              <a:t>Async Main method,</a:t>
            </a:r>
          </a:p>
          <a:p>
            <a:pPr lvl="2">
              <a:buClr>
                <a:srgbClr val="CC2980"/>
              </a:buClr>
            </a:pPr>
            <a:r>
              <a:rPr lang="en-US" dirty="0"/>
              <a:t>default literal expressions,</a:t>
            </a:r>
          </a:p>
          <a:p>
            <a:pPr lvl="2">
              <a:buClr>
                <a:srgbClr val="CC2980"/>
              </a:buClr>
            </a:pPr>
            <a:r>
              <a:rPr lang="en-US" dirty="0"/>
              <a:t>inferred tuple element names.</a:t>
            </a:r>
          </a:p>
          <a:p>
            <a:pPr lvl="1">
              <a:buClr>
                <a:srgbClr val="860864"/>
              </a:buClr>
            </a:pPr>
            <a:r>
              <a:rPr lang="en-US" dirty="0"/>
              <a:t>What’s new in C# 7.2</a:t>
            </a:r>
          </a:p>
          <a:p>
            <a:pPr lvl="2">
              <a:buClr>
                <a:srgbClr val="CC2980"/>
              </a:buClr>
            </a:pPr>
            <a:r>
              <a:rPr lang="en-US" dirty="0"/>
              <a:t>Safe efficient code enhancements,</a:t>
            </a:r>
          </a:p>
        </p:txBody>
      </p:sp>
    </p:spTree>
    <p:extLst>
      <p:ext uri="{BB962C8B-B14F-4D97-AF65-F5344CB8AC3E}">
        <p14:creationId xmlns:p14="http://schemas.microsoft.com/office/powerpoint/2010/main" val="142065037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
                                            <p:txEl>
                                              <p:pRg st="9" end="9"/>
                                            </p:txEl>
                                          </p:spTgt>
                                        </p:tgtEl>
                                        <p:attrNameLst>
                                          <p:attrName>style.visibility</p:attrName>
                                        </p:attrNameLst>
                                      </p:cBhvr>
                                      <p:to>
                                        <p:strVal val="visible"/>
                                      </p:to>
                                    </p:set>
                                    <p:animEffect transition="in" filter="fade">
                                      <p:cBhvr>
                                        <p:cTn id="7" dur="500"/>
                                        <p:tgtEl>
                                          <p:spTgt spid="8">
                                            <p:txEl>
                                              <p:pRg st="9" end="9"/>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ymbol zastępczy tekstu 5">
            <a:extLst>
              <a:ext uri="{FF2B5EF4-FFF2-40B4-BE49-F238E27FC236}">
                <a16:creationId xmlns:a16="http://schemas.microsoft.com/office/drawing/2014/main" id="{EC19D1F0-CA19-48E4-B6B7-FE7D3388EB92}"/>
              </a:ext>
            </a:extLst>
          </p:cNvPr>
          <p:cNvSpPr>
            <a:spLocks noGrp="1"/>
          </p:cNvSpPr>
          <p:nvPr>
            <p:ph type="body" sz="quarter" idx="11"/>
          </p:nvPr>
        </p:nvSpPr>
        <p:spPr>
          <a:xfrm>
            <a:off x="6744073" y="2662294"/>
            <a:ext cx="5256584" cy="3160282"/>
          </a:xfrm>
        </p:spPr>
        <p:txBody>
          <a:bodyPr/>
          <a:lstStyle/>
          <a:p>
            <a:r>
              <a:rPr lang="en-US" dirty="0"/>
              <a:t>What’s new in C# 7.2</a:t>
            </a:r>
          </a:p>
          <a:p>
            <a:r>
              <a:rPr lang="en-US" sz="2400" dirty="0"/>
              <a:t>Safe efficient code enhancements</a:t>
            </a:r>
          </a:p>
        </p:txBody>
      </p:sp>
      <p:sp>
        <p:nvSpPr>
          <p:cNvPr id="28" name="Freeform 37">
            <a:extLst>
              <a:ext uri="{FF2B5EF4-FFF2-40B4-BE49-F238E27FC236}">
                <a16:creationId xmlns:a16="http://schemas.microsoft.com/office/drawing/2014/main" id="{C163FEF7-EB42-4298-AED9-19E8D9ACF2E4}"/>
              </a:ext>
            </a:extLst>
          </p:cNvPr>
          <p:cNvSpPr>
            <a:spLocks/>
          </p:cNvSpPr>
          <p:nvPr/>
        </p:nvSpPr>
        <p:spPr bwMode="auto">
          <a:xfrm>
            <a:off x="1291010" y="2646539"/>
            <a:ext cx="844550" cy="793750"/>
          </a:xfrm>
          <a:custGeom>
            <a:avLst/>
            <a:gdLst>
              <a:gd name="T0" fmla="*/ 51 w 440"/>
              <a:gd name="T1" fmla="*/ 298 h 410"/>
              <a:gd name="T2" fmla="*/ 128 w 440"/>
              <a:gd name="T3" fmla="*/ 48 h 410"/>
              <a:gd name="T4" fmla="*/ 389 w 440"/>
              <a:gd name="T5" fmla="*/ 122 h 410"/>
              <a:gd name="T6" fmla="*/ 307 w 440"/>
              <a:gd name="T7" fmla="*/ 362 h 410"/>
              <a:gd name="T8" fmla="*/ 51 w 440"/>
              <a:gd name="T9" fmla="*/ 298 h 410"/>
            </a:gdLst>
            <a:ahLst/>
            <a:cxnLst>
              <a:cxn ang="0">
                <a:pos x="T0" y="T1"/>
              </a:cxn>
              <a:cxn ang="0">
                <a:pos x="T2" y="T3"/>
              </a:cxn>
              <a:cxn ang="0">
                <a:pos x="T4" y="T5"/>
              </a:cxn>
              <a:cxn ang="0">
                <a:pos x="T6" y="T7"/>
              </a:cxn>
              <a:cxn ang="0">
                <a:pos x="T8" y="T9"/>
              </a:cxn>
            </a:cxnLst>
            <a:rect l="0" t="0" r="r" b="b"/>
            <a:pathLst>
              <a:path w="440" h="410">
                <a:moveTo>
                  <a:pt x="51" y="298"/>
                </a:moveTo>
                <a:cubicBezTo>
                  <a:pt x="0" y="209"/>
                  <a:pt x="34" y="97"/>
                  <a:pt x="128" y="48"/>
                </a:cubicBezTo>
                <a:cubicBezTo>
                  <a:pt x="221" y="0"/>
                  <a:pt x="338" y="33"/>
                  <a:pt x="389" y="122"/>
                </a:cubicBezTo>
                <a:cubicBezTo>
                  <a:pt x="440" y="212"/>
                  <a:pt x="400" y="313"/>
                  <a:pt x="307" y="362"/>
                </a:cubicBezTo>
                <a:cubicBezTo>
                  <a:pt x="214" y="410"/>
                  <a:pt x="102" y="388"/>
                  <a:pt x="51" y="298"/>
                </a:cubicBezTo>
              </a:path>
            </a:pathLst>
          </a:custGeom>
          <a:solidFill>
            <a:srgbClr val="6D64CC"/>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3" name="Oval 20">
            <a:extLst>
              <a:ext uri="{FF2B5EF4-FFF2-40B4-BE49-F238E27FC236}">
                <a16:creationId xmlns:a16="http://schemas.microsoft.com/office/drawing/2014/main" id="{EE9B31FA-25FA-4CC1-863F-BB3D69944DF9}"/>
              </a:ext>
            </a:extLst>
          </p:cNvPr>
          <p:cNvSpPr/>
          <p:nvPr/>
        </p:nvSpPr>
        <p:spPr>
          <a:xfrm>
            <a:off x="623392" y="738251"/>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42" name="Oval 20">
            <a:extLst>
              <a:ext uri="{FF2B5EF4-FFF2-40B4-BE49-F238E27FC236}">
                <a16:creationId xmlns:a16="http://schemas.microsoft.com/office/drawing/2014/main" id="{9C48F09E-5C3B-4BEA-BD8F-85A5DCB0325B}"/>
              </a:ext>
            </a:extLst>
          </p:cNvPr>
          <p:cNvSpPr/>
          <p:nvPr/>
        </p:nvSpPr>
        <p:spPr>
          <a:xfrm>
            <a:off x="2071114" y="2276872"/>
            <a:ext cx="1356623" cy="128178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CC29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7" name="Group 30">
            <a:extLst>
              <a:ext uri="{FF2B5EF4-FFF2-40B4-BE49-F238E27FC236}">
                <a16:creationId xmlns:a16="http://schemas.microsoft.com/office/drawing/2014/main" id="{86A46FFC-F21C-42E4-8CAA-6D077978BDBC}"/>
              </a:ext>
            </a:extLst>
          </p:cNvPr>
          <p:cNvGrpSpPr>
            <a:grpSpLocks noChangeAspect="1"/>
          </p:cNvGrpSpPr>
          <p:nvPr/>
        </p:nvGrpSpPr>
        <p:grpSpPr bwMode="auto">
          <a:xfrm>
            <a:off x="1210416" y="1197476"/>
            <a:ext cx="827609" cy="989839"/>
            <a:chOff x="992" y="672"/>
            <a:chExt cx="1408" cy="1684"/>
          </a:xfrm>
        </p:grpSpPr>
        <p:sp>
          <p:nvSpPr>
            <p:cNvPr id="9" name="Freeform 32">
              <a:extLst>
                <a:ext uri="{FF2B5EF4-FFF2-40B4-BE49-F238E27FC236}">
                  <a16:creationId xmlns:a16="http://schemas.microsoft.com/office/drawing/2014/main" id="{3CAA9742-B213-4C80-AB36-84F304FD95BC}"/>
                </a:ext>
              </a:extLst>
            </p:cNvPr>
            <p:cNvSpPr>
              <a:spLocks/>
            </p:cNvSpPr>
            <p:nvPr/>
          </p:nvSpPr>
          <p:spPr bwMode="auto">
            <a:xfrm>
              <a:off x="1284" y="672"/>
              <a:ext cx="870" cy="1045"/>
            </a:xfrm>
            <a:custGeom>
              <a:avLst/>
              <a:gdLst>
                <a:gd name="T0" fmla="*/ 71 w 326"/>
                <a:gd name="T1" fmla="*/ 391 h 391"/>
                <a:gd name="T2" fmla="*/ 1 w 326"/>
                <a:gd name="T3" fmla="*/ 390 h 391"/>
                <a:gd name="T4" fmla="*/ 0 w 326"/>
                <a:gd name="T5" fmla="*/ 172 h 391"/>
                <a:gd name="T6" fmla="*/ 95 w 326"/>
                <a:gd name="T7" fmla="*/ 13 h 391"/>
                <a:gd name="T8" fmla="*/ 223 w 326"/>
                <a:gd name="T9" fmla="*/ 8 h 391"/>
                <a:gd name="T10" fmla="*/ 326 w 326"/>
                <a:gd name="T11" fmla="*/ 164 h 391"/>
                <a:gd name="T12" fmla="*/ 326 w 326"/>
                <a:gd name="T13" fmla="*/ 385 h 391"/>
                <a:gd name="T14" fmla="*/ 263 w 326"/>
                <a:gd name="T15" fmla="*/ 385 h 391"/>
                <a:gd name="T16" fmla="*/ 263 w 326"/>
                <a:gd name="T17" fmla="*/ 164 h 391"/>
                <a:gd name="T18" fmla="*/ 210 w 326"/>
                <a:gd name="T19" fmla="*/ 78 h 391"/>
                <a:gd name="T20" fmla="*/ 117 w 326"/>
                <a:gd name="T21" fmla="*/ 80 h 391"/>
                <a:gd name="T22" fmla="*/ 71 w 326"/>
                <a:gd name="T23" fmla="*/ 172 h 391"/>
                <a:gd name="T24" fmla="*/ 71 w 326"/>
                <a:gd name="T25" fmla="*/ 391 h 3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26" h="391">
                  <a:moveTo>
                    <a:pt x="71" y="391"/>
                  </a:moveTo>
                  <a:cubicBezTo>
                    <a:pt x="1" y="390"/>
                    <a:pt x="1" y="390"/>
                    <a:pt x="1" y="390"/>
                  </a:cubicBezTo>
                  <a:cubicBezTo>
                    <a:pt x="2" y="324"/>
                    <a:pt x="0" y="174"/>
                    <a:pt x="0" y="172"/>
                  </a:cubicBezTo>
                  <a:cubicBezTo>
                    <a:pt x="0" y="140"/>
                    <a:pt x="0" y="43"/>
                    <a:pt x="95" y="13"/>
                  </a:cubicBezTo>
                  <a:cubicBezTo>
                    <a:pt x="132" y="1"/>
                    <a:pt x="176" y="0"/>
                    <a:pt x="223" y="8"/>
                  </a:cubicBezTo>
                  <a:cubicBezTo>
                    <a:pt x="289" y="20"/>
                    <a:pt x="326" y="77"/>
                    <a:pt x="326" y="164"/>
                  </a:cubicBezTo>
                  <a:cubicBezTo>
                    <a:pt x="326" y="385"/>
                    <a:pt x="326" y="385"/>
                    <a:pt x="326" y="385"/>
                  </a:cubicBezTo>
                  <a:cubicBezTo>
                    <a:pt x="263" y="385"/>
                    <a:pt x="263" y="385"/>
                    <a:pt x="263" y="385"/>
                  </a:cubicBezTo>
                  <a:cubicBezTo>
                    <a:pt x="263" y="164"/>
                    <a:pt x="263" y="164"/>
                    <a:pt x="263" y="164"/>
                  </a:cubicBezTo>
                  <a:cubicBezTo>
                    <a:pt x="263" y="112"/>
                    <a:pt x="240" y="86"/>
                    <a:pt x="210" y="78"/>
                  </a:cubicBezTo>
                  <a:cubicBezTo>
                    <a:pt x="176" y="69"/>
                    <a:pt x="142" y="73"/>
                    <a:pt x="117" y="80"/>
                  </a:cubicBezTo>
                  <a:cubicBezTo>
                    <a:pt x="89" y="89"/>
                    <a:pt x="71" y="108"/>
                    <a:pt x="71" y="172"/>
                  </a:cubicBezTo>
                  <a:cubicBezTo>
                    <a:pt x="71" y="178"/>
                    <a:pt x="73" y="325"/>
                    <a:pt x="71" y="391"/>
                  </a:cubicBezTo>
                </a:path>
              </a:pathLst>
            </a:custGeom>
            <a:solidFill>
              <a:srgbClr val="88D5ED"/>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10" name="Freeform 33">
              <a:extLst>
                <a:ext uri="{FF2B5EF4-FFF2-40B4-BE49-F238E27FC236}">
                  <a16:creationId xmlns:a16="http://schemas.microsoft.com/office/drawing/2014/main" id="{37A7BF63-1CE9-4CB7-8C6C-59AC78B80362}"/>
                </a:ext>
              </a:extLst>
            </p:cNvPr>
            <p:cNvSpPr>
              <a:spLocks/>
            </p:cNvSpPr>
            <p:nvPr/>
          </p:nvSpPr>
          <p:spPr bwMode="auto">
            <a:xfrm>
              <a:off x="992" y="1429"/>
              <a:ext cx="1408" cy="927"/>
            </a:xfrm>
            <a:custGeom>
              <a:avLst/>
              <a:gdLst>
                <a:gd name="T0" fmla="*/ 98 w 527"/>
                <a:gd name="T1" fmla="*/ 344 h 347"/>
                <a:gd name="T2" fmla="*/ 433 w 527"/>
                <a:gd name="T3" fmla="*/ 344 h 347"/>
                <a:gd name="T4" fmla="*/ 524 w 527"/>
                <a:gd name="T5" fmla="*/ 231 h 347"/>
                <a:gd name="T6" fmla="*/ 524 w 527"/>
                <a:gd name="T7" fmla="*/ 12 h 347"/>
                <a:gd name="T8" fmla="*/ 97 w 527"/>
                <a:gd name="T9" fmla="*/ 7 h 347"/>
                <a:gd name="T10" fmla="*/ 0 w 527"/>
                <a:gd name="T11" fmla="*/ 121 h 347"/>
                <a:gd name="T12" fmla="*/ 1 w 527"/>
                <a:gd name="T13" fmla="*/ 258 h 347"/>
                <a:gd name="T14" fmla="*/ 98 w 527"/>
                <a:gd name="T15" fmla="*/ 344 h 3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27" h="347">
                  <a:moveTo>
                    <a:pt x="98" y="344"/>
                  </a:moveTo>
                  <a:cubicBezTo>
                    <a:pt x="154" y="347"/>
                    <a:pt x="392" y="347"/>
                    <a:pt x="433" y="344"/>
                  </a:cubicBezTo>
                  <a:cubicBezTo>
                    <a:pt x="507" y="337"/>
                    <a:pt x="527" y="325"/>
                    <a:pt x="524" y="231"/>
                  </a:cubicBezTo>
                  <a:cubicBezTo>
                    <a:pt x="524" y="231"/>
                    <a:pt x="524" y="98"/>
                    <a:pt x="524" y="12"/>
                  </a:cubicBezTo>
                  <a:cubicBezTo>
                    <a:pt x="399" y="5"/>
                    <a:pt x="172" y="0"/>
                    <a:pt x="97" y="7"/>
                  </a:cubicBezTo>
                  <a:cubicBezTo>
                    <a:pt x="29" y="13"/>
                    <a:pt x="0" y="31"/>
                    <a:pt x="0" y="121"/>
                  </a:cubicBezTo>
                  <a:cubicBezTo>
                    <a:pt x="1" y="258"/>
                    <a:pt x="1" y="258"/>
                    <a:pt x="1" y="258"/>
                  </a:cubicBezTo>
                  <a:cubicBezTo>
                    <a:pt x="1" y="326"/>
                    <a:pt x="23" y="341"/>
                    <a:pt x="98" y="344"/>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11" name="Freeform 34">
              <a:extLst>
                <a:ext uri="{FF2B5EF4-FFF2-40B4-BE49-F238E27FC236}">
                  <a16:creationId xmlns:a16="http://schemas.microsoft.com/office/drawing/2014/main" id="{7B17EC21-C4C7-48F8-A948-3EA0D4400BA0}"/>
                </a:ext>
              </a:extLst>
            </p:cNvPr>
            <p:cNvSpPr>
              <a:spLocks/>
            </p:cNvSpPr>
            <p:nvPr/>
          </p:nvSpPr>
          <p:spPr bwMode="auto">
            <a:xfrm>
              <a:off x="1599" y="1621"/>
              <a:ext cx="270" cy="292"/>
            </a:xfrm>
            <a:custGeom>
              <a:avLst/>
              <a:gdLst>
                <a:gd name="T0" fmla="*/ 54 w 101"/>
                <a:gd name="T1" fmla="*/ 107 h 109"/>
                <a:gd name="T2" fmla="*/ 101 w 101"/>
                <a:gd name="T3" fmla="*/ 51 h 109"/>
                <a:gd name="T4" fmla="*/ 51 w 101"/>
                <a:gd name="T5" fmla="*/ 2 h 109"/>
                <a:gd name="T6" fmla="*/ 1 w 101"/>
                <a:gd name="T7" fmla="*/ 58 h 109"/>
                <a:gd name="T8" fmla="*/ 54 w 101"/>
                <a:gd name="T9" fmla="*/ 107 h 109"/>
              </a:gdLst>
              <a:ahLst/>
              <a:cxnLst>
                <a:cxn ang="0">
                  <a:pos x="T0" y="T1"/>
                </a:cxn>
                <a:cxn ang="0">
                  <a:pos x="T2" y="T3"/>
                </a:cxn>
                <a:cxn ang="0">
                  <a:pos x="T4" y="T5"/>
                </a:cxn>
                <a:cxn ang="0">
                  <a:pos x="T6" y="T7"/>
                </a:cxn>
                <a:cxn ang="0">
                  <a:pos x="T8" y="T9"/>
                </a:cxn>
              </a:cxnLst>
              <a:rect l="0" t="0" r="r" b="b"/>
              <a:pathLst>
                <a:path w="101" h="109">
                  <a:moveTo>
                    <a:pt x="54" y="107"/>
                  </a:moveTo>
                  <a:cubicBezTo>
                    <a:pt x="82" y="105"/>
                    <a:pt x="101" y="80"/>
                    <a:pt x="101" y="51"/>
                  </a:cubicBezTo>
                  <a:cubicBezTo>
                    <a:pt x="100" y="22"/>
                    <a:pt x="79" y="0"/>
                    <a:pt x="51" y="2"/>
                  </a:cubicBezTo>
                  <a:cubicBezTo>
                    <a:pt x="22" y="3"/>
                    <a:pt x="0" y="29"/>
                    <a:pt x="1" y="58"/>
                  </a:cubicBezTo>
                  <a:cubicBezTo>
                    <a:pt x="2" y="87"/>
                    <a:pt x="25" y="109"/>
                    <a:pt x="54" y="107"/>
                  </a:cubicBezTo>
                </a:path>
              </a:pathLst>
            </a:custGeom>
            <a:solidFill>
              <a:srgbClr val="95E61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12" name="Freeform 35">
              <a:extLst>
                <a:ext uri="{FF2B5EF4-FFF2-40B4-BE49-F238E27FC236}">
                  <a16:creationId xmlns:a16="http://schemas.microsoft.com/office/drawing/2014/main" id="{E3A53EDB-D64E-4950-8579-386FA41C70E3}"/>
                </a:ext>
              </a:extLst>
            </p:cNvPr>
            <p:cNvSpPr>
              <a:spLocks/>
            </p:cNvSpPr>
            <p:nvPr/>
          </p:nvSpPr>
          <p:spPr bwMode="auto">
            <a:xfrm>
              <a:off x="1615" y="1878"/>
              <a:ext cx="238" cy="273"/>
            </a:xfrm>
            <a:custGeom>
              <a:avLst/>
              <a:gdLst>
                <a:gd name="T0" fmla="*/ 67 w 238"/>
                <a:gd name="T1" fmla="*/ 0 h 273"/>
                <a:gd name="T2" fmla="*/ 0 w 238"/>
                <a:gd name="T3" fmla="*/ 273 h 273"/>
                <a:gd name="T4" fmla="*/ 238 w 238"/>
                <a:gd name="T5" fmla="*/ 273 h 273"/>
                <a:gd name="T6" fmla="*/ 165 w 238"/>
                <a:gd name="T7" fmla="*/ 0 h 273"/>
                <a:gd name="T8" fmla="*/ 67 w 238"/>
                <a:gd name="T9" fmla="*/ 0 h 273"/>
              </a:gdLst>
              <a:ahLst/>
              <a:cxnLst>
                <a:cxn ang="0">
                  <a:pos x="T0" y="T1"/>
                </a:cxn>
                <a:cxn ang="0">
                  <a:pos x="T2" y="T3"/>
                </a:cxn>
                <a:cxn ang="0">
                  <a:pos x="T4" y="T5"/>
                </a:cxn>
                <a:cxn ang="0">
                  <a:pos x="T6" y="T7"/>
                </a:cxn>
                <a:cxn ang="0">
                  <a:pos x="T8" y="T9"/>
                </a:cxn>
              </a:cxnLst>
              <a:rect l="0" t="0" r="r" b="b"/>
              <a:pathLst>
                <a:path w="238" h="273">
                  <a:moveTo>
                    <a:pt x="67" y="0"/>
                  </a:moveTo>
                  <a:lnTo>
                    <a:pt x="0" y="273"/>
                  </a:lnTo>
                  <a:lnTo>
                    <a:pt x="238" y="273"/>
                  </a:lnTo>
                  <a:lnTo>
                    <a:pt x="165" y="0"/>
                  </a:lnTo>
                  <a:lnTo>
                    <a:pt x="67" y="0"/>
                  </a:lnTo>
                  <a:close/>
                </a:path>
              </a:pathLst>
            </a:custGeom>
            <a:solidFill>
              <a:srgbClr val="95E61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spTree>
    <p:extLst>
      <p:ext uri="{BB962C8B-B14F-4D97-AF65-F5344CB8AC3E}">
        <p14:creationId xmlns:p14="http://schemas.microsoft.com/office/powerpoint/2010/main" val="3231745753"/>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ytuł 1">
            <a:extLst>
              <a:ext uri="{FF2B5EF4-FFF2-40B4-BE49-F238E27FC236}">
                <a16:creationId xmlns:a16="http://schemas.microsoft.com/office/drawing/2014/main" id="{DEA935F7-2904-40FF-A73D-3CCC59AF658E}"/>
              </a:ext>
            </a:extLst>
          </p:cNvPr>
          <p:cNvSpPr>
            <a:spLocks noGrp="1"/>
          </p:cNvSpPr>
          <p:nvPr>
            <p:ph type="title"/>
          </p:nvPr>
        </p:nvSpPr>
        <p:spPr/>
        <p:txBody>
          <a:bodyPr/>
          <a:lstStyle/>
          <a:p>
            <a:r>
              <a:rPr lang="en-US" sz="3200" dirty="0"/>
              <a:t>Safe efficient code enhancements</a:t>
            </a:r>
          </a:p>
        </p:txBody>
      </p:sp>
      <p:sp>
        <p:nvSpPr>
          <p:cNvPr id="4" name="Symbol zastępczy tekstu 3">
            <a:extLst>
              <a:ext uri="{FF2B5EF4-FFF2-40B4-BE49-F238E27FC236}">
                <a16:creationId xmlns:a16="http://schemas.microsoft.com/office/drawing/2014/main" id="{5AE649E8-E6A2-4473-82C4-13CDFACEAAA5}"/>
              </a:ext>
            </a:extLst>
          </p:cNvPr>
          <p:cNvSpPr>
            <a:spLocks noGrp="1"/>
          </p:cNvSpPr>
          <p:nvPr>
            <p:ph type="body" sz="quarter" idx="10"/>
          </p:nvPr>
        </p:nvSpPr>
        <p:spPr/>
        <p:txBody>
          <a:bodyPr/>
          <a:lstStyle/>
          <a:p>
            <a:endParaRPr lang="en-US" dirty="0"/>
          </a:p>
        </p:txBody>
      </p:sp>
      <p:sp>
        <p:nvSpPr>
          <p:cNvPr id="5" name="Symbol zastępczy tekstu 4">
            <a:extLst>
              <a:ext uri="{FF2B5EF4-FFF2-40B4-BE49-F238E27FC236}">
                <a16:creationId xmlns:a16="http://schemas.microsoft.com/office/drawing/2014/main" id="{026454BF-D147-4265-B180-0D1A4FC7A23F}"/>
              </a:ext>
            </a:extLst>
          </p:cNvPr>
          <p:cNvSpPr>
            <a:spLocks noGrp="1"/>
          </p:cNvSpPr>
          <p:nvPr>
            <p:ph type="body" sz="quarter" idx="11"/>
          </p:nvPr>
        </p:nvSpPr>
        <p:spPr/>
        <p:txBody>
          <a:bodyPr/>
          <a:lstStyle/>
          <a:p>
            <a:r>
              <a:rPr lang="en-US" dirty="0"/>
              <a:t>C# 7.1</a:t>
            </a:r>
          </a:p>
        </p:txBody>
      </p:sp>
      <p:sp>
        <p:nvSpPr>
          <p:cNvPr id="3" name="Symbol zastępczy tekstu 2">
            <a:extLst>
              <a:ext uri="{FF2B5EF4-FFF2-40B4-BE49-F238E27FC236}">
                <a16:creationId xmlns:a16="http://schemas.microsoft.com/office/drawing/2014/main" id="{D0A37E72-B711-494C-A35F-F9DF4987AC76}"/>
              </a:ext>
            </a:extLst>
          </p:cNvPr>
          <p:cNvSpPr>
            <a:spLocks noGrp="1"/>
          </p:cNvSpPr>
          <p:nvPr>
            <p:ph type="body" sz="quarter" idx="12"/>
          </p:nvPr>
        </p:nvSpPr>
        <p:spPr/>
        <p:txBody>
          <a:bodyPr/>
          <a:lstStyle/>
          <a:p>
            <a:r>
              <a:rPr lang="en-US" dirty="0"/>
              <a:t>1</a:t>
            </a:r>
          </a:p>
        </p:txBody>
      </p:sp>
    </p:spTree>
    <p:extLst>
      <p:ext uri="{BB962C8B-B14F-4D97-AF65-F5344CB8AC3E}">
        <p14:creationId xmlns:p14="http://schemas.microsoft.com/office/powerpoint/2010/main" val="248124938"/>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ytuł 1">
            <a:extLst>
              <a:ext uri="{FF2B5EF4-FFF2-40B4-BE49-F238E27FC236}">
                <a16:creationId xmlns:a16="http://schemas.microsoft.com/office/drawing/2014/main" id="{DEA935F7-2904-40FF-A73D-3CCC59AF658E}"/>
              </a:ext>
            </a:extLst>
          </p:cNvPr>
          <p:cNvSpPr>
            <a:spLocks noGrp="1"/>
          </p:cNvSpPr>
          <p:nvPr>
            <p:ph type="title"/>
          </p:nvPr>
        </p:nvSpPr>
        <p:spPr/>
        <p:txBody>
          <a:bodyPr/>
          <a:lstStyle/>
          <a:p>
            <a:r>
              <a:rPr lang="en-US" sz="3200" dirty="0"/>
              <a:t>Safe efficient code enhancements</a:t>
            </a:r>
          </a:p>
        </p:txBody>
      </p:sp>
      <p:sp>
        <p:nvSpPr>
          <p:cNvPr id="4" name="Symbol zastępczy tekstu 3">
            <a:extLst>
              <a:ext uri="{FF2B5EF4-FFF2-40B4-BE49-F238E27FC236}">
                <a16:creationId xmlns:a16="http://schemas.microsoft.com/office/drawing/2014/main" id="{5AE649E8-E6A2-4473-82C4-13CDFACEAAA5}"/>
              </a:ext>
            </a:extLst>
          </p:cNvPr>
          <p:cNvSpPr>
            <a:spLocks noGrp="1"/>
          </p:cNvSpPr>
          <p:nvPr>
            <p:ph type="body" sz="quarter" idx="10"/>
          </p:nvPr>
        </p:nvSpPr>
        <p:spPr/>
        <p:txBody>
          <a:bodyPr/>
          <a:lstStyle/>
          <a:p>
            <a:endParaRPr lang="en-US" dirty="0"/>
          </a:p>
        </p:txBody>
      </p:sp>
      <p:sp>
        <p:nvSpPr>
          <p:cNvPr id="5" name="Symbol zastępczy tekstu 4">
            <a:extLst>
              <a:ext uri="{FF2B5EF4-FFF2-40B4-BE49-F238E27FC236}">
                <a16:creationId xmlns:a16="http://schemas.microsoft.com/office/drawing/2014/main" id="{026454BF-D147-4265-B180-0D1A4FC7A23F}"/>
              </a:ext>
            </a:extLst>
          </p:cNvPr>
          <p:cNvSpPr>
            <a:spLocks noGrp="1"/>
          </p:cNvSpPr>
          <p:nvPr>
            <p:ph type="body" sz="quarter" idx="11"/>
          </p:nvPr>
        </p:nvSpPr>
        <p:spPr/>
        <p:txBody>
          <a:bodyPr/>
          <a:lstStyle/>
          <a:p>
            <a:r>
              <a:rPr lang="en-US" dirty="0"/>
              <a:t>C# 7.2</a:t>
            </a:r>
          </a:p>
        </p:txBody>
      </p:sp>
      <p:sp>
        <p:nvSpPr>
          <p:cNvPr id="3" name="Symbol zastępczy tekstu 2">
            <a:extLst>
              <a:ext uri="{FF2B5EF4-FFF2-40B4-BE49-F238E27FC236}">
                <a16:creationId xmlns:a16="http://schemas.microsoft.com/office/drawing/2014/main" id="{724E4C15-2676-4F98-B111-3C989F7AE239}"/>
              </a:ext>
            </a:extLst>
          </p:cNvPr>
          <p:cNvSpPr>
            <a:spLocks noGrp="1"/>
          </p:cNvSpPr>
          <p:nvPr>
            <p:ph type="body" sz="quarter" idx="12"/>
          </p:nvPr>
        </p:nvSpPr>
        <p:spPr/>
        <p:txBody>
          <a:bodyPr/>
          <a:lstStyle/>
          <a:p>
            <a:r>
              <a:rPr lang="en-US" dirty="0"/>
              <a:t>2</a:t>
            </a:r>
          </a:p>
        </p:txBody>
      </p:sp>
    </p:spTree>
    <p:extLst>
      <p:ext uri="{BB962C8B-B14F-4D97-AF65-F5344CB8AC3E}">
        <p14:creationId xmlns:p14="http://schemas.microsoft.com/office/powerpoint/2010/main" val="3111081234"/>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pl-PL" dirty="0"/>
              <a:t>Agenda</a:t>
            </a:r>
            <a:endParaRPr lang="en-GB" dirty="0"/>
          </a:p>
        </p:txBody>
      </p:sp>
      <p:sp>
        <p:nvSpPr>
          <p:cNvPr id="5" name="Text Placeholder 4"/>
          <p:cNvSpPr>
            <a:spLocks noGrp="1"/>
          </p:cNvSpPr>
          <p:nvPr>
            <p:ph type="body" sz="quarter" idx="10"/>
          </p:nvPr>
        </p:nvSpPr>
        <p:spPr/>
        <p:txBody>
          <a:bodyPr/>
          <a:lstStyle/>
          <a:p>
            <a:pPr lvl="1"/>
            <a:r>
              <a:rPr lang="en-US" dirty="0">
                <a:solidFill>
                  <a:schemeClr val="bg1">
                    <a:lumMod val="95000"/>
                  </a:schemeClr>
                </a:solidFill>
              </a:rPr>
              <a:t>Introduction</a:t>
            </a:r>
          </a:p>
          <a:p>
            <a:pPr lvl="2"/>
            <a:r>
              <a:rPr lang="en-US" dirty="0">
                <a:solidFill>
                  <a:schemeClr val="bg1">
                    <a:lumMod val="95000"/>
                  </a:schemeClr>
                </a:solidFill>
              </a:rPr>
              <a:t>The recent C# versions timeline,</a:t>
            </a:r>
          </a:p>
          <a:p>
            <a:pPr lvl="2"/>
            <a:r>
              <a:rPr lang="en-US" dirty="0">
                <a:solidFill>
                  <a:schemeClr val="bg1">
                    <a:lumMod val="95000"/>
                  </a:schemeClr>
                </a:solidFill>
              </a:rPr>
              <a:t>C# 8.0 pre-requirements,</a:t>
            </a:r>
          </a:p>
          <a:p>
            <a:pPr lvl="2"/>
            <a:r>
              <a:rPr lang="en-US" dirty="0">
                <a:solidFill>
                  <a:schemeClr val="bg1">
                    <a:lumMod val="95000"/>
                  </a:schemeClr>
                </a:solidFill>
              </a:rPr>
              <a:t>dive into an example.</a:t>
            </a:r>
          </a:p>
          <a:p>
            <a:pPr lvl="1"/>
            <a:r>
              <a:rPr lang="en-US" dirty="0">
                <a:solidFill>
                  <a:schemeClr val="bg1">
                    <a:lumMod val="95000"/>
                  </a:schemeClr>
                </a:solidFill>
              </a:rPr>
              <a:t>What’s new in C# 7.1</a:t>
            </a:r>
          </a:p>
          <a:p>
            <a:pPr lvl="2"/>
            <a:r>
              <a:rPr lang="en-US" dirty="0">
                <a:solidFill>
                  <a:schemeClr val="bg1">
                    <a:lumMod val="95000"/>
                  </a:schemeClr>
                </a:solidFill>
              </a:rPr>
              <a:t>Async Main method,</a:t>
            </a:r>
          </a:p>
          <a:p>
            <a:pPr lvl="2"/>
            <a:r>
              <a:rPr lang="en-US" dirty="0">
                <a:solidFill>
                  <a:schemeClr val="bg1">
                    <a:lumMod val="95000"/>
                  </a:schemeClr>
                </a:solidFill>
              </a:rPr>
              <a:t>default literal expressions,</a:t>
            </a:r>
          </a:p>
          <a:p>
            <a:pPr lvl="2"/>
            <a:r>
              <a:rPr lang="en-US" dirty="0">
                <a:solidFill>
                  <a:schemeClr val="bg1">
                    <a:lumMod val="95000"/>
                  </a:schemeClr>
                </a:solidFill>
              </a:rPr>
              <a:t>inferred tuple element names.</a:t>
            </a:r>
          </a:p>
          <a:p>
            <a:pPr lvl="1"/>
            <a:r>
              <a:rPr lang="en-US" dirty="0">
                <a:solidFill>
                  <a:schemeClr val="bg1">
                    <a:lumMod val="95000"/>
                  </a:schemeClr>
                </a:solidFill>
              </a:rPr>
              <a:t>What’s new in C# 7.2</a:t>
            </a:r>
          </a:p>
          <a:p>
            <a:pPr lvl="2"/>
            <a:r>
              <a:rPr lang="en-US" dirty="0">
                <a:solidFill>
                  <a:schemeClr val="bg1">
                    <a:lumMod val="95000"/>
                  </a:schemeClr>
                </a:solidFill>
              </a:rPr>
              <a:t>Safe efficient code enhancements,</a:t>
            </a:r>
          </a:p>
          <a:p>
            <a:pPr lvl="2"/>
            <a:r>
              <a:rPr lang="en-US" dirty="0">
                <a:solidFill>
                  <a:schemeClr val="bg1">
                    <a:lumMod val="95000"/>
                  </a:schemeClr>
                </a:solidFill>
              </a:rPr>
              <a:t>non-trailing named arguments,</a:t>
            </a:r>
          </a:p>
          <a:p>
            <a:pPr lvl="2"/>
            <a:r>
              <a:rPr lang="en-US" dirty="0">
                <a:solidFill>
                  <a:schemeClr val="bg1">
                    <a:lumMod val="95000"/>
                  </a:schemeClr>
                </a:solidFill>
              </a:rPr>
              <a:t>leading underscores in numeric literals,</a:t>
            </a:r>
          </a:p>
          <a:p>
            <a:pPr lvl="2"/>
            <a:r>
              <a:rPr lang="en-US" dirty="0">
                <a:solidFill>
                  <a:schemeClr val="bg1">
                    <a:lumMod val="95000"/>
                  </a:schemeClr>
                </a:solidFill>
              </a:rPr>
              <a:t>private protected access modifier,</a:t>
            </a:r>
          </a:p>
          <a:p>
            <a:pPr lvl="2"/>
            <a:r>
              <a:rPr lang="en-US" dirty="0">
                <a:solidFill>
                  <a:schemeClr val="bg1">
                    <a:lumMod val="95000"/>
                  </a:schemeClr>
                </a:solidFill>
              </a:rPr>
              <a:t>conditional ref expressions.</a:t>
            </a:r>
          </a:p>
        </p:txBody>
      </p:sp>
      <p:sp>
        <p:nvSpPr>
          <p:cNvPr id="6" name="Text Placeholder 5"/>
          <p:cNvSpPr>
            <a:spLocks noGrp="1"/>
          </p:cNvSpPr>
          <p:nvPr>
            <p:ph type="body" sz="quarter" idx="11"/>
          </p:nvPr>
        </p:nvSpPr>
        <p:spPr/>
        <p:txBody>
          <a:bodyPr/>
          <a:lstStyle/>
          <a:p>
            <a:r>
              <a:rPr lang="en-US" dirty="0"/>
              <a:t>We are going to talk about…</a:t>
            </a:r>
          </a:p>
        </p:txBody>
      </p:sp>
      <p:sp>
        <p:nvSpPr>
          <p:cNvPr id="8" name="Text Placeholder 4">
            <a:extLst>
              <a:ext uri="{FF2B5EF4-FFF2-40B4-BE49-F238E27FC236}">
                <a16:creationId xmlns:a16="http://schemas.microsoft.com/office/drawing/2014/main" id="{52580643-4575-408B-8BE0-E817BC2D360B}"/>
              </a:ext>
            </a:extLst>
          </p:cNvPr>
          <p:cNvSpPr txBox="1">
            <a:spLocks/>
          </p:cNvSpPr>
          <p:nvPr/>
        </p:nvSpPr>
        <p:spPr>
          <a:xfrm>
            <a:off x="227348" y="1815350"/>
            <a:ext cx="11700000" cy="4466201"/>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buClr>
                <a:srgbClr val="860864"/>
              </a:buClr>
            </a:pPr>
            <a:r>
              <a:rPr lang="en-US" dirty="0"/>
              <a:t>Introduction</a:t>
            </a:r>
          </a:p>
          <a:p>
            <a:pPr lvl="2">
              <a:buClr>
                <a:srgbClr val="CC2980"/>
              </a:buClr>
            </a:pPr>
            <a:r>
              <a:rPr lang="en-US" dirty="0"/>
              <a:t>The recent C# versions timeline,</a:t>
            </a:r>
          </a:p>
          <a:p>
            <a:pPr lvl="2">
              <a:buClr>
                <a:srgbClr val="CC2980"/>
              </a:buClr>
            </a:pPr>
            <a:r>
              <a:rPr lang="en-US" dirty="0"/>
              <a:t>C# 8.0 pre-requirements,</a:t>
            </a:r>
          </a:p>
          <a:p>
            <a:pPr lvl="2">
              <a:buClr>
                <a:srgbClr val="CC2980"/>
              </a:buClr>
            </a:pPr>
            <a:r>
              <a:rPr lang="en-US" dirty="0"/>
              <a:t>dive into an example.</a:t>
            </a:r>
          </a:p>
          <a:p>
            <a:pPr lvl="1">
              <a:buClr>
                <a:srgbClr val="860864"/>
              </a:buClr>
            </a:pPr>
            <a:r>
              <a:rPr lang="en-US" dirty="0"/>
              <a:t>What’s new in C# 7.1</a:t>
            </a:r>
          </a:p>
          <a:p>
            <a:pPr lvl="2">
              <a:buClr>
                <a:srgbClr val="CC2980"/>
              </a:buClr>
            </a:pPr>
            <a:r>
              <a:rPr lang="en-US" dirty="0"/>
              <a:t>Async Main method,</a:t>
            </a:r>
          </a:p>
          <a:p>
            <a:pPr lvl="2">
              <a:buClr>
                <a:srgbClr val="CC2980"/>
              </a:buClr>
            </a:pPr>
            <a:r>
              <a:rPr lang="en-US" dirty="0"/>
              <a:t>default literal expressions,</a:t>
            </a:r>
          </a:p>
          <a:p>
            <a:pPr lvl="2">
              <a:buClr>
                <a:srgbClr val="CC2980"/>
              </a:buClr>
            </a:pPr>
            <a:r>
              <a:rPr lang="en-US" dirty="0"/>
              <a:t>inferred tuple element names.</a:t>
            </a:r>
          </a:p>
          <a:p>
            <a:pPr lvl="1">
              <a:buClr>
                <a:srgbClr val="860864"/>
              </a:buClr>
            </a:pPr>
            <a:r>
              <a:rPr lang="en-US" dirty="0"/>
              <a:t>What’s new in C# 7.2</a:t>
            </a:r>
          </a:p>
          <a:p>
            <a:pPr lvl="2">
              <a:buClr>
                <a:srgbClr val="CC2980"/>
              </a:buClr>
            </a:pPr>
            <a:r>
              <a:rPr lang="en-US" dirty="0"/>
              <a:t>Safe efficient code enhancements,</a:t>
            </a:r>
          </a:p>
          <a:p>
            <a:pPr lvl="2">
              <a:buClr>
                <a:srgbClr val="CC2980"/>
              </a:buClr>
            </a:pPr>
            <a:r>
              <a:rPr lang="en-US" dirty="0"/>
              <a:t>non-trailing named arguments,</a:t>
            </a:r>
          </a:p>
        </p:txBody>
      </p:sp>
    </p:spTree>
    <p:extLst>
      <p:ext uri="{BB962C8B-B14F-4D97-AF65-F5344CB8AC3E}">
        <p14:creationId xmlns:p14="http://schemas.microsoft.com/office/powerpoint/2010/main" val="316771966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
                                            <p:txEl>
                                              <p:pRg st="10" end="10"/>
                                            </p:txEl>
                                          </p:spTgt>
                                        </p:tgtEl>
                                        <p:attrNameLst>
                                          <p:attrName>style.visibility</p:attrName>
                                        </p:attrNameLst>
                                      </p:cBhvr>
                                      <p:to>
                                        <p:strVal val="visible"/>
                                      </p:to>
                                    </p:set>
                                    <p:animEffect transition="in" filter="fade">
                                      <p:cBhvr>
                                        <p:cTn id="7" dur="500"/>
                                        <p:tgtEl>
                                          <p:spTgt spid="8">
                                            <p:txEl>
                                              <p:pRg st="10" end="1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ymbol zastępczy tekstu 5">
            <a:extLst>
              <a:ext uri="{FF2B5EF4-FFF2-40B4-BE49-F238E27FC236}">
                <a16:creationId xmlns:a16="http://schemas.microsoft.com/office/drawing/2014/main" id="{EC19D1F0-CA19-48E4-B6B7-FE7D3388EB92}"/>
              </a:ext>
            </a:extLst>
          </p:cNvPr>
          <p:cNvSpPr>
            <a:spLocks noGrp="1"/>
          </p:cNvSpPr>
          <p:nvPr>
            <p:ph type="body" sz="quarter" idx="11"/>
          </p:nvPr>
        </p:nvSpPr>
        <p:spPr>
          <a:xfrm>
            <a:off x="6744073" y="2662294"/>
            <a:ext cx="5256584" cy="3160282"/>
          </a:xfrm>
        </p:spPr>
        <p:txBody>
          <a:bodyPr/>
          <a:lstStyle/>
          <a:p>
            <a:r>
              <a:rPr lang="en-US" dirty="0"/>
              <a:t>What’s new in C# 7.2</a:t>
            </a:r>
          </a:p>
          <a:p>
            <a:r>
              <a:rPr lang="en-US" sz="2400" dirty="0"/>
              <a:t>Non-trailing named arguments</a:t>
            </a:r>
          </a:p>
        </p:txBody>
      </p:sp>
      <p:sp>
        <p:nvSpPr>
          <p:cNvPr id="28" name="Freeform 37">
            <a:extLst>
              <a:ext uri="{FF2B5EF4-FFF2-40B4-BE49-F238E27FC236}">
                <a16:creationId xmlns:a16="http://schemas.microsoft.com/office/drawing/2014/main" id="{C163FEF7-EB42-4298-AED9-19E8D9ACF2E4}"/>
              </a:ext>
            </a:extLst>
          </p:cNvPr>
          <p:cNvSpPr>
            <a:spLocks/>
          </p:cNvSpPr>
          <p:nvPr/>
        </p:nvSpPr>
        <p:spPr bwMode="auto">
          <a:xfrm>
            <a:off x="1291010" y="2646539"/>
            <a:ext cx="844550" cy="793750"/>
          </a:xfrm>
          <a:custGeom>
            <a:avLst/>
            <a:gdLst>
              <a:gd name="T0" fmla="*/ 51 w 440"/>
              <a:gd name="T1" fmla="*/ 298 h 410"/>
              <a:gd name="T2" fmla="*/ 128 w 440"/>
              <a:gd name="T3" fmla="*/ 48 h 410"/>
              <a:gd name="T4" fmla="*/ 389 w 440"/>
              <a:gd name="T5" fmla="*/ 122 h 410"/>
              <a:gd name="T6" fmla="*/ 307 w 440"/>
              <a:gd name="T7" fmla="*/ 362 h 410"/>
              <a:gd name="T8" fmla="*/ 51 w 440"/>
              <a:gd name="T9" fmla="*/ 298 h 410"/>
            </a:gdLst>
            <a:ahLst/>
            <a:cxnLst>
              <a:cxn ang="0">
                <a:pos x="T0" y="T1"/>
              </a:cxn>
              <a:cxn ang="0">
                <a:pos x="T2" y="T3"/>
              </a:cxn>
              <a:cxn ang="0">
                <a:pos x="T4" y="T5"/>
              </a:cxn>
              <a:cxn ang="0">
                <a:pos x="T6" y="T7"/>
              </a:cxn>
              <a:cxn ang="0">
                <a:pos x="T8" y="T9"/>
              </a:cxn>
            </a:cxnLst>
            <a:rect l="0" t="0" r="r" b="b"/>
            <a:pathLst>
              <a:path w="440" h="410">
                <a:moveTo>
                  <a:pt x="51" y="298"/>
                </a:moveTo>
                <a:cubicBezTo>
                  <a:pt x="0" y="209"/>
                  <a:pt x="34" y="97"/>
                  <a:pt x="128" y="48"/>
                </a:cubicBezTo>
                <a:cubicBezTo>
                  <a:pt x="221" y="0"/>
                  <a:pt x="338" y="33"/>
                  <a:pt x="389" y="122"/>
                </a:cubicBezTo>
                <a:cubicBezTo>
                  <a:pt x="440" y="212"/>
                  <a:pt x="400" y="313"/>
                  <a:pt x="307" y="362"/>
                </a:cubicBezTo>
                <a:cubicBezTo>
                  <a:pt x="214" y="410"/>
                  <a:pt x="102" y="388"/>
                  <a:pt x="51" y="298"/>
                </a:cubicBezTo>
              </a:path>
            </a:pathLst>
          </a:custGeom>
          <a:solidFill>
            <a:srgbClr val="6D64CC"/>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3" name="Oval 20">
            <a:extLst>
              <a:ext uri="{FF2B5EF4-FFF2-40B4-BE49-F238E27FC236}">
                <a16:creationId xmlns:a16="http://schemas.microsoft.com/office/drawing/2014/main" id="{EE9B31FA-25FA-4CC1-863F-BB3D69944DF9}"/>
              </a:ext>
            </a:extLst>
          </p:cNvPr>
          <p:cNvSpPr/>
          <p:nvPr/>
        </p:nvSpPr>
        <p:spPr>
          <a:xfrm>
            <a:off x="623392" y="738251"/>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42" name="Oval 20">
            <a:extLst>
              <a:ext uri="{FF2B5EF4-FFF2-40B4-BE49-F238E27FC236}">
                <a16:creationId xmlns:a16="http://schemas.microsoft.com/office/drawing/2014/main" id="{9C48F09E-5C3B-4BEA-BD8F-85A5DCB0325B}"/>
              </a:ext>
            </a:extLst>
          </p:cNvPr>
          <p:cNvSpPr/>
          <p:nvPr/>
        </p:nvSpPr>
        <p:spPr>
          <a:xfrm>
            <a:off x="2071114" y="2276872"/>
            <a:ext cx="1356623" cy="128178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CC29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13" name="Group 570">
            <a:extLst>
              <a:ext uri="{FF2B5EF4-FFF2-40B4-BE49-F238E27FC236}">
                <a16:creationId xmlns:a16="http://schemas.microsoft.com/office/drawing/2014/main" id="{A7242A4F-F064-4353-B8EC-CCB92B6CD148}"/>
              </a:ext>
            </a:extLst>
          </p:cNvPr>
          <p:cNvGrpSpPr/>
          <p:nvPr/>
        </p:nvGrpSpPr>
        <p:grpSpPr>
          <a:xfrm>
            <a:off x="999768" y="988772"/>
            <a:ext cx="1379248" cy="1248097"/>
            <a:chOff x="5365751" y="3683000"/>
            <a:chExt cx="517524" cy="468313"/>
          </a:xfrm>
        </p:grpSpPr>
        <p:sp>
          <p:nvSpPr>
            <p:cNvPr id="15" name="Freeform 105">
              <a:extLst>
                <a:ext uri="{FF2B5EF4-FFF2-40B4-BE49-F238E27FC236}">
                  <a16:creationId xmlns:a16="http://schemas.microsoft.com/office/drawing/2014/main" id="{D1ECCA31-0130-4126-ACE9-1D8B26715734}"/>
                </a:ext>
              </a:extLst>
            </p:cNvPr>
            <p:cNvSpPr>
              <a:spLocks/>
            </p:cNvSpPr>
            <p:nvPr/>
          </p:nvSpPr>
          <p:spPr bwMode="auto">
            <a:xfrm>
              <a:off x="5426076" y="3894138"/>
              <a:ext cx="323850" cy="212725"/>
            </a:xfrm>
            <a:custGeom>
              <a:avLst/>
              <a:gdLst>
                <a:gd name="T0" fmla="*/ 88 w 168"/>
                <a:gd name="T1" fmla="*/ 0 h 110"/>
                <a:gd name="T2" fmla="*/ 119 w 168"/>
                <a:gd name="T3" fmla="*/ 16 h 110"/>
                <a:gd name="T4" fmla="*/ 154 w 168"/>
                <a:gd name="T5" fmla="*/ 26 h 110"/>
                <a:gd name="T6" fmla="*/ 159 w 168"/>
                <a:gd name="T7" fmla="*/ 25 h 110"/>
                <a:gd name="T8" fmla="*/ 161 w 168"/>
                <a:gd name="T9" fmla="*/ 26 h 110"/>
                <a:gd name="T10" fmla="*/ 124 w 168"/>
                <a:gd name="T11" fmla="*/ 82 h 110"/>
                <a:gd name="T12" fmla="*/ 26 w 168"/>
                <a:gd name="T13" fmla="*/ 106 h 110"/>
                <a:gd name="T14" fmla="*/ 12 w 168"/>
                <a:gd name="T15" fmla="*/ 110 h 110"/>
                <a:gd name="T16" fmla="*/ 2 w 168"/>
                <a:gd name="T17" fmla="*/ 105 h 110"/>
                <a:gd name="T18" fmla="*/ 3 w 168"/>
                <a:gd name="T19" fmla="*/ 95 h 110"/>
                <a:gd name="T20" fmla="*/ 11 w 168"/>
                <a:gd name="T21" fmla="*/ 87 h 110"/>
                <a:gd name="T22" fmla="*/ 37 w 168"/>
                <a:gd name="T23" fmla="*/ 69 h 110"/>
                <a:gd name="T24" fmla="*/ 55 w 168"/>
                <a:gd name="T25" fmla="*/ 45 h 110"/>
                <a:gd name="T26" fmla="*/ 56 w 168"/>
                <a:gd name="T27" fmla="*/ 43 h 110"/>
                <a:gd name="T28" fmla="*/ 88 w 168"/>
                <a:gd name="T29"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8" h="110">
                  <a:moveTo>
                    <a:pt x="88" y="0"/>
                  </a:moveTo>
                  <a:cubicBezTo>
                    <a:pt x="99" y="5"/>
                    <a:pt x="109" y="11"/>
                    <a:pt x="119" y="16"/>
                  </a:cubicBezTo>
                  <a:cubicBezTo>
                    <a:pt x="130" y="22"/>
                    <a:pt x="141" y="27"/>
                    <a:pt x="154" y="26"/>
                  </a:cubicBezTo>
                  <a:cubicBezTo>
                    <a:pt x="155" y="25"/>
                    <a:pt x="157" y="25"/>
                    <a:pt x="159" y="25"/>
                  </a:cubicBezTo>
                  <a:cubicBezTo>
                    <a:pt x="159" y="25"/>
                    <a:pt x="160" y="26"/>
                    <a:pt x="161" y="26"/>
                  </a:cubicBezTo>
                  <a:cubicBezTo>
                    <a:pt x="163" y="44"/>
                    <a:pt x="168" y="80"/>
                    <a:pt x="124" y="82"/>
                  </a:cubicBezTo>
                  <a:cubicBezTo>
                    <a:pt x="107" y="83"/>
                    <a:pt x="75" y="78"/>
                    <a:pt x="26" y="106"/>
                  </a:cubicBezTo>
                  <a:cubicBezTo>
                    <a:pt x="22" y="108"/>
                    <a:pt x="17" y="109"/>
                    <a:pt x="12" y="110"/>
                  </a:cubicBezTo>
                  <a:cubicBezTo>
                    <a:pt x="8" y="110"/>
                    <a:pt x="4" y="108"/>
                    <a:pt x="2" y="105"/>
                  </a:cubicBezTo>
                  <a:cubicBezTo>
                    <a:pt x="0" y="101"/>
                    <a:pt x="1" y="98"/>
                    <a:pt x="3" y="95"/>
                  </a:cubicBezTo>
                  <a:cubicBezTo>
                    <a:pt x="6" y="92"/>
                    <a:pt x="8" y="89"/>
                    <a:pt x="11" y="87"/>
                  </a:cubicBezTo>
                  <a:cubicBezTo>
                    <a:pt x="20" y="81"/>
                    <a:pt x="29" y="76"/>
                    <a:pt x="37" y="69"/>
                  </a:cubicBezTo>
                  <a:cubicBezTo>
                    <a:pt x="46" y="63"/>
                    <a:pt x="53" y="56"/>
                    <a:pt x="55" y="45"/>
                  </a:cubicBezTo>
                  <a:cubicBezTo>
                    <a:pt x="55" y="44"/>
                    <a:pt x="55" y="43"/>
                    <a:pt x="56" y="43"/>
                  </a:cubicBezTo>
                  <a:cubicBezTo>
                    <a:pt x="66" y="29"/>
                    <a:pt x="77" y="14"/>
                    <a:pt x="88" y="0"/>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 name="Freeform 106">
              <a:extLst>
                <a:ext uri="{FF2B5EF4-FFF2-40B4-BE49-F238E27FC236}">
                  <a16:creationId xmlns:a16="http://schemas.microsoft.com/office/drawing/2014/main" id="{407337E2-DC44-490C-B0A0-9F0E86F1801D}"/>
                </a:ext>
              </a:extLst>
            </p:cNvPr>
            <p:cNvSpPr>
              <a:spLocks noEditPoints="1"/>
            </p:cNvSpPr>
            <p:nvPr/>
          </p:nvSpPr>
          <p:spPr bwMode="auto">
            <a:xfrm>
              <a:off x="5748338" y="3897313"/>
              <a:ext cx="134937" cy="198438"/>
            </a:xfrm>
            <a:custGeom>
              <a:avLst/>
              <a:gdLst>
                <a:gd name="T0" fmla="*/ 70 w 70"/>
                <a:gd name="T1" fmla="*/ 90 h 102"/>
                <a:gd name="T2" fmla="*/ 16 w 70"/>
                <a:gd name="T3" fmla="*/ 94 h 102"/>
                <a:gd name="T4" fmla="*/ 7 w 70"/>
                <a:gd name="T5" fmla="*/ 86 h 102"/>
                <a:gd name="T6" fmla="*/ 2 w 70"/>
                <a:gd name="T7" fmla="*/ 30 h 102"/>
                <a:gd name="T8" fmla="*/ 0 w 70"/>
                <a:gd name="T9" fmla="*/ 17 h 102"/>
                <a:gd name="T10" fmla="*/ 5 w 70"/>
                <a:gd name="T11" fmla="*/ 10 h 102"/>
                <a:gd name="T12" fmla="*/ 60 w 70"/>
                <a:gd name="T13" fmla="*/ 0 h 102"/>
                <a:gd name="T14" fmla="*/ 70 w 70"/>
                <a:gd name="T15" fmla="*/ 90 h 102"/>
                <a:gd name="T16" fmla="*/ 48 w 70"/>
                <a:gd name="T17" fmla="*/ 20 h 102"/>
                <a:gd name="T18" fmla="*/ 42 w 70"/>
                <a:gd name="T19" fmla="*/ 14 h 102"/>
                <a:gd name="T20" fmla="*/ 37 w 70"/>
                <a:gd name="T21" fmla="*/ 19 h 102"/>
                <a:gd name="T22" fmla="*/ 43 w 70"/>
                <a:gd name="T23" fmla="*/ 25 h 102"/>
                <a:gd name="T24" fmla="*/ 48 w 70"/>
                <a:gd name="T25" fmla="*/ 2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0" h="102">
                  <a:moveTo>
                    <a:pt x="70" y="90"/>
                  </a:moveTo>
                  <a:cubicBezTo>
                    <a:pt x="55" y="86"/>
                    <a:pt x="41" y="102"/>
                    <a:pt x="16" y="94"/>
                  </a:cubicBezTo>
                  <a:cubicBezTo>
                    <a:pt x="13" y="93"/>
                    <a:pt x="8" y="89"/>
                    <a:pt x="7" y="86"/>
                  </a:cubicBezTo>
                  <a:cubicBezTo>
                    <a:pt x="5" y="67"/>
                    <a:pt x="3" y="48"/>
                    <a:pt x="2" y="30"/>
                  </a:cubicBezTo>
                  <a:cubicBezTo>
                    <a:pt x="1" y="26"/>
                    <a:pt x="1" y="22"/>
                    <a:pt x="0" y="17"/>
                  </a:cubicBezTo>
                  <a:cubicBezTo>
                    <a:pt x="0" y="14"/>
                    <a:pt x="1" y="11"/>
                    <a:pt x="5" y="10"/>
                  </a:cubicBezTo>
                  <a:cubicBezTo>
                    <a:pt x="23" y="7"/>
                    <a:pt x="41" y="4"/>
                    <a:pt x="60" y="0"/>
                  </a:cubicBezTo>
                  <a:cubicBezTo>
                    <a:pt x="63" y="30"/>
                    <a:pt x="66" y="60"/>
                    <a:pt x="70" y="90"/>
                  </a:cubicBezTo>
                  <a:close/>
                  <a:moveTo>
                    <a:pt x="48" y="20"/>
                  </a:moveTo>
                  <a:cubicBezTo>
                    <a:pt x="48" y="16"/>
                    <a:pt x="46" y="13"/>
                    <a:pt x="42" y="14"/>
                  </a:cubicBezTo>
                  <a:cubicBezTo>
                    <a:pt x="39" y="14"/>
                    <a:pt x="37" y="16"/>
                    <a:pt x="37" y="19"/>
                  </a:cubicBezTo>
                  <a:cubicBezTo>
                    <a:pt x="37" y="23"/>
                    <a:pt x="39" y="25"/>
                    <a:pt x="43" y="25"/>
                  </a:cubicBezTo>
                  <a:cubicBezTo>
                    <a:pt x="46" y="24"/>
                    <a:pt x="48" y="22"/>
                    <a:pt x="48" y="20"/>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7" name="Freeform 107">
              <a:extLst>
                <a:ext uri="{FF2B5EF4-FFF2-40B4-BE49-F238E27FC236}">
                  <a16:creationId xmlns:a16="http://schemas.microsoft.com/office/drawing/2014/main" id="{96C12AD9-42DB-45F2-8777-A06826B57E95}"/>
                </a:ext>
              </a:extLst>
            </p:cNvPr>
            <p:cNvSpPr>
              <a:spLocks/>
            </p:cNvSpPr>
            <p:nvPr/>
          </p:nvSpPr>
          <p:spPr bwMode="auto">
            <a:xfrm>
              <a:off x="5386388" y="3825875"/>
              <a:ext cx="233362" cy="292100"/>
            </a:xfrm>
            <a:custGeom>
              <a:avLst/>
              <a:gdLst>
                <a:gd name="T0" fmla="*/ 104 w 121"/>
                <a:gd name="T1" fmla="*/ 0 h 150"/>
                <a:gd name="T2" fmla="*/ 121 w 121"/>
                <a:gd name="T3" fmla="*/ 13 h 150"/>
                <a:gd name="T4" fmla="*/ 100 w 121"/>
                <a:gd name="T5" fmla="*/ 41 h 150"/>
                <a:gd name="T6" fmla="*/ 54 w 121"/>
                <a:gd name="T7" fmla="*/ 102 h 150"/>
                <a:gd name="T8" fmla="*/ 47 w 121"/>
                <a:gd name="T9" fmla="*/ 108 h 150"/>
                <a:gd name="T10" fmla="*/ 30 w 121"/>
                <a:gd name="T11" fmla="*/ 120 h 150"/>
                <a:gd name="T12" fmla="*/ 26 w 121"/>
                <a:gd name="T13" fmla="*/ 123 h 150"/>
                <a:gd name="T14" fmla="*/ 22 w 121"/>
                <a:gd name="T15" fmla="*/ 144 h 150"/>
                <a:gd name="T16" fmla="*/ 18 w 121"/>
                <a:gd name="T17" fmla="*/ 150 h 150"/>
                <a:gd name="T18" fmla="*/ 0 w 121"/>
                <a:gd name="T19" fmla="*/ 137 h 150"/>
                <a:gd name="T20" fmla="*/ 104 w 121"/>
                <a:gd name="T21" fmla="*/ 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1" h="150">
                  <a:moveTo>
                    <a:pt x="104" y="0"/>
                  </a:moveTo>
                  <a:cubicBezTo>
                    <a:pt x="107" y="8"/>
                    <a:pt x="113" y="12"/>
                    <a:pt x="121" y="13"/>
                  </a:cubicBezTo>
                  <a:cubicBezTo>
                    <a:pt x="114" y="23"/>
                    <a:pt x="107" y="32"/>
                    <a:pt x="100" y="41"/>
                  </a:cubicBezTo>
                  <a:cubicBezTo>
                    <a:pt x="85" y="62"/>
                    <a:pt x="69" y="82"/>
                    <a:pt x="54" y="102"/>
                  </a:cubicBezTo>
                  <a:cubicBezTo>
                    <a:pt x="52" y="104"/>
                    <a:pt x="50" y="106"/>
                    <a:pt x="47" y="108"/>
                  </a:cubicBezTo>
                  <a:cubicBezTo>
                    <a:pt x="41" y="112"/>
                    <a:pt x="36" y="116"/>
                    <a:pt x="30" y="120"/>
                  </a:cubicBezTo>
                  <a:cubicBezTo>
                    <a:pt x="29" y="121"/>
                    <a:pt x="27" y="122"/>
                    <a:pt x="26" y="123"/>
                  </a:cubicBezTo>
                  <a:cubicBezTo>
                    <a:pt x="19" y="129"/>
                    <a:pt x="17" y="136"/>
                    <a:pt x="22" y="144"/>
                  </a:cubicBezTo>
                  <a:cubicBezTo>
                    <a:pt x="21" y="146"/>
                    <a:pt x="19" y="148"/>
                    <a:pt x="18" y="150"/>
                  </a:cubicBezTo>
                  <a:cubicBezTo>
                    <a:pt x="12" y="146"/>
                    <a:pt x="6" y="142"/>
                    <a:pt x="0" y="137"/>
                  </a:cubicBezTo>
                  <a:cubicBezTo>
                    <a:pt x="35" y="91"/>
                    <a:pt x="69" y="46"/>
                    <a:pt x="104" y="0"/>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8" name="Freeform 108">
              <a:extLst>
                <a:ext uri="{FF2B5EF4-FFF2-40B4-BE49-F238E27FC236}">
                  <a16:creationId xmlns:a16="http://schemas.microsoft.com/office/drawing/2014/main" id="{81CE8E73-0E9A-441C-BC2B-0C4C63E1FC38}"/>
                </a:ext>
              </a:extLst>
            </p:cNvPr>
            <p:cNvSpPr>
              <a:spLocks/>
            </p:cNvSpPr>
            <p:nvPr/>
          </p:nvSpPr>
          <p:spPr bwMode="auto">
            <a:xfrm>
              <a:off x="5368926" y="3848100"/>
              <a:ext cx="177800" cy="222250"/>
            </a:xfrm>
            <a:custGeom>
              <a:avLst/>
              <a:gdLst>
                <a:gd name="T0" fmla="*/ 92 w 92"/>
                <a:gd name="T1" fmla="*/ 11 h 115"/>
                <a:gd name="T2" fmla="*/ 73 w 92"/>
                <a:gd name="T3" fmla="*/ 37 h 115"/>
                <a:gd name="T4" fmla="*/ 17 w 92"/>
                <a:gd name="T5" fmla="*/ 111 h 115"/>
                <a:gd name="T6" fmla="*/ 9 w 92"/>
                <a:gd name="T7" fmla="*/ 115 h 115"/>
                <a:gd name="T8" fmla="*/ 2 w 92"/>
                <a:gd name="T9" fmla="*/ 102 h 115"/>
                <a:gd name="T10" fmla="*/ 4 w 92"/>
                <a:gd name="T11" fmla="*/ 98 h 115"/>
                <a:gd name="T12" fmla="*/ 25 w 92"/>
                <a:gd name="T13" fmla="*/ 60 h 115"/>
                <a:gd name="T14" fmla="*/ 29 w 92"/>
                <a:gd name="T15" fmla="*/ 55 h 115"/>
                <a:gd name="T16" fmla="*/ 48 w 92"/>
                <a:gd name="T17" fmla="*/ 33 h 115"/>
                <a:gd name="T18" fmla="*/ 58 w 92"/>
                <a:gd name="T19" fmla="*/ 16 h 115"/>
                <a:gd name="T20" fmla="*/ 92 w 92"/>
                <a:gd name="T21" fmla="*/ 11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2" h="115">
                  <a:moveTo>
                    <a:pt x="92" y="11"/>
                  </a:moveTo>
                  <a:cubicBezTo>
                    <a:pt x="86" y="20"/>
                    <a:pt x="79" y="28"/>
                    <a:pt x="73" y="37"/>
                  </a:cubicBezTo>
                  <a:cubicBezTo>
                    <a:pt x="54" y="62"/>
                    <a:pt x="35" y="86"/>
                    <a:pt x="17" y="111"/>
                  </a:cubicBezTo>
                  <a:cubicBezTo>
                    <a:pt x="15" y="114"/>
                    <a:pt x="13" y="115"/>
                    <a:pt x="9" y="115"/>
                  </a:cubicBezTo>
                  <a:cubicBezTo>
                    <a:pt x="3" y="114"/>
                    <a:pt x="0" y="109"/>
                    <a:pt x="2" y="102"/>
                  </a:cubicBezTo>
                  <a:cubicBezTo>
                    <a:pt x="2" y="101"/>
                    <a:pt x="3" y="99"/>
                    <a:pt x="4" y="98"/>
                  </a:cubicBezTo>
                  <a:cubicBezTo>
                    <a:pt x="11" y="85"/>
                    <a:pt x="18" y="73"/>
                    <a:pt x="25" y="60"/>
                  </a:cubicBezTo>
                  <a:cubicBezTo>
                    <a:pt x="26" y="58"/>
                    <a:pt x="28" y="56"/>
                    <a:pt x="29" y="55"/>
                  </a:cubicBezTo>
                  <a:cubicBezTo>
                    <a:pt x="38" y="50"/>
                    <a:pt x="43" y="41"/>
                    <a:pt x="48" y="33"/>
                  </a:cubicBezTo>
                  <a:cubicBezTo>
                    <a:pt x="51" y="27"/>
                    <a:pt x="54" y="21"/>
                    <a:pt x="58" y="16"/>
                  </a:cubicBezTo>
                  <a:cubicBezTo>
                    <a:pt x="68" y="1"/>
                    <a:pt x="78" y="0"/>
                    <a:pt x="92" y="11"/>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9" name="Freeform 109">
              <a:extLst>
                <a:ext uri="{FF2B5EF4-FFF2-40B4-BE49-F238E27FC236}">
                  <a16:creationId xmlns:a16="http://schemas.microsoft.com/office/drawing/2014/main" id="{9DD51B1D-5BAF-4171-A428-72F403939619}"/>
                </a:ext>
              </a:extLst>
            </p:cNvPr>
            <p:cNvSpPr>
              <a:spLocks/>
            </p:cNvSpPr>
            <p:nvPr/>
          </p:nvSpPr>
          <p:spPr bwMode="auto">
            <a:xfrm>
              <a:off x="5595938" y="3683000"/>
              <a:ext cx="122237" cy="157163"/>
            </a:xfrm>
            <a:custGeom>
              <a:avLst/>
              <a:gdLst>
                <a:gd name="T0" fmla="*/ 61 w 63"/>
                <a:gd name="T1" fmla="*/ 11 h 81"/>
                <a:gd name="T2" fmla="*/ 22 w 63"/>
                <a:gd name="T3" fmla="*/ 74 h 81"/>
                <a:gd name="T4" fmla="*/ 6 w 63"/>
                <a:gd name="T5" fmla="*/ 77 h 81"/>
                <a:gd name="T6" fmla="*/ 4 w 63"/>
                <a:gd name="T7" fmla="*/ 62 h 81"/>
                <a:gd name="T8" fmla="*/ 43 w 63"/>
                <a:gd name="T9" fmla="*/ 11 h 81"/>
                <a:gd name="T10" fmla="*/ 61 w 63"/>
                <a:gd name="T11" fmla="*/ 11 h 81"/>
              </a:gdLst>
              <a:ahLst/>
              <a:cxnLst>
                <a:cxn ang="0">
                  <a:pos x="T0" y="T1"/>
                </a:cxn>
                <a:cxn ang="0">
                  <a:pos x="T2" y="T3"/>
                </a:cxn>
                <a:cxn ang="0">
                  <a:pos x="T4" y="T5"/>
                </a:cxn>
                <a:cxn ang="0">
                  <a:pos x="T6" y="T7"/>
                </a:cxn>
                <a:cxn ang="0">
                  <a:pos x="T8" y="T9"/>
                </a:cxn>
                <a:cxn ang="0">
                  <a:pos x="T10" y="T11"/>
                </a:cxn>
              </a:cxnLst>
              <a:rect l="0" t="0" r="r" b="b"/>
              <a:pathLst>
                <a:path w="63" h="81">
                  <a:moveTo>
                    <a:pt x="61" y="11"/>
                  </a:moveTo>
                  <a:cubicBezTo>
                    <a:pt x="63" y="34"/>
                    <a:pt x="38" y="40"/>
                    <a:pt x="22" y="74"/>
                  </a:cubicBezTo>
                  <a:cubicBezTo>
                    <a:pt x="17" y="80"/>
                    <a:pt x="11" y="81"/>
                    <a:pt x="6" y="77"/>
                  </a:cubicBezTo>
                  <a:cubicBezTo>
                    <a:pt x="1" y="74"/>
                    <a:pt x="0" y="67"/>
                    <a:pt x="4" y="62"/>
                  </a:cubicBezTo>
                  <a:cubicBezTo>
                    <a:pt x="17" y="45"/>
                    <a:pt x="30" y="28"/>
                    <a:pt x="43" y="11"/>
                  </a:cubicBezTo>
                  <a:cubicBezTo>
                    <a:pt x="45" y="8"/>
                    <a:pt x="61" y="0"/>
                    <a:pt x="61" y="11"/>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0" name="Freeform 110">
              <a:extLst>
                <a:ext uri="{FF2B5EF4-FFF2-40B4-BE49-F238E27FC236}">
                  <a16:creationId xmlns:a16="http://schemas.microsoft.com/office/drawing/2014/main" id="{CD009D7A-9B3A-4C46-A6A4-5AB519C9518E}"/>
                </a:ext>
              </a:extLst>
            </p:cNvPr>
            <p:cNvSpPr>
              <a:spLocks/>
            </p:cNvSpPr>
            <p:nvPr/>
          </p:nvSpPr>
          <p:spPr bwMode="auto">
            <a:xfrm>
              <a:off x="5365751" y="4097338"/>
              <a:ext cx="50800" cy="53975"/>
            </a:xfrm>
            <a:custGeom>
              <a:avLst/>
              <a:gdLst>
                <a:gd name="T0" fmla="*/ 27 w 27"/>
                <a:gd name="T1" fmla="*/ 13 h 28"/>
                <a:gd name="T2" fmla="*/ 5 w 27"/>
                <a:gd name="T3" fmla="*/ 27 h 28"/>
                <a:gd name="T4" fmla="*/ 0 w 27"/>
                <a:gd name="T5" fmla="*/ 28 h 28"/>
                <a:gd name="T6" fmla="*/ 9 w 27"/>
                <a:gd name="T7" fmla="*/ 0 h 28"/>
                <a:gd name="T8" fmla="*/ 27 w 27"/>
                <a:gd name="T9" fmla="*/ 13 h 28"/>
              </a:gdLst>
              <a:ahLst/>
              <a:cxnLst>
                <a:cxn ang="0">
                  <a:pos x="T0" y="T1"/>
                </a:cxn>
                <a:cxn ang="0">
                  <a:pos x="T2" y="T3"/>
                </a:cxn>
                <a:cxn ang="0">
                  <a:pos x="T4" y="T5"/>
                </a:cxn>
                <a:cxn ang="0">
                  <a:pos x="T6" y="T7"/>
                </a:cxn>
                <a:cxn ang="0">
                  <a:pos x="T8" y="T9"/>
                </a:cxn>
              </a:cxnLst>
              <a:rect l="0" t="0" r="r" b="b"/>
              <a:pathLst>
                <a:path w="27" h="28">
                  <a:moveTo>
                    <a:pt x="27" y="13"/>
                  </a:moveTo>
                  <a:cubicBezTo>
                    <a:pt x="23" y="19"/>
                    <a:pt x="12" y="20"/>
                    <a:pt x="5" y="27"/>
                  </a:cubicBezTo>
                  <a:cubicBezTo>
                    <a:pt x="5" y="27"/>
                    <a:pt x="5" y="28"/>
                    <a:pt x="0" y="28"/>
                  </a:cubicBezTo>
                  <a:cubicBezTo>
                    <a:pt x="3" y="19"/>
                    <a:pt x="6" y="9"/>
                    <a:pt x="9" y="0"/>
                  </a:cubicBezTo>
                  <a:cubicBezTo>
                    <a:pt x="15" y="4"/>
                    <a:pt x="21" y="8"/>
                    <a:pt x="27" y="13"/>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3350074341"/>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ytuł 1">
            <a:extLst>
              <a:ext uri="{FF2B5EF4-FFF2-40B4-BE49-F238E27FC236}">
                <a16:creationId xmlns:a16="http://schemas.microsoft.com/office/drawing/2014/main" id="{DEA935F7-2904-40FF-A73D-3CCC59AF658E}"/>
              </a:ext>
            </a:extLst>
          </p:cNvPr>
          <p:cNvSpPr>
            <a:spLocks noGrp="1"/>
          </p:cNvSpPr>
          <p:nvPr>
            <p:ph type="title"/>
          </p:nvPr>
        </p:nvSpPr>
        <p:spPr/>
        <p:txBody>
          <a:bodyPr/>
          <a:lstStyle/>
          <a:p>
            <a:r>
              <a:rPr lang="en-US" sz="3200" dirty="0"/>
              <a:t>Non-trailing named arguments</a:t>
            </a:r>
          </a:p>
        </p:txBody>
      </p:sp>
      <p:sp>
        <p:nvSpPr>
          <p:cNvPr id="4" name="Symbol zastępczy tekstu 3">
            <a:extLst>
              <a:ext uri="{FF2B5EF4-FFF2-40B4-BE49-F238E27FC236}">
                <a16:creationId xmlns:a16="http://schemas.microsoft.com/office/drawing/2014/main" id="{5AE649E8-E6A2-4473-82C4-13CDFACEAAA5}"/>
              </a:ext>
            </a:extLst>
          </p:cNvPr>
          <p:cNvSpPr>
            <a:spLocks noGrp="1"/>
          </p:cNvSpPr>
          <p:nvPr>
            <p:ph type="body" sz="quarter" idx="10"/>
          </p:nvPr>
        </p:nvSpPr>
        <p:spPr/>
        <p:txBody>
          <a:bodyPr/>
          <a:lstStyle/>
          <a:p>
            <a:endParaRPr lang="en-US" dirty="0"/>
          </a:p>
        </p:txBody>
      </p:sp>
      <p:sp>
        <p:nvSpPr>
          <p:cNvPr id="5" name="Symbol zastępczy tekstu 4">
            <a:extLst>
              <a:ext uri="{FF2B5EF4-FFF2-40B4-BE49-F238E27FC236}">
                <a16:creationId xmlns:a16="http://schemas.microsoft.com/office/drawing/2014/main" id="{026454BF-D147-4265-B180-0D1A4FC7A23F}"/>
              </a:ext>
            </a:extLst>
          </p:cNvPr>
          <p:cNvSpPr>
            <a:spLocks noGrp="1"/>
          </p:cNvSpPr>
          <p:nvPr>
            <p:ph type="body" sz="quarter" idx="11"/>
          </p:nvPr>
        </p:nvSpPr>
        <p:spPr/>
        <p:txBody>
          <a:bodyPr/>
          <a:lstStyle/>
          <a:p>
            <a:r>
              <a:rPr lang="en-US" dirty="0"/>
              <a:t>C# 7.1</a:t>
            </a:r>
          </a:p>
        </p:txBody>
      </p:sp>
      <p:sp>
        <p:nvSpPr>
          <p:cNvPr id="3" name="Symbol zastępczy tekstu 2">
            <a:extLst>
              <a:ext uri="{FF2B5EF4-FFF2-40B4-BE49-F238E27FC236}">
                <a16:creationId xmlns:a16="http://schemas.microsoft.com/office/drawing/2014/main" id="{D0A37E72-B711-494C-A35F-F9DF4987AC76}"/>
              </a:ext>
            </a:extLst>
          </p:cNvPr>
          <p:cNvSpPr>
            <a:spLocks noGrp="1"/>
          </p:cNvSpPr>
          <p:nvPr>
            <p:ph type="body" sz="quarter" idx="12"/>
          </p:nvPr>
        </p:nvSpPr>
        <p:spPr/>
        <p:txBody>
          <a:bodyPr/>
          <a:lstStyle/>
          <a:p>
            <a:r>
              <a:rPr lang="en-US" dirty="0"/>
              <a:t>1</a:t>
            </a:r>
          </a:p>
        </p:txBody>
      </p:sp>
    </p:spTree>
    <p:extLst>
      <p:ext uri="{BB962C8B-B14F-4D97-AF65-F5344CB8AC3E}">
        <p14:creationId xmlns:p14="http://schemas.microsoft.com/office/powerpoint/2010/main" val="147707963"/>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ytuł 1">
            <a:extLst>
              <a:ext uri="{FF2B5EF4-FFF2-40B4-BE49-F238E27FC236}">
                <a16:creationId xmlns:a16="http://schemas.microsoft.com/office/drawing/2014/main" id="{DEA935F7-2904-40FF-A73D-3CCC59AF658E}"/>
              </a:ext>
            </a:extLst>
          </p:cNvPr>
          <p:cNvSpPr>
            <a:spLocks noGrp="1"/>
          </p:cNvSpPr>
          <p:nvPr>
            <p:ph type="title"/>
          </p:nvPr>
        </p:nvSpPr>
        <p:spPr/>
        <p:txBody>
          <a:bodyPr/>
          <a:lstStyle/>
          <a:p>
            <a:r>
              <a:rPr lang="en-US" sz="3200" dirty="0"/>
              <a:t>Non-trailing named arguments</a:t>
            </a:r>
          </a:p>
        </p:txBody>
      </p:sp>
      <p:sp>
        <p:nvSpPr>
          <p:cNvPr id="4" name="Symbol zastępczy tekstu 3">
            <a:extLst>
              <a:ext uri="{FF2B5EF4-FFF2-40B4-BE49-F238E27FC236}">
                <a16:creationId xmlns:a16="http://schemas.microsoft.com/office/drawing/2014/main" id="{5AE649E8-E6A2-4473-82C4-13CDFACEAAA5}"/>
              </a:ext>
            </a:extLst>
          </p:cNvPr>
          <p:cNvSpPr>
            <a:spLocks noGrp="1"/>
          </p:cNvSpPr>
          <p:nvPr>
            <p:ph type="body" sz="quarter" idx="10"/>
          </p:nvPr>
        </p:nvSpPr>
        <p:spPr/>
        <p:txBody>
          <a:bodyPr/>
          <a:lstStyle/>
          <a:p>
            <a:endParaRPr lang="en-US" dirty="0"/>
          </a:p>
        </p:txBody>
      </p:sp>
      <p:sp>
        <p:nvSpPr>
          <p:cNvPr id="5" name="Symbol zastępczy tekstu 4">
            <a:extLst>
              <a:ext uri="{FF2B5EF4-FFF2-40B4-BE49-F238E27FC236}">
                <a16:creationId xmlns:a16="http://schemas.microsoft.com/office/drawing/2014/main" id="{026454BF-D147-4265-B180-0D1A4FC7A23F}"/>
              </a:ext>
            </a:extLst>
          </p:cNvPr>
          <p:cNvSpPr>
            <a:spLocks noGrp="1"/>
          </p:cNvSpPr>
          <p:nvPr>
            <p:ph type="body" sz="quarter" idx="11"/>
          </p:nvPr>
        </p:nvSpPr>
        <p:spPr/>
        <p:txBody>
          <a:bodyPr/>
          <a:lstStyle/>
          <a:p>
            <a:r>
              <a:rPr lang="en-US" dirty="0"/>
              <a:t>C# 7.2</a:t>
            </a:r>
          </a:p>
        </p:txBody>
      </p:sp>
      <p:sp>
        <p:nvSpPr>
          <p:cNvPr id="3" name="Symbol zastępczy tekstu 2">
            <a:extLst>
              <a:ext uri="{FF2B5EF4-FFF2-40B4-BE49-F238E27FC236}">
                <a16:creationId xmlns:a16="http://schemas.microsoft.com/office/drawing/2014/main" id="{724E4C15-2676-4F98-B111-3C989F7AE239}"/>
              </a:ext>
            </a:extLst>
          </p:cNvPr>
          <p:cNvSpPr>
            <a:spLocks noGrp="1"/>
          </p:cNvSpPr>
          <p:nvPr>
            <p:ph type="body" sz="quarter" idx="12"/>
          </p:nvPr>
        </p:nvSpPr>
        <p:spPr/>
        <p:txBody>
          <a:bodyPr/>
          <a:lstStyle/>
          <a:p>
            <a:r>
              <a:rPr lang="en-US" dirty="0"/>
              <a:t>2</a:t>
            </a:r>
          </a:p>
        </p:txBody>
      </p:sp>
    </p:spTree>
    <p:extLst>
      <p:ext uri="{BB962C8B-B14F-4D97-AF65-F5344CB8AC3E}">
        <p14:creationId xmlns:p14="http://schemas.microsoft.com/office/powerpoint/2010/main" val="984845249"/>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pl-PL" dirty="0"/>
              <a:t>Agenda</a:t>
            </a:r>
            <a:endParaRPr lang="en-GB" dirty="0"/>
          </a:p>
        </p:txBody>
      </p:sp>
      <p:sp>
        <p:nvSpPr>
          <p:cNvPr id="5" name="Text Placeholder 4"/>
          <p:cNvSpPr>
            <a:spLocks noGrp="1"/>
          </p:cNvSpPr>
          <p:nvPr>
            <p:ph type="body" sz="quarter" idx="10"/>
          </p:nvPr>
        </p:nvSpPr>
        <p:spPr/>
        <p:txBody>
          <a:bodyPr/>
          <a:lstStyle/>
          <a:p>
            <a:pPr lvl="1"/>
            <a:r>
              <a:rPr lang="en-US" dirty="0">
                <a:solidFill>
                  <a:schemeClr val="bg1">
                    <a:lumMod val="95000"/>
                  </a:schemeClr>
                </a:solidFill>
              </a:rPr>
              <a:t>Introduction</a:t>
            </a:r>
          </a:p>
          <a:p>
            <a:pPr lvl="2"/>
            <a:r>
              <a:rPr lang="en-US" dirty="0">
                <a:solidFill>
                  <a:schemeClr val="bg1">
                    <a:lumMod val="95000"/>
                  </a:schemeClr>
                </a:solidFill>
              </a:rPr>
              <a:t>The recent C# versions timeline,</a:t>
            </a:r>
          </a:p>
          <a:p>
            <a:pPr lvl="2"/>
            <a:r>
              <a:rPr lang="en-US" dirty="0">
                <a:solidFill>
                  <a:schemeClr val="bg1">
                    <a:lumMod val="95000"/>
                  </a:schemeClr>
                </a:solidFill>
              </a:rPr>
              <a:t>C# 8.0 pre-requirements,</a:t>
            </a:r>
          </a:p>
          <a:p>
            <a:pPr lvl="2"/>
            <a:r>
              <a:rPr lang="en-US" dirty="0">
                <a:solidFill>
                  <a:schemeClr val="bg1">
                    <a:lumMod val="95000"/>
                  </a:schemeClr>
                </a:solidFill>
              </a:rPr>
              <a:t>dive into an example.</a:t>
            </a:r>
          </a:p>
          <a:p>
            <a:pPr lvl="1"/>
            <a:r>
              <a:rPr lang="en-US" dirty="0">
                <a:solidFill>
                  <a:schemeClr val="bg1">
                    <a:lumMod val="95000"/>
                  </a:schemeClr>
                </a:solidFill>
              </a:rPr>
              <a:t>What’s new in C# 7.1</a:t>
            </a:r>
          </a:p>
          <a:p>
            <a:pPr lvl="2"/>
            <a:r>
              <a:rPr lang="en-US" dirty="0">
                <a:solidFill>
                  <a:schemeClr val="bg1">
                    <a:lumMod val="95000"/>
                  </a:schemeClr>
                </a:solidFill>
              </a:rPr>
              <a:t>Async Main method,</a:t>
            </a:r>
          </a:p>
          <a:p>
            <a:pPr lvl="2"/>
            <a:r>
              <a:rPr lang="en-US" dirty="0">
                <a:solidFill>
                  <a:schemeClr val="bg1">
                    <a:lumMod val="95000"/>
                  </a:schemeClr>
                </a:solidFill>
              </a:rPr>
              <a:t>default literal expressions,</a:t>
            </a:r>
          </a:p>
          <a:p>
            <a:pPr lvl="2"/>
            <a:r>
              <a:rPr lang="en-US" dirty="0">
                <a:solidFill>
                  <a:schemeClr val="bg1">
                    <a:lumMod val="95000"/>
                  </a:schemeClr>
                </a:solidFill>
              </a:rPr>
              <a:t>inferred tuple element names.</a:t>
            </a:r>
          </a:p>
          <a:p>
            <a:pPr lvl="1"/>
            <a:r>
              <a:rPr lang="en-US" dirty="0">
                <a:solidFill>
                  <a:schemeClr val="bg1">
                    <a:lumMod val="95000"/>
                  </a:schemeClr>
                </a:solidFill>
              </a:rPr>
              <a:t>What’s new in C# 7.2</a:t>
            </a:r>
          </a:p>
          <a:p>
            <a:pPr lvl="2"/>
            <a:r>
              <a:rPr lang="en-US" dirty="0">
                <a:solidFill>
                  <a:schemeClr val="bg1">
                    <a:lumMod val="95000"/>
                  </a:schemeClr>
                </a:solidFill>
              </a:rPr>
              <a:t>Safe efficient code enhancements,</a:t>
            </a:r>
          </a:p>
          <a:p>
            <a:pPr lvl="2"/>
            <a:r>
              <a:rPr lang="en-US" dirty="0">
                <a:solidFill>
                  <a:schemeClr val="bg1">
                    <a:lumMod val="95000"/>
                  </a:schemeClr>
                </a:solidFill>
              </a:rPr>
              <a:t>non-trailing named arguments,</a:t>
            </a:r>
          </a:p>
          <a:p>
            <a:pPr lvl="2"/>
            <a:r>
              <a:rPr lang="en-US" dirty="0">
                <a:solidFill>
                  <a:schemeClr val="bg1">
                    <a:lumMod val="95000"/>
                  </a:schemeClr>
                </a:solidFill>
              </a:rPr>
              <a:t>leading underscores in numeric literals,</a:t>
            </a:r>
          </a:p>
          <a:p>
            <a:pPr lvl="2"/>
            <a:r>
              <a:rPr lang="en-US" dirty="0">
                <a:solidFill>
                  <a:schemeClr val="bg1">
                    <a:lumMod val="95000"/>
                  </a:schemeClr>
                </a:solidFill>
              </a:rPr>
              <a:t>private protected access modifier,</a:t>
            </a:r>
          </a:p>
          <a:p>
            <a:pPr lvl="2"/>
            <a:r>
              <a:rPr lang="en-US" dirty="0">
                <a:solidFill>
                  <a:schemeClr val="bg1">
                    <a:lumMod val="95000"/>
                  </a:schemeClr>
                </a:solidFill>
              </a:rPr>
              <a:t>conditional ref expressions.</a:t>
            </a:r>
          </a:p>
        </p:txBody>
      </p:sp>
      <p:sp>
        <p:nvSpPr>
          <p:cNvPr id="6" name="Text Placeholder 5"/>
          <p:cNvSpPr>
            <a:spLocks noGrp="1"/>
          </p:cNvSpPr>
          <p:nvPr>
            <p:ph type="body" sz="quarter" idx="11"/>
          </p:nvPr>
        </p:nvSpPr>
        <p:spPr/>
        <p:txBody>
          <a:bodyPr/>
          <a:lstStyle/>
          <a:p>
            <a:r>
              <a:rPr lang="en-US" dirty="0"/>
              <a:t>We are going to talk about…</a:t>
            </a:r>
          </a:p>
        </p:txBody>
      </p:sp>
      <p:sp>
        <p:nvSpPr>
          <p:cNvPr id="8" name="Text Placeholder 4">
            <a:extLst>
              <a:ext uri="{FF2B5EF4-FFF2-40B4-BE49-F238E27FC236}">
                <a16:creationId xmlns:a16="http://schemas.microsoft.com/office/drawing/2014/main" id="{52580643-4575-408B-8BE0-E817BC2D360B}"/>
              </a:ext>
            </a:extLst>
          </p:cNvPr>
          <p:cNvSpPr txBox="1">
            <a:spLocks/>
          </p:cNvSpPr>
          <p:nvPr/>
        </p:nvSpPr>
        <p:spPr>
          <a:xfrm>
            <a:off x="227348" y="1815350"/>
            <a:ext cx="11700000" cy="4466201"/>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buClr>
                <a:srgbClr val="860864"/>
              </a:buClr>
            </a:pPr>
            <a:r>
              <a:rPr lang="en-US" dirty="0"/>
              <a:t>Introduction</a:t>
            </a:r>
          </a:p>
          <a:p>
            <a:pPr lvl="2">
              <a:buClr>
                <a:srgbClr val="CC2980"/>
              </a:buClr>
            </a:pPr>
            <a:r>
              <a:rPr lang="en-US" dirty="0"/>
              <a:t>The recent C# versions timeline,</a:t>
            </a:r>
          </a:p>
          <a:p>
            <a:pPr lvl="2">
              <a:buClr>
                <a:srgbClr val="CC2980"/>
              </a:buClr>
            </a:pPr>
            <a:r>
              <a:rPr lang="en-US" dirty="0"/>
              <a:t>C# 8.0 pre-requirements,</a:t>
            </a:r>
          </a:p>
          <a:p>
            <a:pPr lvl="2">
              <a:buClr>
                <a:srgbClr val="CC2980"/>
              </a:buClr>
            </a:pPr>
            <a:r>
              <a:rPr lang="en-US" dirty="0"/>
              <a:t>dive into an example.</a:t>
            </a:r>
          </a:p>
          <a:p>
            <a:pPr lvl="1">
              <a:buClr>
                <a:srgbClr val="860864"/>
              </a:buClr>
            </a:pPr>
            <a:r>
              <a:rPr lang="en-US" dirty="0"/>
              <a:t>What’s new in C# 7.1</a:t>
            </a:r>
          </a:p>
          <a:p>
            <a:pPr lvl="2">
              <a:buClr>
                <a:srgbClr val="CC2980"/>
              </a:buClr>
            </a:pPr>
            <a:r>
              <a:rPr lang="en-US" dirty="0"/>
              <a:t>Async Main method,</a:t>
            </a:r>
          </a:p>
          <a:p>
            <a:pPr lvl="2">
              <a:buClr>
                <a:srgbClr val="CC2980"/>
              </a:buClr>
            </a:pPr>
            <a:r>
              <a:rPr lang="en-US" dirty="0"/>
              <a:t>default literal expressions,</a:t>
            </a:r>
          </a:p>
          <a:p>
            <a:pPr lvl="2">
              <a:buClr>
                <a:srgbClr val="CC2980"/>
              </a:buClr>
            </a:pPr>
            <a:r>
              <a:rPr lang="en-US" dirty="0"/>
              <a:t>inferred tuple element names.</a:t>
            </a:r>
          </a:p>
          <a:p>
            <a:pPr lvl="1">
              <a:buClr>
                <a:srgbClr val="860864"/>
              </a:buClr>
            </a:pPr>
            <a:r>
              <a:rPr lang="en-US" dirty="0"/>
              <a:t>What’s new in C# 7.2</a:t>
            </a:r>
          </a:p>
          <a:p>
            <a:pPr lvl="2">
              <a:buClr>
                <a:srgbClr val="CC2980"/>
              </a:buClr>
            </a:pPr>
            <a:r>
              <a:rPr lang="en-US" dirty="0"/>
              <a:t>Safe efficient code enhancements,</a:t>
            </a:r>
          </a:p>
          <a:p>
            <a:pPr lvl="2">
              <a:buClr>
                <a:srgbClr val="CC2980"/>
              </a:buClr>
            </a:pPr>
            <a:r>
              <a:rPr lang="en-US" dirty="0"/>
              <a:t>non-trailing named arguments,</a:t>
            </a:r>
          </a:p>
          <a:p>
            <a:pPr lvl="2">
              <a:buClr>
                <a:srgbClr val="CC2980"/>
              </a:buClr>
            </a:pPr>
            <a:r>
              <a:rPr lang="en-US" dirty="0"/>
              <a:t>leading underscores in numeric literals,</a:t>
            </a:r>
          </a:p>
        </p:txBody>
      </p:sp>
    </p:spTree>
    <p:extLst>
      <p:ext uri="{BB962C8B-B14F-4D97-AF65-F5344CB8AC3E}">
        <p14:creationId xmlns:p14="http://schemas.microsoft.com/office/powerpoint/2010/main" val="278566506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
                                            <p:txEl>
                                              <p:pRg st="11" end="11"/>
                                            </p:txEl>
                                          </p:spTgt>
                                        </p:tgtEl>
                                        <p:attrNameLst>
                                          <p:attrName>style.visibility</p:attrName>
                                        </p:attrNameLst>
                                      </p:cBhvr>
                                      <p:to>
                                        <p:strVal val="visible"/>
                                      </p:to>
                                    </p:set>
                                    <p:animEffect transition="in" filter="fade">
                                      <p:cBhvr>
                                        <p:cTn id="7" dur="500"/>
                                        <p:tgtEl>
                                          <p:spTgt spid="8">
                                            <p:txEl>
                                              <p:pRg st="11" end="1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pl-PL" dirty="0"/>
              <a:t>Agenda</a:t>
            </a:r>
            <a:endParaRPr lang="en-GB" dirty="0"/>
          </a:p>
        </p:txBody>
      </p:sp>
      <p:sp>
        <p:nvSpPr>
          <p:cNvPr id="5" name="Text Placeholder 4"/>
          <p:cNvSpPr>
            <a:spLocks noGrp="1"/>
          </p:cNvSpPr>
          <p:nvPr>
            <p:ph type="body" sz="quarter" idx="10"/>
          </p:nvPr>
        </p:nvSpPr>
        <p:spPr/>
        <p:txBody>
          <a:bodyPr/>
          <a:lstStyle/>
          <a:p>
            <a:pPr lvl="1"/>
            <a:r>
              <a:rPr lang="en-US" dirty="0">
                <a:solidFill>
                  <a:schemeClr val="bg1">
                    <a:lumMod val="95000"/>
                  </a:schemeClr>
                </a:solidFill>
              </a:rPr>
              <a:t>What’s new in C# 8.0</a:t>
            </a:r>
          </a:p>
          <a:p>
            <a:pPr lvl="2"/>
            <a:r>
              <a:rPr lang="en-US" dirty="0">
                <a:solidFill>
                  <a:schemeClr val="bg1">
                    <a:lumMod val="95000"/>
                  </a:schemeClr>
                </a:solidFill>
              </a:rPr>
              <a:t>Nullable reference types,</a:t>
            </a:r>
          </a:p>
          <a:p>
            <a:pPr lvl="2"/>
            <a:r>
              <a:rPr lang="en-US" dirty="0">
                <a:solidFill>
                  <a:schemeClr val="bg1">
                    <a:lumMod val="95000"/>
                  </a:schemeClr>
                </a:solidFill>
              </a:rPr>
              <a:t>async streams,</a:t>
            </a:r>
          </a:p>
          <a:p>
            <a:pPr lvl="2"/>
            <a:r>
              <a:rPr lang="en-US" dirty="0">
                <a:solidFill>
                  <a:schemeClr val="bg1">
                    <a:lumMod val="95000"/>
                  </a:schemeClr>
                </a:solidFill>
              </a:rPr>
              <a:t>ranges and indices,</a:t>
            </a:r>
          </a:p>
          <a:p>
            <a:pPr lvl="2"/>
            <a:r>
              <a:rPr lang="en-US" dirty="0">
                <a:solidFill>
                  <a:schemeClr val="bg1">
                    <a:lumMod val="95000"/>
                  </a:schemeClr>
                </a:solidFill>
              </a:rPr>
              <a:t>default interface members,</a:t>
            </a:r>
          </a:p>
          <a:p>
            <a:pPr lvl="2"/>
            <a:r>
              <a:rPr lang="en-US" dirty="0">
                <a:solidFill>
                  <a:schemeClr val="bg1">
                    <a:lumMod val="95000"/>
                  </a:schemeClr>
                </a:solidFill>
              </a:rPr>
              <a:t>recursive patterns,</a:t>
            </a:r>
          </a:p>
          <a:p>
            <a:pPr lvl="2"/>
            <a:r>
              <a:rPr lang="en-US" dirty="0">
                <a:solidFill>
                  <a:schemeClr val="bg1">
                    <a:lumMod val="95000"/>
                  </a:schemeClr>
                </a:solidFill>
              </a:rPr>
              <a:t>switch expressions,</a:t>
            </a:r>
          </a:p>
          <a:p>
            <a:pPr lvl="2"/>
            <a:r>
              <a:rPr lang="en-US" dirty="0">
                <a:solidFill>
                  <a:schemeClr val="bg1">
                    <a:lumMod val="95000"/>
                  </a:schemeClr>
                </a:solidFill>
              </a:rPr>
              <a:t>target-typed new-expressions,</a:t>
            </a:r>
          </a:p>
          <a:p>
            <a:pPr lvl="2"/>
            <a:r>
              <a:rPr lang="en-US" dirty="0">
                <a:solidFill>
                  <a:schemeClr val="bg1">
                    <a:lumMod val="95000"/>
                  </a:schemeClr>
                </a:solidFill>
              </a:rPr>
              <a:t>extension everything,</a:t>
            </a:r>
          </a:p>
          <a:p>
            <a:pPr lvl="2"/>
            <a:r>
              <a:rPr lang="en-US" dirty="0">
                <a:solidFill>
                  <a:schemeClr val="bg1">
                    <a:lumMod val="95000"/>
                  </a:schemeClr>
                </a:solidFill>
              </a:rPr>
              <a:t>using declarations.</a:t>
            </a:r>
            <a:endParaRPr lang="en-GB" dirty="0">
              <a:solidFill>
                <a:schemeClr val="bg1">
                  <a:lumMod val="95000"/>
                </a:schemeClr>
              </a:solidFill>
            </a:endParaRPr>
          </a:p>
        </p:txBody>
      </p:sp>
      <p:sp>
        <p:nvSpPr>
          <p:cNvPr id="6" name="Text Placeholder 5"/>
          <p:cNvSpPr>
            <a:spLocks noGrp="1"/>
          </p:cNvSpPr>
          <p:nvPr>
            <p:ph type="body" sz="quarter" idx="11"/>
          </p:nvPr>
        </p:nvSpPr>
        <p:spPr/>
        <p:txBody>
          <a:bodyPr/>
          <a:lstStyle/>
          <a:p>
            <a:r>
              <a:rPr lang="en-US" dirty="0"/>
              <a:t>We are going to talk about…</a:t>
            </a:r>
          </a:p>
        </p:txBody>
      </p:sp>
      <p:sp>
        <p:nvSpPr>
          <p:cNvPr id="7" name="Text Placeholder 4">
            <a:extLst>
              <a:ext uri="{FF2B5EF4-FFF2-40B4-BE49-F238E27FC236}">
                <a16:creationId xmlns:a16="http://schemas.microsoft.com/office/drawing/2014/main" id="{63765791-BF79-472B-ACEA-FA2DB95D860D}"/>
              </a:ext>
            </a:extLst>
          </p:cNvPr>
          <p:cNvSpPr txBox="1">
            <a:spLocks/>
          </p:cNvSpPr>
          <p:nvPr/>
        </p:nvSpPr>
        <p:spPr>
          <a:xfrm>
            <a:off x="227348" y="1815350"/>
            <a:ext cx="11700000" cy="4466201"/>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r>
              <a:rPr lang="en-US" dirty="0"/>
              <a:t>What’s new in C# 8.0</a:t>
            </a:r>
          </a:p>
          <a:p>
            <a:pPr lvl="2"/>
            <a:r>
              <a:rPr lang="en-US" dirty="0"/>
              <a:t>Nullable reference types,</a:t>
            </a:r>
          </a:p>
          <a:p>
            <a:pPr lvl="2"/>
            <a:r>
              <a:rPr lang="en-US" dirty="0"/>
              <a:t>async streams,</a:t>
            </a:r>
          </a:p>
          <a:p>
            <a:pPr lvl="2"/>
            <a:r>
              <a:rPr lang="en-US" dirty="0"/>
              <a:t>ranges and indices,</a:t>
            </a:r>
          </a:p>
          <a:p>
            <a:pPr lvl="2"/>
            <a:r>
              <a:rPr lang="en-US" dirty="0"/>
              <a:t>default interface members,</a:t>
            </a:r>
          </a:p>
          <a:p>
            <a:pPr lvl="2"/>
            <a:r>
              <a:rPr lang="en-US" dirty="0"/>
              <a:t>recursive patterns,</a:t>
            </a:r>
          </a:p>
          <a:p>
            <a:pPr lvl="2"/>
            <a:r>
              <a:rPr lang="en-US" dirty="0"/>
              <a:t>switch expressions,</a:t>
            </a:r>
          </a:p>
          <a:p>
            <a:pPr lvl="2"/>
            <a:r>
              <a:rPr lang="en-US" dirty="0"/>
              <a:t>target-typed new-expressions,</a:t>
            </a:r>
          </a:p>
          <a:p>
            <a:pPr lvl="2"/>
            <a:r>
              <a:rPr lang="en-US" dirty="0"/>
              <a:t>extension everything,</a:t>
            </a:r>
          </a:p>
          <a:p>
            <a:pPr lvl="2"/>
            <a:r>
              <a:rPr lang="en-US" dirty="0"/>
              <a:t>using declarations.</a:t>
            </a:r>
            <a:endParaRPr lang="en-GB" dirty="0"/>
          </a:p>
        </p:txBody>
      </p:sp>
    </p:spTree>
    <p:extLst>
      <p:ext uri="{BB962C8B-B14F-4D97-AF65-F5344CB8AC3E}">
        <p14:creationId xmlns:p14="http://schemas.microsoft.com/office/powerpoint/2010/main" val="170396558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
                                            <p:txEl>
                                              <p:pRg st="1" end="1"/>
                                            </p:txEl>
                                          </p:spTgt>
                                        </p:tgtEl>
                                        <p:attrNameLst>
                                          <p:attrName>style.visibility</p:attrName>
                                        </p:attrNameLst>
                                      </p:cBhvr>
                                      <p:to>
                                        <p:strVal val="visible"/>
                                      </p:to>
                                    </p:set>
                                    <p:animEffect transition="in" filter="fade">
                                      <p:cBhvr>
                                        <p:cTn id="7" dur="500"/>
                                        <p:tgtEl>
                                          <p:spTgt spid="7">
                                            <p:txEl>
                                              <p:pRg st="1" end="1"/>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7">
                                            <p:txEl>
                                              <p:pRg st="2" end="2"/>
                                            </p:txEl>
                                          </p:spTgt>
                                        </p:tgtEl>
                                        <p:attrNameLst>
                                          <p:attrName>style.visibility</p:attrName>
                                        </p:attrNameLst>
                                      </p:cBhvr>
                                      <p:to>
                                        <p:strVal val="visible"/>
                                      </p:to>
                                    </p:set>
                                    <p:animEffect transition="in" filter="fade">
                                      <p:cBhvr>
                                        <p:cTn id="10" dur="500"/>
                                        <p:tgtEl>
                                          <p:spTgt spid="7">
                                            <p:txEl>
                                              <p:pRg st="2" end="2"/>
                                            </p:txEl>
                                          </p:spTgt>
                                        </p:tgtEl>
                                      </p:cBhvr>
                                    </p:animEffect>
                                  </p:childTnLst>
                                </p:cTn>
                              </p:par>
                              <p:par>
                                <p:cTn id="11" presetID="10" presetClass="entr" presetSubtype="0" fill="hold" nodeType="withEffect">
                                  <p:stCondLst>
                                    <p:cond delay="0"/>
                                  </p:stCondLst>
                                  <p:childTnLst>
                                    <p:set>
                                      <p:cBhvr>
                                        <p:cTn id="12" dur="1" fill="hold">
                                          <p:stCondLst>
                                            <p:cond delay="0"/>
                                          </p:stCondLst>
                                        </p:cTn>
                                        <p:tgtEl>
                                          <p:spTgt spid="7">
                                            <p:txEl>
                                              <p:pRg st="3" end="3"/>
                                            </p:txEl>
                                          </p:spTgt>
                                        </p:tgtEl>
                                        <p:attrNameLst>
                                          <p:attrName>style.visibility</p:attrName>
                                        </p:attrNameLst>
                                      </p:cBhvr>
                                      <p:to>
                                        <p:strVal val="visible"/>
                                      </p:to>
                                    </p:set>
                                    <p:animEffect transition="in" filter="fade">
                                      <p:cBhvr>
                                        <p:cTn id="13" dur="500"/>
                                        <p:tgtEl>
                                          <p:spTgt spid="7">
                                            <p:txEl>
                                              <p:pRg st="3" end="3"/>
                                            </p:txEl>
                                          </p:spTgt>
                                        </p:tgtEl>
                                      </p:cBhvr>
                                    </p:animEffect>
                                  </p:childTnLst>
                                </p:cTn>
                              </p:par>
                              <p:par>
                                <p:cTn id="14" presetID="10" presetClass="entr" presetSubtype="0" fill="hold" nodeType="withEffect">
                                  <p:stCondLst>
                                    <p:cond delay="0"/>
                                  </p:stCondLst>
                                  <p:childTnLst>
                                    <p:set>
                                      <p:cBhvr>
                                        <p:cTn id="15" dur="1" fill="hold">
                                          <p:stCondLst>
                                            <p:cond delay="0"/>
                                          </p:stCondLst>
                                        </p:cTn>
                                        <p:tgtEl>
                                          <p:spTgt spid="7">
                                            <p:txEl>
                                              <p:pRg st="4" end="4"/>
                                            </p:txEl>
                                          </p:spTgt>
                                        </p:tgtEl>
                                        <p:attrNameLst>
                                          <p:attrName>style.visibility</p:attrName>
                                        </p:attrNameLst>
                                      </p:cBhvr>
                                      <p:to>
                                        <p:strVal val="visible"/>
                                      </p:to>
                                    </p:set>
                                    <p:animEffect transition="in" filter="fade">
                                      <p:cBhvr>
                                        <p:cTn id="16" dur="500"/>
                                        <p:tgtEl>
                                          <p:spTgt spid="7">
                                            <p:txEl>
                                              <p:pRg st="4" end="4"/>
                                            </p:txEl>
                                          </p:spTgt>
                                        </p:tgtEl>
                                      </p:cBhvr>
                                    </p:animEffect>
                                  </p:childTnLst>
                                </p:cTn>
                              </p:par>
                              <p:par>
                                <p:cTn id="17" presetID="10" presetClass="entr" presetSubtype="0" fill="hold" nodeType="withEffect">
                                  <p:stCondLst>
                                    <p:cond delay="0"/>
                                  </p:stCondLst>
                                  <p:childTnLst>
                                    <p:set>
                                      <p:cBhvr>
                                        <p:cTn id="18" dur="1" fill="hold">
                                          <p:stCondLst>
                                            <p:cond delay="0"/>
                                          </p:stCondLst>
                                        </p:cTn>
                                        <p:tgtEl>
                                          <p:spTgt spid="7">
                                            <p:txEl>
                                              <p:pRg st="5" end="5"/>
                                            </p:txEl>
                                          </p:spTgt>
                                        </p:tgtEl>
                                        <p:attrNameLst>
                                          <p:attrName>style.visibility</p:attrName>
                                        </p:attrNameLst>
                                      </p:cBhvr>
                                      <p:to>
                                        <p:strVal val="visible"/>
                                      </p:to>
                                    </p:set>
                                    <p:animEffect transition="in" filter="fade">
                                      <p:cBhvr>
                                        <p:cTn id="19" dur="500"/>
                                        <p:tgtEl>
                                          <p:spTgt spid="7">
                                            <p:txEl>
                                              <p:pRg st="5" end="5"/>
                                            </p:txEl>
                                          </p:spTgt>
                                        </p:tgtEl>
                                      </p:cBhvr>
                                    </p:animEffect>
                                  </p:childTnLst>
                                </p:cTn>
                              </p:par>
                              <p:par>
                                <p:cTn id="20" presetID="10" presetClass="entr" presetSubtype="0" fill="hold" nodeType="withEffect">
                                  <p:stCondLst>
                                    <p:cond delay="0"/>
                                  </p:stCondLst>
                                  <p:childTnLst>
                                    <p:set>
                                      <p:cBhvr>
                                        <p:cTn id="21" dur="1" fill="hold">
                                          <p:stCondLst>
                                            <p:cond delay="0"/>
                                          </p:stCondLst>
                                        </p:cTn>
                                        <p:tgtEl>
                                          <p:spTgt spid="7">
                                            <p:txEl>
                                              <p:pRg st="6" end="6"/>
                                            </p:txEl>
                                          </p:spTgt>
                                        </p:tgtEl>
                                        <p:attrNameLst>
                                          <p:attrName>style.visibility</p:attrName>
                                        </p:attrNameLst>
                                      </p:cBhvr>
                                      <p:to>
                                        <p:strVal val="visible"/>
                                      </p:to>
                                    </p:set>
                                    <p:animEffect transition="in" filter="fade">
                                      <p:cBhvr>
                                        <p:cTn id="22" dur="500"/>
                                        <p:tgtEl>
                                          <p:spTgt spid="7">
                                            <p:txEl>
                                              <p:pRg st="6" end="6"/>
                                            </p:txEl>
                                          </p:spTgt>
                                        </p:tgtEl>
                                      </p:cBhvr>
                                    </p:animEffect>
                                  </p:childTnLst>
                                </p:cTn>
                              </p:par>
                              <p:par>
                                <p:cTn id="23" presetID="10" presetClass="entr" presetSubtype="0" fill="hold" nodeType="withEffect">
                                  <p:stCondLst>
                                    <p:cond delay="0"/>
                                  </p:stCondLst>
                                  <p:childTnLst>
                                    <p:set>
                                      <p:cBhvr>
                                        <p:cTn id="24" dur="1" fill="hold">
                                          <p:stCondLst>
                                            <p:cond delay="0"/>
                                          </p:stCondLst>
                                        </p:cTn>
                                        <p:tgtEl>
                                          <p:spTgt spid="7">
                                            <p:txEl>
                                              <p:pRg st="7" end="7"/>
                                            </p:txEl>
                                          </p:spTgt>
                                        </p:tgtEl>
                                        <p:attrNameLst>
                                          <p:attrName>style.visibility</p:attrName>
                                        </p:attrNameLst>
                                      </p:cBhvr>
                                      <p:to>
                                        <p:strVal val="visible"/>
                                      </p:to>
                                    </p:set>
                                    <p:animEffect transition="in" filter="fade">
                                      <p:cBhvr>
                                        <p:cTn id="25" dur="500"/>
                                        <p:tgtEl>
                                          <p:spTgt spid="7">
                                            <p:txEl>
                                              <p:pRg st="7" end="7"/>
                                            </p:txEl>
                                          </p:spTgt>
                                        </p:tgtEl>
                                      </p:cBhvr>
                                    </p:animEffect>
                                  </p:childTnLst>
                                </p:cTn>
                              </p:par>
                              <p:par>
                                <p:cTn id="26" presetID="10" presetClass="entr" presetSubtype="0" fill="hold" nodeType="withEffect">
                                  <p:stCondLst>
                                    <p:cond delay="0"/>
                                  </p:stCondLst>
                                  <p:childTnLst>
                                    <p:set>
                                      <p:cBhvr>
                                        <p:cTn id="27" dur="1" fill="hold">
                                          <p:stCondLst>
                                            <p:cond delay="0"/>
                                          </p:stCondLst>
                                        </p:cTn>
                                        <p:tgtEl>
                                          <p:spTgt spid="7">
                                            <p:txEl>
                                              <p:pRg st="8" end="8"/>
                                            </p:txEl>
                                          </p:spTgt>
                                        </p:tgtEl>
                                        <p:attrNameLst>
                                          <p:attrName>style.visibility</p:attrName>
                                        </p:attrNameLst>
                                      </p:cBhvr>
                                      <p:to>
                                        <p:strVal val="visible"/>
                                      </p:to>
                                    </p:set>
                                    <p:animEffect transition="in" filter="fade">
                                      <p:cBhvr>
                                        <p:cTn id="28" dur="500"/>
                                        <p:tgtEl>
                                          <p:spTgt spid="7">
                                            <p:txEl>
                                              <p:pRg st="8" end="8"/>
                                            </p:txEl>
                                          </p:spTgt>
                                        </p:tgtEl>
                                      </p:cBhvr>
                                    </p:animEffect>
                                  </p:childTnLst>
                                </p:cTn>
                              </p:par>
                              <p:par>
                                <p:cTn id="29" presetID="10" presetClass="entr" presetSubtype="0" fill="hold" nodeType="withEffect">
                                  <p:stCondLst>
                                    <p:cond delay="0"/>
                                  </p:stCondLst>
                                  <p:childTnLst>
                                    <p:set>
                                      <p:cBhvr>
                                        <p:cTn id="30" dur="1" fill="hold">
                                          <p:stCondLst>
                                            <p:cond delay="0"/>
                                          </p:stCondLst>
                                        </p:cTn>
                                        <p:tgtEl>
                                          <p:spTgt spid="7">
                                            <p:txEl>
                                              <p:pRg st="9" end="9"/>
                                            </p:txEl>
                                          </p:spTgt>
                                        </p:tgtEl>
                                        <p:attrNameLst>
                                          <p:attrName>style.visibility</p:attrName>
                                        </p:attrNameLst>
                                      </p:cBhvr>
                                      <p:to>
                                        <p:strVal val="visible"/>
                                      </p:to>
                                    </p:set>
                                    <p:animEffect transition="in" filter="fade">
                                      <p:cBhvr>
                                        <p:cTn id="31" dur="500"/>
                                        <p:tgtEl>
                                          <p:spTgt spid="7">
                                            <p:txEl>
                                              <p:pRg st="9" end="9"/>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ymbol zastępczy tekstu 5">
            <a:extLst>
              <a:ext uri="{FF2B5EF4-FFF2-40B4-BE49-F238E27FC236}">
                <a16:creationId xmlns:a16="http://schemas.microsoft.com/office/drawing/2014/main" id="{EC19D1F0-CA19-48E4-B6B7-FE7D3388EB92}"/>
              </a:ext>
            </a:extLst>
          </p:cNvPr>
          <p:cNvSpPr>
            <a:spLocks noGrp="1"/>
          </p:cNvSpPr>
          <p:nvPr>
            <p:ph type="body" sz="quarter" idx="11"/>
          </p:nvPr>
        </p:nvSpPr>
        <p:spPr>
          <a:xfrm>
            <a:off x="6744073" y="2662294"/>
            <a:ext cx="5256584" cy="3160282"/>
          </a:xfrm>
        </p:spPr>
        <p:txBody>
          <a:bodyPr/>
          <a:lstStyle/>
          <a:p>
            <a:r>
              <a:rPr lang="en-US" dirty="0"/>
              <a:t>What’s new in C# 7.2</a:t>
            </a:r>
          </a:p>
          <a:p>
            <a:r>
              <a:rPr lang="en-US" sz="2400" dirty="0"/>
              <a:t>Leading underscores in numeric literals</a:t>
            </a:r>
          </a:p>
        </p:txBody>
      </p:sp>
      <p:sp>
        <p:nvSpPr>
          <p:cNvPr id="28" name="Freeform 37">
            <a:extLst>
              <a:ext uri="{FF2B5EF4-FFF2-40B4-BE49-F238E27FC236}">
                <a16:creationId xmlns:a16="http://schemas.microsoft.com/office/drawing/2014/main" id="{C163FEF7-EB42-4298-AED9-19E8D9ACF2E4}"/>
              </a:ext>
            </a:extLst>
          </p:cNvPr>
          <p:cNvSpPr>
            <a:spLocks/>
          </p:cNvSpPr>
          <p:nvPr/>
        </p:nvSpPr>
        <p:spPr bwMode="auto">
          <a:xfrm>
            <a:off x="1291010" y="2646539"/>
            <a:ext cx="844550" cy="793750"/>
          </a:xfrm>
          <a:custGeom>
            <a:avLst/>
            <a:gdLst>
              <a:gd name="T0" fmla="*/ 51 w 440"/>
              <a:gd name="T1" fmla="*/ 298 h 410"/>
              <a:gd name="T2" fmla="*/ 128 w 440"/>
              <a:gd name="T3" fmla="*/ 48 h 410"/>
              <a:gd name="T4" fmla="*/ 389 w 440"/>
              <a:gd name="T5" fmla="*/ 122 h 410"/>
              <a:gd name="T6" fmla="*/ 307 w 440"/>
              <a:gd name="T7" fmla="*/ 362 h 410"/>
              <a:gd name="T8" fmla="*/ 51 w 440"/>
              <a:gd name="T9" fmla="*/ 298 h 410"/>
            </a:gdLst>
            <a:ahLst/>
            <a:cxnLst>
              <a:cxn ang="0">
                <a:pos x="T0" y="T1"/>
              </a:cxn>
              <a:cxn ang="0">
                <a:pos x="T2" y="T3"/>
              </a:cxn>
              <a:cxn ang="0">
                <a:pos x="T4" y="T5"/>
              </a:cxn>
              <a:cxn ang="0">
                <a:pos x="T6" y="T7"/>
              </a:cxn>
              <a:cxn ang="0">
                <a:pos x="T8" y="T9"/>
              </a:cxn>
            </a:cxnLst>
            <a:rect l="0" t="0" r="r" b="b"/>
            <a:pathLst>
              <a:path w="440" h="410">
                <a:moveTo>
                  <a:pt x="51" y="298"/>
                </a:moveTo>
                <a:cubicBezTo>
                  <a:pt x="0" y="209"/>
                  <a:pt x="34" y="97"/>
                  <a:pt x="128" y="48"/>
                </a:cubicBezTo>
                <a:cubicBezTo>
                  <a:pt x="221" y="0"/>
                  <a:pt x="338" y="33"/>
                  <a:pt x="389" y="122"/>
                </a:cubicBezTo>
                <a:cubicBezTo>
                  <a:pt x="440" y="212"/>
                  <a:pt x="400" y="313"/>
                  <a:pt x="307" y="362"/>
                </a:cubicBezTo>
                <a:cubicBezTo>
                  <a:pt x="214" y="410"/>
                  <a:pt x="102" y="388"/>
                  <a:pt x="51" y="298"/>
                </a:cubicBezTo>
              </a:path>
            </a:pathLst>
          </a:custGeom>
          <a:solidFill>
            <a:srgbClr val="6D64CC"/>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3" name="Oval 20">
            <a:extLst>
              <a:ext uri="{FF2B5EF4-FFF2-40B4-BE49-F238E27FC236}">
                <a16:creationId xmlns:a16="http://schemas.microsoft.com/office/drawing/2014/main" id="{EE9B31FA-25FA-4CC1-863F-BB3D69944DF9}"/>
              </a:ext>
            </a:extLst>
          </p:cNvPr>
          <p:cNvSpPr/>
          <p:nvPr/>
        </p:nvSpPr>
        <p:spPr>
          <a:xfrm>
            <a:off x="623392" y="738251"/>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42" name="Oval 20">
            <a:extLst>
              <a:ext uri="{FF2B5EF4-FFF2-40B4-BE49-F238E27FC236}">
                <a16:creationId xmlns:a16="http://schemas.microsoft.com/office/drawing/2014/main" id="{9C48F09E-5C3B-4BEA-BD8F-85A5DCB0325B}"/>
              </a:ext>
            </a:extLst>
          </p:cNvPr>
          <p:cNvSpPr/>
          <p:nvPr/>
        </p:nvSpPr>
        <p:spPr>
          <a:xfrm>
            <a:off x="2071114" y="2276872"/>
            <a:ext cx="1356623" cy="128178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CC29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13" name="Group 590">
            <a:extLst>
              <a:ext uri="{FF2B5EF4-FFF2-40B4-BE49-F238E27FC236}">
                <a16:creationId xmlns:a16="http://schemas.microsoft.com/office/drawing/2014/main" id="{4D11E884-8CB8-460D-B2D0-54259B9EA683}"/>
              </a:ext>
            </a:extLst>
          </p:cNvPr>
          <p:cNvGrpSpPr/>
          <p:nvPr/>
        </p:nvGrpSpPr>
        <p:grpSpPr>
          <a:xfrm>
            <a:off x="1084843" y="1208682"/>
            <a:ext cx="1162821" cy="1075064"/>
            <a:chOff x="5373688" y="4819653"/>
            <a:chExt cx="420687" cy="388938"/>
          </a:xfrm>
        </p:grpSpPr>
        <p:sp>
          <p:nvSpPr>
            <p:cNvPr id="15" name="Freeform 172">
              <a:extLst>
                <a:ext uri="{FF2B5EF4-FFF2-40B4-BE49-F238E27FC236}">
                  <a16:creationId xmlns:a16="http://schemas.microsoft.com/office/drawing/2014/main" id="{D163AE9E-542E-499F-ADBB-6AD013781F10}"/>
                </a:ext>
              </a:extLst>
            </p:cNvPr>
            <p:cNvSpPr>
              <a:spLocks/>
            </p:cNvSpPr>
            <p:nvPr/>
          </p:nvSpPr>
          <p:spPr bwMode="auto">
            <a:xfrm>
              <a:off x="5373688" y="4819653"/>
              <a:ext cx="404812" cy="388938"/>
            </a:xfrm>
            <a:custGeom>
              <a:avLst/>
              <a:gdLst>
                <a:gd name="T0" fmla="*/ 207 w 211"/>
                <a:gd name="T1" fmla="*/ 78 h 201"/>
                <a:gd name="T2" fmla="*/ 211 w 211"/>
                <a:gd name="T3" fmla="*/ 108 h 201"/>
                <a:gd name="T4" fmla="*/ 179 w 211"/>
                <a:gd name="T5" fmla="*/ 184 h 201"/>
                <a:gd name="T6" fmla="*/ 109 w 211"/>
                <a:gd name="T7" fmla="*/ 184 h 201"/>
                <a:gd name="T8" fmla="*/ 35 w 211"/>
                <a:gd name="T9" fmla="*/ 184 h 201"/>
                <a:gd name="T10" fmla="*/ 0 w 211"/>
                <a:gd name="T11" fmla="*/ 106 h 201"/>
                <a:gd name="T12" fmla="*/ 106 w 211"/>
                <a:gd name="T13" fmla="*/ 0 h 201"/>
                <a:gd name="T14" fmla="*/ 177 w 211"/>
                <a:gd name="T15" fmla="*/ 29 h 201"/>
                <a:gd name="T16" fmla="*/ 177 w 211"/>
                <a:gd name="T17" fmla="*/ 58 h 201"/>
                <a:gd name="T18" fmla="*/ 155 w 211"/>
                <a:gd name="T19" fmla="*/ 58 h 201"/>
                <a:gd name="T20" fmla="*/ 188 w 211"/>
                <a:gd name="T21" fmla="*/ 92 h 201"/>
                <a:gd name="T22" fmla="*/ 207 w 211"/>
                <a:gd name="T23" fmla="*/ 7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1" h="201">
                  <a:moveTo>
                    <a:pt x="207" y="78"/>
                  </a:moveTo>
                  <a:cubicBezTo>
                    <a:pt x="210" y="88"/>
                    <a:pt x="211" y="98"/>
                    <a:pt x="211" y="108"/>
                  </a:cubicBezTo>
                  <a:cubicBezTo>
                    <a:pt x="211" y="138"/>
                    <a:pt x="199" y="165"/>
                    <a:pt x="179" y="184"/>
                  </a:cubicBezTo>
                  <a:cubicBezTo>
                    <a:pt x="179" y="184"/>
                    <a:pt x="162" y="167"/>
                    <a:pt x="109" y="184"/>
                  </a:cubicBezTo>
                  <a:cubicBezTo>
                    <a:pt x="55" y="201"/>
                    <a:pt x="35" y="184"/>
                    <a:pt x="35" y="184"/>
                  </a:cubicBezTo>
                  <a:cubicBezTo>
                    <a:pt x="13" y="165"/>
                    <a:pt x="0" y="137"/>
                    <a:pt x="0" y="106"/>
                  </a:cubicBezTo>
                  <a:cubicBezTo>
                    <a:pt x="0" y="48"/>
                    <a:pt x="47" y="0"/>
                    <a:pt x="106" y="0"/>
                  </a:cubicBezTo>
                  <a:cubicBezTo>
                    <a:pt x="133" y="0"/>
                    <a:pt x="158" y="11"/>
                    <a:pt x="177" y="29"/>
                  </a:cubicBezTo>
                  <a:cubicBezTo>
                    <a:pt x="177" y="58"/>
                    <a:pt x="177" y="58"/>
                    <a:pt x="177" y="58"/>
                  </a:cubicBezTo>
                  <a:cubicBezTo>
                    <a:pt x="155" y="58"/>
                    <a:pt x="155" y="58"/>
                    <a:pt x="155" y="58"/>
                  </a:cubicBezTo>
                  <a:cubicBezTo>
                    <a:pt x="188" y="92"/>
                    <a:pt x="188" y="92"/>
                    <a:pt x="188" y="92"/>
                  </a:cubicBezTo>
                  <a:lnTo>
                    <a:pt x="207" y="78"/>
                  </a:lnTo>
                  <a:close/>
                </a:path>
              </a:pathLst>
            </a:custGeom>
            <a:solidFill>
              <a:srgbClr val="00C37B"/>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6" name="Freeform 173">
              <a:extLst>
                <a:ext uri="{FF2B5EF4-FFF2-40B4-BE49-F238E27FC236}">
                  <a16:creationId xmlns:a16="http://schemas.microsoft.com/office/drawing/2014/main" id="{9B3A12E6-68B1-43FB-950C-8366B8B26D56}"/>
                </a:ext>
              </a:extLst>
            </p:cNvPr>
            <p:cNvSpPr>
              <a:spLocks/>
            </p:cNvSpPr>
            <p:nvPr/>
          </p:nvSpPr>
          <p:spPr bwMode="auto">
            <a:xfrm>
              <a:off x="5486400" y="4873628"/>
              <a:ext cx="150812" cy="263525"/>
            </a:xfrm>
            <a:custGeom>
              <a:avLst/>
              <a:gdLst>
                <a:gd name="T0" fmla="*/ 33 w 78"/>
                <a:gd name="T1" fmla="*/ 79 h 136"/>
                <a:gd name="T2" fmla="*/ 47 w 78"/>
                <a:gd name="T3" fmla="*/ 89 h 136"/>
                <a:gd name="T4" fmla="*/ 35 w 78"/>
                <a:gd name="T5" fmla="*/ 96 h 136"/>
                <a:gd name="T6" fmla="*/ 11 w 78"/>
                <a:gd name="T7" fmla="*/ 91 h 136"/>
                <a:gd name="T8" fmla="*/ 10 w 78"/>
                <a:gd name="T9" fmla="*/ 91 h 136"/>
                <a:gd name="T10" fmla="*/ 6 w 78"/>
                <a:gd name="T11" fmla="*/ 93 h 136"/>
                <a:gd name="T12" fmla="*/ 2 w 78"/>
                <a:gd name="T13" fmla="*/ 109 h 136"/>
                <a:gd name="T14" fmla="*/ 4 w 78"/>
                <a:gd name="T15" fmla="*/ 115 h 136"/>
                <a:gd name="T16" fmla="*/ 29 w 78"/>
                <a:gd name="T17" fmla="*/ 120 h 136"/>
                <a:gd name="T18" fmla="*/ 29 w 78"/>
                <a:gd name="T19" fmla="*/ 132 h 136"/>
                <a:gd name="T20" fmla="*/ 33 w 78"/>
                <a:gd name="T21" fmla="*/ 136 h 136"/>
                <a:gd name="T22" fmla="*/ 46 w 78"/>
                <a:gd name="T23" fmla="*/ 136 h 136"/>
                <a:gd name="T24" fmla="*/ 50 w 78"/>
                <a:gd name="T25" fmla="*/ 131 h 136"/>
                <a:gd name="T26" fmla="*/ 50 w 78"/>
                <a:gd name="T27" fmla="*/ 119 h 136"/>
                <a:gd name="T28" fmla="*/ 78 w 78"/>
                <a:gd name="T29" fmla="*/ 87 h 136"/>
                <a:gd name="T30" fmla="*/ 49 w 78"/>
                <a:gd name="T31" fmla="*/ 55 h 136"/>
                <a:gd name="T32" fmla="*/ 31 w 78"/>
                <a:gd name="T33" fmla="*/ 44 h 136"/>
                <a:gd name="T34" fmla="*/ 42 w 78"/>
                <a:gd name="T35" fmla="*/ 37 h 136"/>
                <a:gd name="T36" fmla="*/ 62 w 78"/>
                <a:gd name="T37" fmla="*/ 41 h 136"/>
                <a:gd name="T38" fmla="*/ 63 w 78"/>
                <a:gd name="T39" fmla="*/ 41 h 136"/>
                <a:gd name="T40" fmla="*/ 67 w 78"/>
                <a:gd name="T41" fmla="*/ 39 h 136"/>
                <a:gd name="T42" fmla="*/ 71 w 78"/>
                <a:gd name="T43" fmla="*/ 24 h 136"/>
                <a:gd name="T44" fmla="*/ 69 w 78"/>
                <a:gd name="T45" fmla="*/ 19 h 136"/>
                <a:gd name="T46" fmla="*/ 49 w 78"/>
                <a:gd name="T47" fmla="*/ 14 h 136"/>
                <a:gd name="T48" fmla="*/ 49 w 78"/>
                <a:gd name="T49" fmla="*/ 4 h 136"/>
                <a:gd name="T50" fmla="*/ 43 w 78"/>
                <a:gd name="T51" fmla="*/ 0 h 136"/>
                <a:gd name="T52" fmla="*/ 43 w 78"/>
                <a:gd name="T53" fmla="*/ 0 h 136"/>
                <a:gd name="T54" fmla="*/ 31 w 78"/>
                <a:gd name="T55" fmla="*/ 0 h 136"/>
                <a:gd name="T56" fmla="*/ 27 w 78"/>
                <a:gd name="T57" fmla="*/ 4 h 136"/>
                <a:gd name="T58" fmla="*/ 27 w 78"/>
                <a:gd name="T59" fmla="*/ 16 h 136"/>
                <a:gd name="T60" fmla="*/ 0 w 78"/>
                <a:gd name="T61" fmla="*/ 47 h 136"/>
                <a:gd name="T62" fmla="*/ 33 w 78"/>
                <a:gd name="T63" fmla="*/ 79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8" h="136">
                  <a:moveTo>
                    <a:pt x="33" y="79"/>
                  </a:moveTo>
                  <a:cubicBezTo>
                    <a:pt x="45" y="83"/>
                    <a:pt x="47" y="85"/>
                    <a:pt x="47" y="89"/>
                  </a:cubicBezTo>
                  <a:cubicBezTo>
                    <a:pt x="47" y="95"/>
                    <a:pt x="41" y="96"/>
                    <a:pt x="35" y="96"/>
                  </a:cubicBezTo>
                  <a:cubicBezTo>
                    <a:pt x="25" y="97"/>
                    <a:pt x="17" y="93"/>
                    <a:pt x="11" y="91"/>
                  </a:cubicBezTo>
                  <a:cubicBezTo>
                    <a:pt x="10" y="91"/>
                    <a:pt x="10" y="91"/>
                    <a:pt x="10" y="91"/>
                  </a:cubicBezTo>
                  <a:cubicBezTo>
                    <a:pt x="7" y="91"/>
                    <a:pt x="6" y="92"/>
                    <a:pt x="6" y="93"/>
                  </a:cubicBezTo>
                  <a:cubicBezTo>
                    <a:pt x="2" y="109"/>
                    <a:pt x="2" y="109"/>
                    <a:pt x="2" y="109"/>
                  </a:cubicBezTo>
                  <a:cubicBezTo>
                    <a:pt x="2" y="112"/>
                    <a:pt x="2" y="113"/>
                    <a:pt x="4" y="115"/>
                  </a:cubicBezTo>
                  <a:cubicBezTo>
                    <a:pt x="11" y="119"/>
                    <a:pt x="21" y="120"/>
                    <a:pt x="29" y="120"/>
                  </a:cubicBezTo>
                  <a:cubicBezTo>
                    <a:pt x="29" y="132"/>
                    <a:pt x="29" y="132"/>
                    <a:pt x="29" y="132"/>
                  </a:cubicBezTo>
                  <a:cubicBezTo>
                    <a:pt x="29" y="135"/>
                    <a:pt x="31" y="136"/>
                    <a:pt x="33" y="136"/>
                  </a:cubicBezTo>
                  <a:cubicBezTo>
                    <a:pt x="46" y="136"/>
                    <a:pt x="46" y="136"/>
                    <a:pt x="46" y="136"/>
                  </a:cubicBezTo>
                  <a:cubicBezTo>
                    <a:pt x="49" y="136"/>
                    <a:pt x="50" y="133"/>
                    <a:pt x="50" y="131"/>
                  </a:cubicBezTo>
                  <a:cubicBezTo>
                    <a:pt x="50" y="119"/>
                    <a:pt x="50" y="119"/>
                    <a:pt x="50" y="119"/>
                  </a:cubicBezTo>
                  <a:cubicBezTo>
                    <a:pt x="67" y="115"/>
                    <a:pt x="78" y="103"/>
                    <a:pt x="78" y="87"/>
                  </a:cubicBezTo>
                  <a:cubicBezTo>
                    <a:pt x="77" y="71"/>
                    <a:pt x="69" y="61"/>
                    <a:pt x="49" y="55"/>
                  </a:cubicBezTo>
                  <a:cubicBezTo>
                    <a:pt x="35" y="49"/>
                    <a:pt x="31" y="47"/>
                    <a:pt x="31" y="44"/>
                  </a:cubicBezTo>
                  <a:cubicBezTo>
                    <a:pt x="31" y="39"/>
                    <a:pt x="38" y="37"/>
                    <a:pt x="42" y="37"/>
                  </a:cubicBezTo>
                  <a:cubicBezTo>
                    <a:pt x="51" y="37"/>
                    <a:pt x="58" y="40"/>
                    <a:pt x="62" y="41"/>
                  </a:cubicBezTo>
                  <a:cubicBezTo>
                    <a:pt x="63" y="41"/>
                    <a:pt x="63" y="41"/>
                    <a:pt x="63" y="41"/>
                  </a:cubicBezTo>
                  <a:cubicBezTo>
                    <a:pt x="66" y="41"/>
                    <a:pt x="67" y="40"/>
                    <a:pt x="67" y="39"/>
                  </a:cubicBezTo>
                  <a:cubicBezTo>
                    <a:pt x="71" y="24"/>
                    <a:pt x="71" y="24"/>
                    <a:pt x="71" y="24"/>
                  </a:cubicBezTo>
                  <a:cubicBezTo>
                    <a:pt x="71" y="22"/>
                    <a:pt x="71" y="19"/>
                    <a:pt x="69" y="19"/>
                  </a:cubicBezTo>
                  <a:cubicBezTo>
                    <a:pt x="62" y="16"/>
                    <a:pt x="55" y="15"/>
                    <a:pt x="49" y="14"/>
                  </a:cubicBezTo>
                  <a:cubicBezTo>
                    <a:pt x="49" y="4"/>
                    <a:pt x="49" y="4"/>
                    <a:pt x="49" y="4"/>
                  </a:cubicBezTo>
                  <a:cubicBezTo>
                    <a:pt x="49" y="2"/>
                    <a:pt x="46" y="0"/>
                    <a:pt x="43" y="0"/>
                  </a:cubicBezTo>
                  <a:cubicBezTo>
                    <a:pt x="43" y="0"/>
                    <a:pt x="43" y="0"/>
                    <a:pt x="43" y="0"/>
                  </a:cubicBezTo>
                  <a:cubicBezTo>
                    <a:pt x="31" y="0"/>
                    <a:pt x="31" y="0"/>
                    <a:pt x="31" y="0"/>
                  </a:cubicBezTo>
                  <a:cubicBezTo>
                    <a:pt x="29" y="0"/>
                    <a:pt x="27" y="3"/>
                    <a:pt x="27" y="4"/>
                  </a:cubicBezTo>
                  <a:cubicBezTo>
                    <a:pt x="27" y="16"/>
                    <a:pt x="27" y="16"/>
                    <a:pt x="27" y="16"/>
                  </a:cubicBezTo>
                  <a:cubicBezTo>
                    <a:pt x="10" y="20"/>
                    <a:pt x="0" y="32"/>
                    <a:pt x="0" y="47"/>
                  </a:cubicBezTo>
                  <a:cubicBezTo>
                    <a:pt x="2" y="67"/>
                    <a:pt x="18" y="73"/>
                    <a:pt x="33" y="79"/>
                  </a:cubicBezTo>
                  <a:close/>
                </a:path>
              </a:pathLst>
            </a:custGeom>
            <a:solidFill>
              <a:srgbClr val="175A6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 name="Freeform 174">
              <a:extLst>
                <a:ext uri="{FF2B5EF4-FFF2-40B4-BE49-F238E27FC236}">
                  <a16:creationId xmlns:a16="http://schemas.microsoft.com/office/drawing/2014/main" id="{9EE52F89-96DE-40D0-88E3-9332EC1F657C}"/>
                </a:ext>
              </a:extLst>
            </p:cNvPr>
            <p:cNvSpPr>
              <a:spLocks/>
            </p:cNvSpPr>
            <p:nvPr/>
          </p:nvSpPr>
          <p:spPr bwMode="auto">
            <a:xfrm>
              <a:off x="5694363" y="4941890"/>
              <a:ext cx="100012" cy="44450"/>
            </a:xfrm>
            <a:custGeom>
              <a:avLst/>
              <a:gdLst>
                <a:gd name="T0" fmla="*/ 0 w 63"/>
                <a:gd name="T1" fmla="*/ 0 h 28"/>
                <a:gd name="T2" fmla="*/ 27 w 63"/>
                <a:gd name="T3" fmla="*/ 28 h 28"/>
                <a:gd name="T4" fmla="*/ 63 w 63"/>
                <a:gd name="T5" fmla="*/ 0 h 28"/>
                <a:gd name="T6" fmla="*/ 0 w 63"/>
                <a:gd name="T7" fmla="*/ 0 h 28"/>
              </a:gdLst>
              <a:ahLst/>
              <a:cxnLst>
                <a:cxn ang="0">
                  <a:pos x="T0" y="T1"/>
                </a:cxn>
                <a:cxn ang="0">
                  <a:pos x="T2" y="T3"/>
                </a:cxn>
                <a:cxn ang="0">
                  <a:pos x="T4" y="T5"/>
                </a:cxn>
                <a:cxn ang="0">
                  <a:pos x="T6" y="T7"/>
                </a:cxn>
              </a:cxnLst>
              <a:rect l="0" t="0" r="r" b="b"/>
              <a:pathLst>
                <a:path w="63" h="28">
                  <a:moveTo>
                    <a:pt x="0" y="0"/>
                  </a:moveTo>
                  <a:lnTo>
                    <a:pt x="27" y="28"/>
                  </a:lnTo>
                  <a:lnTo>
                    <a:pt x="63" y="0"/>
                  </a:lnTo>
                  <a:lnTo>
                    <a:pt x="0" y="0"/>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 name="Rectangle 175">
              <a:extLst>
                <a:ext uri="{FF2B5EF4-FFF2-40B4-BE49-F238E27FC236}">
                  <a16:creationId xmlns:a16="http://schemas.microsoft.com/office/drawing/2014/main" id="{4D056E77-29F4-4664-831B-30B5EBBA1CFD}"/>
                </a:ext>
              </a:extLst>
            </p:cNvPr>
            <p:cNvSpPr>
              <a:spLocks noChangeArrowheads="1"/>
            </p:cNvSpPr>
            <p:nvPr/>
          </p:nvSpPr>
          <p:spPr bwMode="auto">
            <a:xfrm>
              <a:off x="5722938" y="4870453"/>
              <a:ext cx="36512" cy="88900"/>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4148777914"/>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ytuł 1">
            <a:extLst>
              <a:ext uri="{FF2B5EF4-FFF2-40B4-BE49-F238E27FC236}">
                <a16:creationId xmlns:a16="http://schemas.microsoft.com/office/drawing/2014/main" id="{DEA935F7-2904-40FF-A73D-3CCC59AF658E}"/>
              </a:ext>
            </a:extLst>
          </p:cNvPr>
          <p:cNvSpPr>
            <a:spLocks noGrp="1"/>
          </p:cNvSpPr>
          <p:nvPr>
            <p:ph type="title"/>
          </p:nvPr>
        </p:nvSpPr>
        <p:spPr/>
        <p:txBody>
          <a:bodyPr/>
          <a:lstStyle/>
          <a:p>
            <a:r>
              <a:rPr lang="en-US" sz="3200" dirty="0"/>
              <a:t>Leading underscores in numeric literals</a:t>
            </a:r>
          </a:p>
        </p:txBody>
      </p:sp>
      <p:sp>
        <p:nvSpPr>
          <p:cNvPr id="4" name="Symbol zastępczy tekstu 3">
            <a:extLst>
              <a:ext uri="{FF2B5EF4-FFF2-40B4-BE49-F238E27FC236}">
                <a16:creationId xmlns:a16="http://schemas.microsoft.com/office/drawing/2014/main" id="{5AE649E8-E6A2-4473-82C4-13CDFACEAAA5}"/>
              </a:ext>
            </a:extLst>
          </p:cNvPr>
          <p:cNvSpPr>
            <a:spLocks noGrp="1"/>
          </p:cNvSpPr>
          <p:nvPr>
            <p:ph type="body" sz="quarter" idx="10"/>
          </p:nvPr>
        </p:nvSpPr>
        <p:spPr/>
        <p:txBody>
          <a:bodyPr/>
          <a:lstStyle/>
          <a:p>
            <a:endParaRPr lang="en-US" dirty="0"/>
          </a:p>
        </p:txBody>
      </p:sp>
      <p:sp>
        <p:nvSpPr>
          <p:cNvPr id="5" name="Symbol zastępczy tekstu 4">
            <a:extLst>
              <a:ext uri="{FF2B5EF4-FFF2-40B4-BE49-F238E27FC236}">
                <a16:creationId xmlns:a16="http://schemas.microsoft.com/office/drawing/2014/main" id="{026454BF-D147-4265-B180-0D1A4FC7A23F}"/>
              </a:ext>
            </a:extLst>
          </p:cNvPr>
          <p:cNvSpPr>
            <a:spLocks noGrp="1"/>
          </p:cNvSpPr>
          <p:nvPr>
            <p:ph type="body" sz="quarter" idx="11"/>
          </p:nvPr>
        </p:nvSpPr>
        <p:spPr/>
        <p:txBody>
          <a:bodyPr/>
          <a:lstStyle/>
          <a:p>
            <a:r>
              <a:rPr lang="en-US" dirty="0"/>
              <a:t>C# 7.1</a:t>
            </a:r>
          </a:p>
        </p:txBody>
      </p:sp>
      <p:sp>
        <p:nvSpPr>
          <p:cNvPr id="3" name="Symbol zastępczy tekstu 2">
            <a:extLst>
              <a:ext uri="{FF2B5EF4-FFF2-40B4-BE49-F238E27FC236}">
                <a16:creationId xmlns:a16="http://schemas.microsoft.com/office/drawing/2014/main" id="{D0A37E72-B711-494C-A35F-F9DF4987AC76}"/>
              </a:ext>
            </a:extLst>
          </p:cNvPr>
          <p:cNvSpPr>
            <a:spLocks noGrp="1"/>
          </p:cNvSpPr>
          <p:nvPr>
            <p:ph type="body" sz="quarter" idx="12"/>
          </p:nvPr>
        </p:nvSpPr>
        <p:spPr/>
        <p:txBody>
          <a:bodyPr/>
          <a:lstStyle/>
          <a:p>
            <a:r>
              <a:rPr lang="en-US" dirty="0"/>
              <a:t>1</a:t>
            </a:r>
          </a:p>
        </p:txBody>
      </p:sp>
    </p:spTree>
    <p:extLst>
      <p:ext uri="{BB962C8B-B14F-4D97-AF65-F5344CB8AC3E}">
        <p14:creationId xmlns:p14="http://schemas.microsoft.com/office/powerpoint/2010/main" val="4194807903"/>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ytuł 1">
            <a:extLst>
              <a:ext uri="{FF2B5EF4-FFF2-40B4-BE49-F238E27FC236}">
                <a16:creationId xmlns:a16="http://schemas.microsoft.com/office/drawing/2014/main" id="{DEA935F7-2904-40FF-A73D-3CCC59AF658E}"/>
              </a:ext>
            </a:extLst>
          </p:cNvPr>
          <p:cNvSpPr>
            <a:spLocks noGrp="1"/>
          </p:cNvSpPr>
          <p:nvPr>
            <p:ph type="title"/>
          </p:nvPr>
        </p:nvSpPr>
        <p:spPr/>
        <p:txBody>
          <a:bodyPr/>
          <a:lstStyle/>
          <a:p>
            <a:r>
              <a:rPr lang="en-US" sz="3200" dirty="0"/>
              <a:t>Leading underscores in numeric literals</a:t>
            </a:r>
          </a:p>
        </p:txBody>
      </p:sp>
      <p:sp>
        <p:nvSpPr>
          <p:cNvPr id="4" name="Symbol zastępczy tekstu 3">
            <a:extLst>
              <a:ext uri="{FF2B5EF4-FFF2-40B4-BE49-F238E27FC236}">
                <a16:creationId xmlns:a16="http://schemas.microsoft.com/office/drawing/2014/main" id="{5AE649E8-E6A2-4473-82C4-13CDFACEAAA5}"/>
              </a:ext>
            </a:extLst>
          </p:cNvPr>
          <p:cNvSpPr>
            <a:spLocks noGrp="1"/>
          </p:cNvSpPr>
          <p:nvPr>
            <p:ph type="body" sz="quarter" idx="10"/>
          </p:nvPr>
        </p:nvSpPr>
        <p:spPr/>
        <p:txBody>
          <a:bodyPr/>
          <a:lstStyle/>
          <a:p>
            <a:endParaRPr lang="en-US" dirty="0"/>
          </a:p>
        </p:txBody>
      </p:sp>
      <p:sp>
        <p:nvSpPr>
          <p:cNvPr id="5" name="Symbol zastępczy tekstu 4">
            <a:extLst>
              <a:ext uri="{FF2B5EF4-FFF2-40B4-BE49-F238E27FC236}">
                <a16:creationId xmlns:a16="http://schemas.microsoft.com/office/drawing/2014/main" id="{026454BF-D147-4265-B180-0D1A4FC7A23F}"/>
              </a:ext>
            </a:extLst>
          </p:cNvPr>
          <p:cNvSpPr>
            <a:spLocks noGrp="1"/>
          </p:cNvSpPr>
          <p:nvPr>
            <p:ph type="body" sz="quarter" idx="11"/>
          </p:nvPr>
        </p:nvSpPr>
        <p:spPr/>
        <p:txBody>
          <a:bodyPr/>
          <a:lstStyle/>
          <a:p>
            <a:r>
              <a:rPr lang="en-US" dirty="0"/>
              <a:t>C# 7.2</a:t>
            </a:r>
          </a:p>
        </p:txBody>
      </p:sp>
      <p:sp>
        <p:nvSpPr>
          <p:cNvPr id="3" name="Symbol zastępczy tekstu 2">
            <a:extLst>
              <a:ext uri="{FF2B5EF4-FFF2-40B4-BE49-F238E27FC236}">
                <a16:creationId xmlns:a16="http://schemas.microsoft.com/office/drawing/2014/main" id="{724E4C15-2676-4F98-B111-3C989F7AE239}"/>
              </a:ext>
            </a:extLst>
          </p:cNvPr>
          <p:cNvSpPr>
            <a:spLocks noGrp="1"/>
          </p:cNvSpPr>
          <p:nvPr>
            <p:ph type="body" sz="quarter" idx="12"/>
          </p:nvPr>
        </p:nvSpPr>
        <p:spPr/>
        <p:txBody>
          <a:bodyPr/>
          <a:lstStyle/>
          <a:p>
            <a:r>
              <a:rPr lang="en-US" dirty="0"/>
              <a:t>2</a:t>
            </a:r>
          </a:p>
        </p:txBody>
      </p:sp>
    </p:spTree>
    <p:extLst>
      <p:ext uri="{BB962C8B-B14F-4D97-AF65-F5344CB8AC3E}">
        <p14:creationId xmlns:p14="http://schemas.microsoft.com/office/powerpoint/2010/main" val="3940537451"/>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pl-PL" dirty="0"/>
              <a:t>Agenda</a:t>
            </a:r>
            <a:endParaRPr lang="en-GB" dirty="0"/>
          </a:p>
        </p:txBody>
      </p:sp>
      <p:sp>
        <p:nvSpPr>
          <p:cNvPr id="5" name="Text Placeholder 4"/>
          <p:cNvSpPr>
            <a:spLocks noGrp="1"/>
          </p:cNvSpPr>
          <p:nvPr>
            <p:ph type="body" sz="quarter" idx="10"/>
          </p:nvPr>
        </p:nvSpPr>
        <p:spPr/>
        <p:txBody>
          <a:bodyPr/>
          <a:lstStyle/>
          <a:p>
            <a:pPr lvl="1"/>
            <a:r>
              <a:rPr lang="en-US" dirty="0">
                <a:solidFill>
                  <a:schemeClr val="bg1">
                    <a:lumMod val="95000"/>
                  </a:schemeClr>
                </a:solidFill>
              </a:rPr>
              <a:t>Introduction</a:t>
            </a:r>
          </a:p>
          <a:p>
            <a:pPr lvl="2"/>
            <a:r>
              <a:rPr lang="en-US" dirty="0">
                <a:solidFill>
                  <a:schemeClr val="bg1">
                    <a:lumMod val="95000"/>
                  </a:schemeClr>
                </a:solidFill>
              </a:rPr>
              <a:t>The recent C# versions timeline,</a:t>
            </a:r>
          </a:p>
          <a:p>
            <a:pPr lvl="2"/>
            <a:r>
              <a:rPr lang="en-US" dirty="0">
                <a:solidFill>
                  <a:schemeClr val="bg1">
                    <a:lumMod val="95000"/>
                  </a:schemeClr>
                </a:solidFill>
              </a:rPr>
              <a:t>C# 8.0 pre-requirements,</a:t>
            </a:r>
          </a:p>
          <a:p>
            <a:pPr lvl="2"/>
            <a:r>
              <a:rPr lang="en-US" dirty="0">
                <a:solidFill>
                  <a:schemeClr val="bg1">
                    <a:lumMod val="95000"/>
                  </a:schemeClr>
                </a:solidFill>
              </a:rPr>
              <a:t>dive into an example.</a:t>
            </a:r>
          </a:p>
          <a:p>
            <a:pPr lvl="1"/>
            <a:r>
              <a:rPr lang="en-US" dirty="0">
                <a:solidFill>
                  <a:schemeClr val="bg1">
                    <a:lumMod val="95000"/>
                  </a:schemeClr>
                </a:solidFill>
              </a:rPr>
              <a:t>What’s new in C# 7.1</a:t>
            </a:r>
          </a:p>
          <a:p>
            <a:pPr lvl="2"/>
            <a:r>
              <a:rPr lang="en-US" dirty="0">
                <a:solidFill>
                  <a:schemeClr val="bg1">
                    <a:lumMod val="95000"/>
                  </a:schemeClr>
                </a:solidFill>
              </a:rPr>
              <a:t>Async Main method,</a:t>
            </a:r>
          </a:p>
          <a:p>
            <a:pPr lvl="2"/>
            <a:r>
              <a:rPr lang="en-US" dirty="0">
                <a:solidFill>
                  <a:schemeClr val="bg1">
                    <a:lumMod val="95000"/>
                  </a:schemeClr>
                </a:solidFill>
              </a:rPr>
              <a:t>default literal expressions,</a:t>
            </a:r>
          </a:p>
          <a:p>
            <a:pPr lvl="2"/>
            <a:r>
              <a:rPr lang="en-US" dirty="0">
                <a:solidFill>
                  <a:schemeClr val="bg1">
                    <a:lumMod val="95000"/>
                  </a:schemeClr>
                </a:solidFill>
              </a:rPr>
              <a:t>inferred tuple element names.</a:t>
            </a:r>
          </a:p>
          <a:p>
            <a:pPr lvl="1"/>
            <a:r>
              <a:rPr lang="en-US" dirty="0">
                <a:solidFill>
                  <a:schemeClr val="bg1">
                    <a:lumMod val="95000"/>
                  </a:schemeClr>
                </a:solidFill>
              </a:rPr>
              <a:t>What’s new in C# 7.2</a:t>
            </a:r>
          </a:p>
          <a:p>
            <a:pPr lvl="2"/>
            <a:r>
              <a:rPr lang="en-US" dirty="0">
                <a:solidFill>
                  <a:schemeClr val="bg1">
                    <a:lumMod val="95000"/>
                  </a:schemeClr>
                </a:solidFill>
              </a:rPr>
              <a:t>Safe efficient code enhancements,</a:t>
            </a:r>
          </a:p>
          <a:p>
            <a:pPr lvl="2"/>
            <a:r>
              <a:rPr lang="en-US" dirty="0">
                <a:solidFill>
                  <a:schemeClr val="bg1">
                    <a:lumMod val="95000"/>
                  </a:schemeClr>
                </a:solidFill>
              </a:rPr>
              <a:t>non-trailing named arguments,</a:t>
            </a:r>
          </a:p>
          <a:p>
            <a:pPr lvl="2"/>
            <a:r>
              <a:rPr lang="en-US" dirty="0">
                <a:solidFill>
                  <a:schemeClr val="bg1">
                    <a:lumMod val="95000"/>
                  </a:schemeClr>
                </a:solidFill>
              </a:rPr>
              <a:t>leading underscores in numeric literals,</a:t>
            </a:r>
          </a:p>
          <a:p>
            <a:pPr lvl="2"/>
            <a:r>
              <a:rPr lang="en-US" dirty="0">
                <a:solidFill>
                  <a:schemeClr val="bg1">
                    <a:lumMod val="95000"/>
                  </a:schemeClr>
                </a:solidFill>
              </a:rPr>
              <a:t>private protected access modifier,</a:t>
            </a:r>
          </a:p>
          <a:p>
            <a:pPr lvl="2"/>
            <a:r>
              <a:rPr lang="en-US" dirty="0">
                <a:solidFill>
                  <a:schemeClr val="bg1">
                    <a:lumMod val="95000"/>
                  </a:schemeClr>
                </a:solidFill>
              </a:rPr>
              <a:t>conditional ref expressions.</a:t>
            </a:r>
          </a:p>
        </p:txBody>
      </p:sp>
      <p:sp>
        <p:nvSpPr>
          <p:cNvPr id="6" name="Text Placeholder 5"/>
          <p:cNvSpPr>
            <a:spLocks noGrp="1"/>
          </p:cNvSpPr>
          <p:nvPr>
            <p:ph type="body" sz="quarter" idx="11"/>
          </p:nvPr>
        </p:nvSpPr>
        <p:spPr/>
        <p:txBody>
          <a:bodyPr/>
          <a:lstStyle/>
          <a:p>
            <a:r>
              <a:rPr lang="en-US" dirty="0"/>
              <a:t>We are going to talk about…</a:t>
            </a:r>
          </a:p>
        </p:txBody>
      </p:sp>
      <p:sp>
        <p:nvSpPr>
          <p:cNvPr id="8" name="Text Placeholder 4">
            <a:extLst>
              <a:ext uri="{FF2B5EF4-FFF2-40B4-BE49-F238E27FC236}">
                <a16:creationId xmlns:a16="http://schemas.microsoft.com/office/drawing/2014/main" id="{52580643-4575-408B-8BE0-E817BC2D360B}"/>
              </a:ext>
            </a:extLst>
          </p:cNvPr>
          <p:cNvSpPr txBox="1">
            <a:spLocks/>
          </p:cNvSpPr>
          <p:nvPr/>
        </p:nvSpPr>
        <p:spPr>
          <a:xfrm>
            <a:off x="227348" y="1815350"/>
            <a:ext cx="11700000" cy="4466201"/>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buClr>
                <a:srgbClr val="860864"/>
              </a:buClr>
            </a:pPr>
            <a:r>
              <a:rPr lang="en-US" dirty="0"/>
              <a:t>Introduction</a:t>
            </a:r>
          </a:p>
          <a:p>
            <a:pPr lvl="2">
              <a:buClr>
                <a:srgbClr val="CC2980"/>
              </a:buClr>
            </a:pPr>
            <a:r>
              <a:rPr lang="en-US" dirty="0"/>
              <a:t>The recent C# versions timeline,</a:t>
            </a:r>
          </a:p>
          <a:p>
            <a:pPr lvl="2">
              <a:buClr>
                <a:srgbClr val="CC2980"/>
              </a:buClr>
            </a:pPr>
            <a:r>
              <a:rPr lang="en-US" dirty="0"/>
              <a:t>C# 8.0 pre-requirements,</a:t>
            </a:r>
          </a:p>
          <a:p>
            <a:pPr lvl="2">
              <a:buClr>
                <a:srgbClr val="CC2980"/>
              </a:buClr>
            </a:pPr>
            <a:r>
              <a:rPr lang="en-US" dirty="0"/>
              <a:t>dive into an example.</a:t>
            </a:r>
          </a:p>
          <a:p>
            <a:pPr lvl="1">
              <a:buClr>
                <a:srgbClr val="860864"/>
              </a:buClr>
            </a:pPr>
            <a:r>
              <a:rPr lang="en-US" dirty="0"/>
              <a:t>What’s new in C# 7.1</a:t>
            </a:r>
          </a:p>
          <a:p>
            <a:pPr lvl="2">
              <a:buClr>
                <a:srgbClr val="CC2980"/>
              </a:buClr>
            </a:pPr>
            <a:r>
              <a:rPr lang="en-US" dirty="0"/>
              <a:t>Async Main method,</a:t>
            </a:r>
          </a:p>
          <a:p>
            <a:pPr lvl="2">
              <a:buClr>
                <a:srgbClr val="CC2980"/>
              </a:buClr>
            </a:pPr>
            <a:r>
              <a:rPr lang="en-US" dirty="0"/>
              <a:t>default literal expressions,</a:t>
            </a:r>
          </a:p>
          <a:p>
            <a:pPr lvl="2">
              <a:buClr>
                <a:srgbClr val="CC2980"/>
              </a:buClr>
            </a:pPr>
            <a:r>
              <a:rPr lang="en-US" dirty="0"/>
              <a:t>inferred tuple element names.</a:t>
            </a:r>
          </a:p>
          <a:p>
            <a:pPr lvl="1">
              <a:buClr>
                <a:srgbClr val="860864"/>
              </a:buClr>
            </a:pPr>
            <a:r>
              <a:rPr lang="en-US" dirty="0"/>
              <a:t>What’s new in C# 7.2</a:t>
            </a:r>
          </a:p>
          <a:p>
            <a:pPr lvl="2">
              <a:buClr>
                <a:srgbClr val="CC2980"/>
              </a:buClr>
            </a:pPr>
            <a:r>
              <a:rPr lang="en-US" dirty="0"/>
              <a:t>Safe efficient code enhancements,</a:t>
            </a:r>
          </a:p>
          <a:p>
            <a:pPr lvl="2">
              <a:buClr>
                <a:srgbClr val="CC2980"/>
              </a:buClr>
            </a:pPr>
            <a:r>
              <a:rPr lang="en-US" dirty="0"/>
              <a:t>non-trailing named arguments,</a:t>
            </a:r>
          </a:p>
          <a:p>
            <a:pPr lvl="2">
              <a:buClr>
                <a:srgbClr val="CC2980"/>
              </a:buClr>
            </a:pPr>
            <a:r>
              <a:rPr lang="en-US" dirty="0"/>
              <a:t>leading underscores in numeric literals,</a:t>
            </a:r>
          </a:p>
          <a:p>
            <a:pPr lvl="2">
              <a:buClr>
                <a:srgbClr val="CC2980"/>
              </a:buClr>
            </a:pPr>
            <a:r>
              <a:rPr lang="en-US" dirty="0"/>
              <a:t>private protected access modifier,</a:t>
            </a:r>
          </a:p>
        </p:txBody>
      </p:sp>
    </p:spTree>
    <p:extLst>
      <p:ext uri="{BB962C8B-B14F-4D97-AF65-F5344CB8AC3E}">
        <p14:creationId xmlns:p14="http://schemas.microsoft.com/office/powerpoint/2010/main" val="144772049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
                                            <p:txEl>
                                              <p:pRg st="12" end="12"/>
                                            </p:txEl>
                                          </p:spTgt>
                                        </p:tgtEl>
                                        <p:attrNameLst>
                                          <p:attrName>style.visibility</p:attrName>
                                        </p:attrNameLst>
                                      </p:cBhvr>
                                      <p:to>
                                        <p:strVal val="visible"/>
                                      </p:to>
                                    </p:set>
                                    <p:animEffect transition="in" filter="fade">
                                      <p:cBhvr>
                                        <p:cTn id="7" dur="500"/>
                                        <p:tgtEl>
                                          <p:spTgt spid="8">
                                            <p:txEl>
                                              <p:pRg st="12" end="1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ymbol zastępczy tekstu 5">
            <a:extLst>
              <a:ext uri="{FF2B5EF4-FFF2-40B4-BE49-F238E27FC236}">
                <a16:creationId xmlns:a16="http://schemas.microsoft.com/office/drawing/2014/main" id="{EC19D1F0-CA19-48E4-B6B7-FE7D3388EB92}"/>
              </a:ext>
            </a:extLst>
          </p:cNvPr>
          <p:cNvSpPr>
            <a:spLocks noGrp="1"/>
          </p:cNvSpPr>
          <p:nvPr>
            <p:ph type="body" sz="quarter" idx="11"/>
          </p:nvPr>
        </p:nvSpPr>
        <p:spPr>
          <a:xfrm>
            <a:off x="6744073" y="2662294"/>
            <a:ext cx="5256584" cy="3160282"/>
          </a:xfrm>
        </p:spPr>
        <p:txBody>
          <a:bodyPr/>
          <a:lstStyle/>
          <a:p>
            <a:r>
              <a:rPr lang="en-US" dirty="0"/>
              <a:t>What’s new in C# 7.2</a:t>
            </a:r>
          </a:p>
          <a:p>
            <a:r>
              <a:rPr lang="en-US" sz="2400" dirty="0"/>
              <a:t>Private protected access modifier</a:t>
            </a:r>
          </a:p>
        </p:txBody>
      </p:sp>
      <p:sp>
        <p:nvSpPr>
          <p:cNvPr id="28" name="Freeform 37">
            <a:extLst>
              <a:ext uri="{FF2B5EF4-FFF2-40B4-BE49-F238E27FC236}">
                <a16:creationId xmlns:a16="http://schemas.microsoft.com/office/drawing/2014/main" id="{C163FEF7-EB42-4298-AED9-19E8D9ACF2E4}"/>
              </a:ext>
            </a:extLst>
          </p:cNvPr>
          <p:cNvSpPr>
            <a:spLocks/>
          </p:cNvSpPr>
          <p:nvPr/>
        </p:nvSpPr>
        <p:spPr bwMode="auto">
          <a:xfrm>
            <a:off x="1291010" y="2646539"/>
            <a:ext cx="844550" cy="793750"/>
          </a:xfrm>
          <a:custGeom>
            <a:avLst/>
            <a:gdLst>
              <a:gd name="T0" fmla="*/ 51 w 440"/>
              <a:gd name="T1" fmla="*/ 298 h 410"/>
              <a:gd name="T2" fmla="*/ 128 w 440"/>
              <a:gd name="T3" fmla="*/ 48 h 410"/>
              <a:gd name="T4" fmla="*/ 389 w 440"/>
              <a:gd name="T5" fmla="*/ 122 h 410"/>
              <a:gd name="T6" fmla="*/ 307 w 440"/>
              <a:gd name="T7" fmla="*/ 362 h 410"/>
              <a:gd name="T8" fmla="*/ 51 w 440"/>
              <a:gd name="T9" fmla="*/ 298 h 410"/>
            </a:gdLst>
            <a:ahLst/>
            <a:cxnLst>
              <a:cxn ang="0">
                <a:pos x="T0" y="T1"/>
              </a:cxn>
              <a:cxn ang="0">
                <a:pos x="T2" y="T3"/>
              </a:cxn>
              <a:cxn ang="0">
                <a:pos x="T4" y="T5"/>
              </a:cxn>
              <a:cxn ang="0">
                <a:pos x="T6" y="T7"/>
              </a:cxn>
              <a:cxn ang="0">
                <a:pos x="T8" y="T9"/>
              </a:cxn>
            </a:cxnLst>
            <a:rect l="0" t="0" r="r" b="b"/>
            <a:pathLst>
              <a:path w="440" h="410">
                <a:moveTo>
                  <a:pt x="51" y="298"/>
                </a:moveTo>
                <a:cubicBezTo>
                  <a:pt x="0" y="209"/>
                  <a:pt x="34" y="97"/>
                  <a:pt x="128" y="48"/>
                </a:cubicBezTo>
                <a:cubicBezTo>
                  <a:pt x="221" y="0"/>
                  <a:pt x="338" y="33"/>
                  <a:pt x="389" y="122"/>
                </a:cubicBezTo>
                <a:cubicBezTo>
                  <a:pt x="440" y="212"/>
                  <a:pt x="400" y="313"/>
                  <a:pt x="307" y="362"/>
                </a:cubicBezTo>
                <a:cubicBezTo>
                  <a:pt x="214" y="410"/>
                  <a:pt x="102" y="388"/>
                  <a:pt x="51" y="298"/>
                </a:cubicBezTo>
              </a:path>
            </a:pathLst>
          </a:custGeom>
          <a:solidFill>
            <a:srgbClr val="6D64CC"/>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3" name="Oval 20">
            <a:extLst>
              <a:ext uri="{FF2B5EF4-FFF2-40B4-BE49-F238E27FC236}">
                <a16:creationId xmlns:a16="http://schemas.microsoft.com/office/drawing/2014/main" id="{EE9B31FA-25FA-4CC1-863F-BB3D69944DF9}"/>
              </a:ext>
            </a:extLst>
          </p:cNvPr>
          <p:cNvSpPr/>
          <p:nvPr/>
        </p:nvSpPr>
        <p:spPr>
          <a:xfrm>
            <a:off x="623392" y="738251"/>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42" name="Oval 20">
            <a:extLst>
              <a:ext uri="{FF2B5EF4-FFF2-40B4-BE49-F238E27FC236}">
                <a16:creationId xmlns:a16="http://schemas.microsoft.com/office/drawing/2014/main" id="{9C48F09E-5C3B-4BEA-BD8F-85A5DCB0325B}"/>
              </a:ext>
            </a:extLst>
          </p:cNvPr>
          <p:cNvSpPr/>
          <p:nvPr/>
        </p:nvSpPr>
        <p:spPr>
          <a:xfrm>
            <a:off x="2071114" y="2276872"/>
            <a:ext cx="1356623" cy="128178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CC29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13" name="Group 19">
            <a:extLst>
              <a:ext uri="{FF2B5EF4-FFF2-40B4-BE49-F238E27FC236}">
                <a16:creationId xmlns:a16="http://schemas.microsoft.com/office/drawing/2014/main" id="{10EE99BA-F82E-42F6-920B-8C7F8EA4525A}"/>
              </a:ext>
            </a:extLst>
          </p:cNvPr>
          <p:cNvGrpSpPr>
            <a:grpSpLocks noChangeAspect="1"/>
          </p:cNvGrpSpPr>
          <p:nvPr/>
        </p:nvGrpSpPr>
        <p:grpSpPr bwMode="auto">
          <a:xfrm>
            <a:off x="1095145" y="1258806"/>
            <a:ext cx="1085771" cy="984681"/>
            <a:chOff x="379" y="400"/>
            <a:chExt cx="870" cy="789"/>
          </a:xfrm>
        </p:grpSpPr>
        <p:sp>
          <p:nvSpPr>
            <p:cNvPr id="15" name="Freeform 21">
              <a:extLst>
                <a:ext uri="{FF2B5EF4-FFF2-40B4-BE49-F238E27FC236}">
                  <a16:creationId xmlns:a16="http://schemas.microsoft.com/office/drawing/2014/main" id="{87FB6105-3F7D-42C8-9917-093CC25E515C}"/>
                </a:ext>
              </a:extLst>
            </p:cNvPr>
            <p:cNvSpPr>
              <a:spLocks/>
            </p:cNvSpPr>
            <p:nvPr/>
          </p:nvSpPr>
          <p:spPr bwMode="auto">
            <a:xfrm>
              <a:off x="379" y="400"/>
              <a:ext cx="870" cy="789"/>
            </a:xfrm>
            <a:custGeom>
              <a:avLst/>
              <a:gdLst>
                <a:gd name="T0" fmla="*/ 45 w 325"/>
                <a:gd name="T1" fmla="*/ 61 h 294"/>
                <a:gd name="T2" fmla="*/ 183 w 325"/>
                <a:gd name="T3" fmla="*/ 3 h 294"/>
                <a:gd name="T4" fmla="*/ 308 w 325"/>
                <a:gd name="T5" fmla="*/ 75 h 294"/>
                <a:gd name="T6" fmla="*/ 178 w 325"/>
                <a:gd name="T7" fmla="*/ 294 h 294"/>
                <a:gd name="T8" fmla="*/ 45 w 325"/>
                <a:gd name="T9" fmla="*/ 61 h 294"/>
              </a:gdLst>
              <a:ahLst/>
              <a:cxnLst>
                <a:cxn ang="0">
                  <a:pos x="T0" y="T1"/>
                </a:cxn>
                <a:cxn ang="0">
                  <a:pos x="T2" y="T3"/>
                </a:cxn>
                <a:cxn ang="0">
                  <a:pos x="T4" y="T5"/>
                </a:cxn>
                <a:cxn ang="0">
                  <a:pos x="T6" y="T7"/>
                </a:cxn>
                <a:cxn ang="0">
                  <a:pos x="T8" y="T9"/>
                </a:cxn>
              </a:cxnLst>
              <a:rect l="0" t="0" r="r" b="b"/>
              <a:pathLst>
                <a:path w="325" h="294">
                  <a:moveTo>
                    <a:pt x="45" y="61"/>
                  </a:moveTo>
                  <a:cubicBezTo>
                    <a:pt x="103" y="0"/>
                    <a:pt x="183" y="3"/>
                    <a:pt x="183" y="3"/>
                  </a:cubicBezTo>
                  <a:cubicBezTo>
                    <a:pt x="205" y="25"/>
                    <a:pt x="294" y="20"/>
                    <a:pt x="308" y="75"/>
                  </a:cubicBezTo>
                  <a:cubicBezTo>
                    <a:pt x="325" y="148"/>
                    <a:pt x="284" y="281"/>
                    <a:pt x="178" y="294"/>
                  </a:cubicBezTo>
                  <a:cubicBezTo>
                    <a:pt x="0" y="265"/>
                    <a:pt x="45" y="61"/>
                    <a:pt x="45" y="61"/>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16" name="Freeform 22">
              <a:extLst>
                <a:ext uri="{FF2B5EF4-FFF2-40B4-BE49-F238E27FC236}">
                  <a16:creationId xmlns:a16="http://schemas.microsoft.com/office/drawing/2014/main" id="{A85141EE-DC89-4D23-9469-3B6B2290B46E}"/>
                </a:ext>
              </a:extLst>
            </p:cNvPr>
            <p:cNvSpPr>
              <a:spLocks/>
            </p:cNvSpPr>
            <p:nvPr/>
          </p:nvSpPr>
          <p:spPr bwMode="auto">
            <a:xfrm>
              <a:off x="497" y="508"/>
              <a:ext cx="428" cy="584"/>
            </a:xfrm>
            <a:custGeom>
              <a:avLst/>
              <a:gdLst>
                <a:gd name="T0" fmla="*/ 137 w 160"/>
                <a:gd name="T1" fmla="*/ 40 h 218"/>
                <a:gd name="T2" fmla="*/ 137 w 160"/>
                <a:gd name="T3" fmla="*/ 38 h 218"/>
                <a:gd name="T4" fmla="*/ 137 w 160"/>
                <a:gd name="T5" fmla="*/ 37 h 218"/>
                <a:gd name="T6" fmla="*/ 135 w 160"/>
                <a:gd name="T7" fmla="*/ 0 h 218"/>
                <a:gd name="T8" fmla="*/ 33 w 160"/>
                <a:gd name="T9" fmla="*/ 43 h 218"/>
                <a:gd name="T10" fmla="*/ 133 w 160"/>
                <a:gd name="T11" fmla="*/ 218 h 218"/>
                <a:gd name="T12" fmla="*/ 137 w 160"/>
                <a:gd name="T13" fmla="*/ 40 h 218"/>
              </a:gdLst>
              <a:ahLst/>
              <a:cxnLst>
                <a:cxn ang="0">
                  <a:pos x="T0" y="T1"/>
                </a:cxn>
                <a:cxn ang="0">
                  <a:pos x="T2" y="T3"/>
                </a:cxn>
                <a:cxn ang="0">
                  <a:pos x="T4" y="T5"/>
                </a:cxn>
                <a:cxn ang="0">
                  <a:pos x="T6" y="T7"/>
                </a:cxn>
                <a:cxn ang="0">
                  <a:pos x="T8" y="T9"/>
                </a:cxn>
                <a:cxn ang="0">
                  <a:pos x="T10" y="T11"/>
                </a:cxn>
                <a:cxn ang="0">
                  <a:pos x="T12" y="T13"/>
                </a:cxn>
              </a:cxnLst>
              <a:rect l="0" t="0" r="r" b="b"/>
              <a:pathLst>
                <a:path w="160" h="218">
                  <a:moveTo>
                    <a:pt x="137" y="40"/>
                  </a:moveTo>
                  <a:cubicBezTo>
                    <a:pt x="137" y="39"/>
                    <a:pt x="137" y="39"/>
                    <a:pt x="137" y="38"/>
                  </a:cubicBezTo>
                  <a:cubicBezTo>
                    <a:pt x="137" y="38"/>
                    <a:pt x="137" y="38"/>
                    <a:pt x="137" y="37"/>
                  </a:cubicBezTo>
                  <a:cubicBezTo>
                    <a:pt x="135" y="20"/>
                    <a:pt x="134" y="9"/>
                    <a:pt x="135" y="0"/>
                  </a:cubicBezTo>
                  <a:cubicBezTo>
                    <a:pt x="124" y="0"/>
                    <a:pt x="72" y="3"/>
                    <a:pt x="33" y="43"/>
                  </a:cubicBezTo>
                  <a:cubicBezTo>
                    <a:pt x="33" y="43"/>
                    <a:pt x="0" y="196"/>
                    <a:pt x="133" y="218"/>
                  </a:cubicBezTo>
                  <a:cubicBezTo>
                    <a:pt x="160" y="170"/>
                    <a:pt x="144" y="91"/>
                    <a:pt x="137" y="40"/>
                  </a:cubicBezTo>
                  <a:close/>
                </a:path>
              </a:pathLst>
            </a:custGeom>
            <a:solidFill>
              <a:srgbClr val="7D38BA"/>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spTree>
    <p:extLst>
      <p:ext uri="{BB962C8B-B14F-4D97-AF65-F5344CB8AC3E}">
        <p14:creationId xmlns:p14="http://schemas.microsoft.com/office/powerpoint/2010/main" val="3726938151"/>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ytuł 1">
            <a:extLst>
              <a:ext uri="{FF2B5EF4-FFF2-40B4-BE49-F238E27FC236}">
                <a16:creationId xmlns:a16="http://schemas.microsoft.com/office/drawing/2014/main" id="{DEA935F7-2904-40FF-A73D-3CCC59AF658E}"/>
              </a:ext>
            </a:extLst>
          </p:cNvPr>
          <p:cNvSpPr>
            <a:spLocks noGrp="1"/>
          </p:cNvSpPr>
          <p:nvPr>
            <p:ph type="title"/>
          </p:nvPr>
        </p:nvSpPr>
        <p:spPr/>
        <p:txBody>
          <a:bodyPr/>
          <a:lstStyle/>
          <a:p>
            <a:r>
              <a:rPr lang="en-US" sz="3200" dirty="0"/>
              <a:t>Private protected access modifier</a:t>
            </a:r>
          </a:p>
        </p:txBody>
      </p:sp>
      <p:sp>
        <p:nvSpPr>
          <p:cNvPr id="4" name="Symbol zastępczy tekstu 3">
            <a:extLst>
              <a:ext uri="{FF2B5EF4-FFF2-40B4-BE49-F238E27FC236}">
                <a16:creationId xmlns:a16="http://schemas.microsoft.com/office/drawing/2014/main" id="{5AE649E8-E6A2-4473-82C4-13CDFACEAAA5}"/>
              </a:ext>
            </a:extLst>
          </p:cNvPr>
          <p:cNvSpPr>
            <a:spLocks noGrp="1"/>
          </p:cNvSpPr>
          <p:nvPr>
            <p:ph type="body" sz="quarter" idx="10"/>
          </p:nvPr>
        </p:nvSpPr>
        <p:spPr/>
        <p:txBody>
          <a:bodyPr/>
          <a:lstStyle/>
          <a:p>
            <a:endParaRPr lang="en-US" dirty="0"/>
          </a:p>
        </p:txBody>
      </p:sp>
      <p:sp>
        <p:nvSpPr>
          <p:cNvPr id="5" name="Symbol zastępczy tekstu 4">
            <a:extLst>
              <a:ext uri="{FF2B5EF4-FFF2-40B4-BE49-F238E27FC236}">
                <a16:creationId xmlns:a16="http://schemas.microsoft.com/office/drawing/2014/main" id="{026454BF-D147-4265-B180-0D1A4FC7A23F}"/>
              </a:ext>
            </a:extLst>
          </p:cNvPr>
          <p:cNvSpPr>
            <a:spLocks noGrp="1"/>
          </p:cNvSpPr>
          <p:nvPr>
            <p:ph type="body" sz="quarter" idx="11"/>
          </p:nvPr>
        </p:nvSpPr>
        <p:spPr/>
        <p:txBody>
          <a:bodyPr/>
          <a:lstStyle/>
          <a:p>
            <a:r>
              <a:rPr lang="en-US" dirty="0"/>
              <a:t>C# 7.1</a:t>
            </a:r>
          </a:p>
        </p:txBody>
      </p:sp>
      <p:sp>
        <p:nvSpPr>
          <p:cNvPr id="3" name="Symbol zastępczy tekstu 2">
            <a:extLst>
              <a:ext uri="{FF2B5EF4-FFF2-40B4-BE49-F238E27FC236}">
                <a16:creationId xmlns:a16="http://schemas.microsoft.com/office/drawing/2014/main" id="{D0A37E72-B711-494C-A35F-F9DF4987AC76}"/>
              </a:ext>
            </a:extLst>
          </p:cNvPr>
          <p:cNvSpPr>
            <a:spLocks noGrp="1"/>
          </p:cNvSpPr>
          <p:nvPr>
            <p:ph type="body" sz="quarter" idx="12"/>
          </p:nvPr>
        </p:nvSpPr>
        <p:spPr/>
        <p:txBody>
          <a:bodyPr/>
          <a:lstStyle/>
          <a:p>
            <a:r>
              <a:rPr lang="en-US" dirty="0"/>
              <a:t>1</a:t>
            </a:r>
          </a:p>
        </p:txBody>
      </p:sp>
    </p:spTree>
    <p:extLst>
      <p:ext uri="{BB962C8B-B14F-4D97-AF65-F5344CB8AC3E}">
        <p14:creationId xmlns:p14="http://schemas.microsoft.com/office/powerpoint/2010/main" val="3716623276"/>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ytuł 1">
            <a:extLst>
              <a:ext uri="{FF2B5EF4-FFF2-40B4-BE49-F238E27FC236}">
                <a16:creationId xmlns:a16="http://schemas.microsoft.com/office/drawing/2014/main" id="{DEA935F7-2904-40FF-A73D-3CCC59AF658E}"/>
              </a:ext>
            </a:extLst>
          </p:cNvPr>
          <p:cNvSpPr>
            <a:spLocks noGrp="1"/>
          </p:cNvSpPr>
          <p:nvPr>
            <p:ph type="title"/>
          </p:nvPr>
        </p:nvSpPr>
        <p:spPr/>
        <p:txBody>
          <a:bodyPr/>
          <a:lstStyle/>
          <a:p>
            <a:r>
              <a:rPr lang="en-US" sz="3200" dirty="0"/>
              <a:t>Private protected access modifier</a:t>
            </a:r>
          </a:p>
        </p:txBody>
      </p:sp>
      <p:sp>
        <p:nvSpPr>
          <p:cNvPr id="4" name="Symbol zastępczy tekstu 3">
            <a:extLst>
              <a:ext uri="{FF2B5EF4-FFF2-40B4-BE49-F238E27FC236}">
                <a16:creationId xmlns:a16="http://schemas.microsoft.com/office/drawing/2014/main" id="{5AE649E8-E6A2-4473-82C4-13CDFACEAAA5}"/>
              </a:ext>
            </a:extLst>
          </p:cNvPr>
          <p:cNvSpPr>
            <a:spLocks noGrp="1"/>
          </p:cNvSpPr>
          <p:nvPr>
            <p:ph type="body" sz="quarter" idx="10"/>
          </p:nvPr>
        </p:nvSpPr>
        <p:spPr/>
        <p:txBody>
          <a:bodyPr/>
          <a:lstStyle/>
          <a:p>
            <a:endParaRPr lang="en-US" dirty="0"/>
          </a:p>
        </p:txBody>
      </p:sp>
      <p:sp>
        <p:nvSpPr>
          <p:cNvPr id="5" name="Symbol zastępczy tekstu 4">
            <a:extLst>
              <a:ext uri="{FF2B5EF4-FFF2-40B4-BE49-F238E27FC236}">
                <a16:creationId xmlns:a16="http://schemas.microsoft.com/office/drawing/2014/main" id="{026454BF-D147-4265-B180-0D1A4FC7A23F}"/>
              </a:ext>
            </a:extLst>
          </p:cNvPr>
          <p:cNvSpPr>
            <a:spLocks noGrp="1"/>
          </p:cNvSpPr>
          <p:nvPr>
            <p:ph type="body" sz="quarter" idx="11"/>
          </p:nvPr>
        </p:nvSpPr>
        <p:spPr/>
        <p:txBody>
          <a:bodyPr/>
          <a:lstStyle/>
          <a:p>
            <a:r>
              <a:rPr lang="en-US" dirty="0"/>
              <a:t>C# 7.2</a:t>
            </a:r>
          </a:p>
        </p:txBody>
      </p:sp>
      <p:sp>
        <p:nvSpPr>
          <p:cNvPr id="3" name="Symbol zastępczy tekstu 2">
            <a:extLst>
              <a:ext uri="{FF2B5EF4-FFF2-40B4-BE49-F238E27FC236}">
                <a16:creationId xmlns:a16="http://schemas.microsoft.com/office/drawing/2014/main" id="{724E4C15-2676-4F98-B111-3C989F7AE239}"/>
              </a:ext>
            </a:extLst>
          </p:cNvPr>
          <p:cNvSpPr>
            <a:spLocks noGrp="1"/>
          </p:cNvSpPr>
          <p:nvPr>
            <p:ph type="body" sz="quarter" idx="12"/>
          </p:nvPr>
        </p:nvSpPr>
        <p:spPr/>
        <p:txBody>
          <a:bodyPr/>
          <a:lstStyle/>
          <a:p>
            <a:r>
              <a:rPr lang="en-US" dirty="0"/>
              <a:t>2</a:t>
            </a:r>
          </a:p>
        </p:txBody>
      </p:sp>
    </p:spTree>
    <p:extLst>
      <p:ext uri="{BB962C8B-B14F-4D97-AF65-F5344CB8AC3E}">
        <p14:creationId xmlns:p14="http://schemas.microsoft.com/office/powerpoint/2010/main" val="1504413277"/>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pl-PL" dirty="0"/>
              <a:t>Agenda</a:t>
            </a:r>
            <a:endParaRPr lang="en-GB" dirty="0"/>
          </a:p>
        </p:txBody>
      </p:sp>
      <p:sp>
        <p:nvSpPr>
          <p:cNvPr id="5" name="Text Placeholder 4"/>
          <p:cNvSpPr>
            <a:spLocks noGrp="1"/>
          </p:cNvSpPr>
          <p:nvPr>
            <p:ph type="body" sz="quarter" idx="10"/>
          </p:nvPr>
        </p:nvSpPr>
        <p:spPr/>
        <p:txBody>
          <a:bodyPr/>
          <a:lstStyle/>
          <a:p>
            <a:pPr lvl="1"/>
            <a:r>
              <a:rPr lang="en-US" dirty="0">
                <a:solidFill>
                  <a:schemeClr val="bg1">
                    <a:lumMod val="95000"/>
                  </a:schemeClr>
                </a:solidFill>
              </a:rPr>
              <a:t>Introduction</a:t>
            </a:r>
          </a:p>
          <a:p>
            <a:pPr lvl="2"/>
            <a:r>
              <a:rPr lang="en-US" dirty="0">
                <a:solidFill>
                  <a:schemeClr val="bg1">
                    <a:lumMod val="95000"/>
                  </a:schemeClr>
                </a:solidFill>
              </a:rPr>
              <a:t>The recent C# versions timeline,</a:t>
            </a:r>
          </a:p>
          <a:p>
            <a:pPr lvl="2"/>
            <a:r>
              <a:rPr lang="en-US" dirty="0">
                <a:solidFill>
                  <a:schemeClr val="bg1">
                    <a:lumMod val="95000"/>
                  </a:schemeClr>
                </a:solidFill>
              </a:rPr>
              <a:t>C# 8.0 pre-requirements,</a:t>
            </a:r>
          </a:p>
          <a:p>
            <a:pPr lvl="2"/>
            <a:r>
              <a:rPr lang="en-US" dirty="0">
                <a:solidFill>
                  <a:schemeClr val="bg1">
                    <a:lumMod val="95000"/>
                  </a:schemeClr>
                </a:solidFill>
              </a:rPr>
              <a:t>dive into an example.</a:t>
            </a:r>
          </a:p>
          <a:p>
            <a:pPr lvl="1"/>
            <a:r>
              <a:rPr lang="en-US" dirty="0">
                <a:solidFill>
                  <a:schemeClr val="bg1">
                    <a:lumMod val="95000"/>
                  </a:schemeClr>
                </a:solidFill>
              </a:rPr>
              <a:t>What’s new in C# 7.1</a:t>
            </a:r>
          </a:p>
          <a:p>
            <a:pPr lvl="2"/>
            <a:r>
              <a:rPr lang="en-US" dirty="0">
                <a:solidFill>
                  <a:schemeClr val="bg1">
                    <a:lumMod val="95000"/>
                  </a:schemeClr>
                </a:solidFill>
              </a:rPr>
              <a:t>Async Main method,</a:t>
            </a:r>
          </a:p>
          <a:p>
            <a:pPr lvl="2"/>
            <a:r>
              <a:rPr lang="en-US" dirty="0">
                <a:solidFill>
                  <a:schemeClr val="bg1">
                    <a:lumMod val="95000"/>
                  </a:schemeClr>
                </a:solidFill>
              </a:rPr>
              <a:t>default literal expressions,</a:t>
            </a:r>
          </a:p>
          <a:p>
            <a:pPr lvl="2"/>
            <a:r>
              <a:rPr lang="en-US" dirty="0">
                <a:solidFill>
                  <a:schemeClr val="bg1">
                    <a:lumMod val="95000"/>
                  </a:schemeClr>
                </a:solidFill>
              </a:rPr>
              <a:t>inferred tuple element names.</a:t>
            </a:r>
          </a:p>
          <a:p>
            <a:pPr lvl="1"/>
            <a:r>
              <a:rPr lang="en-US" dirty="0">
                <a:solidFill>
                  <a:schemeClr val="bg1">
                    <a:lumMod val="95000"/>
                  </a:schemeClr>
                </a:solidFill>
              </a:rPr>
              <a:t>What’s new in C# 7.2</a:t>
            </a:r>
          </a:p>
          <a:p>
            <a:pPr lvl="2"/>
            <a:r>
              <a:rPr lang="en-US" dirty="0">
                <a:solidFill>
                  <a:schemeClr val="bg1">
                    <a:lumMod val="95000"/>
                  </a:schemeClr>
                </a:solidFill>
              </a:rPr>
              <a:t>Safe efficient code enhancements,</a:t>
            </a:r>
          </a:p>
          <a:p>
            <a:pPr lvl="2"/>
            <a:r>
              <a:rPr lang="en-US" dirty="0">
                <a:solidFill>
                  <a:schemeClr val="bg1">
                    <a:lumMod val="95000"/>
                  </a:schemeClr>
                </a:solidFill>
              </a:rPr>
              <a:t>non-trailing named arguments,</a:t>
            </a:r>
          </a:p>
          <a:p>
            <a:pPr lvl="2"/>
            <a:r>
              <a:rPr lang="en-US" dirty="0">
                <a:solidFill>
                  <a:schemeClr val="bg1">
                    <a:lumMod val="95000"/>
                  </a:schemeClr>
                </a:solidFill>
              </a:rPr>
              <a:t>leading underscores in numeric literals,</a:t>
            </a:r>
          </a:p>
          <a:p>
            <a:pPr lvl="2"/>
            <a:r>
              <a:rPr lang="en-US" dirty="0">
                <a:solidFill>
                  <a:schemeClr val="bg1">
                    <a:lumMod val="95000"/>
                  </a:schemeClr>
                </a:solidFill>
              </a:rPr>
              <a:t>private protected access modifier,</a:t>
            </a:r>
          </a:p>
          <a:p>
            <a:pPr lvl="2"/>
            <a:r>
              <a:rPr lang="en-US" dirty="0">
                <a:solidFill>
                  <a:schemeClr val="bg1">
                    <a:lumMod val="95000"/>
                  </a:schemeClr>
                </a:solidFill>
              </a:rPr>
              <a:t>conditional ref expressions.</a:t>
            </a:r>
          </a:p>
        </p:txBody>
      </p:sp>
      <p:sp>
        <p:nvSpPr>
          <p:cNvPr id="6" name="Text Placeholder 5"/>
          <p:cNvSpPr>
            <a:spLocks noGrp="1"/>
          </p:cNvSpPr>
          <p:nvPr>
            <p:ph type="body" sz="quarter" idx="11"/>
          </p:nvPr>
        </p:nvSpPr>
        <p:spPr/>
        <p:txBody>
          <a:bodyPr/>
          <a:lstStyle/>
          <a:p>
            <a:r>
              <a:rPr lang="en-US" dirty="0"/>
              <a:t>We are going to talk about…</a:t>
            </a:r>
          </a:p>
        </p:txBody>
      </p:sp>
      <p:sp>
        <p:nvSpPr>
          <p:cNvPr id="8" name="Text Placeholder 4">
            <a:extLst>
              <a:ext uri="{FF2B5EF4-FFF2-40B4-BE49-F238E27FC236}">
                <a16:creationId xmlns:a16="http://schemas.microsoft.com/office/drawing/2014/main" id="{52580643-4575-408B-8BE0-E817BC2D360B}"/>
              </a:ext>
            </a:extLst>
          </p:cNvPr>
          <p:cNvSpPr txBox="1">
            <a:spLocks/>
          </p:cNvSpPr>
          <p:nvPr/>
        </p:nvSpPr>
        <p:spPr>
          <a:xfrm>
            <a:off x="227348" y="1815350"/>
            <a:ext cx="11700000" cy="4466201"/>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buClr>
                <a:srgbClr val="860864"/>
              </a:buClr>
            </a:pPr>
            <a:r>
              <a:rPr lang="en-US" dirty="0"/>
              <a:t>Introduction</a:t>
            </a:r>
          </a:p>
          <a:p>
            <a:pPr lvl="2">
              <a:buClr>
                <a:srgbClr val="CC2980"/>
              </a:buClr>
            </a:pPr>
            <a:r>
              <a:rPr lang="en-US" dirty="0"/>
              <a:t>The recent C# versions timeline,</a:t>
            </a:r>
          </a:p>
          <a:p>
            <a:pPr lvl="2">
              <a:buClr>
                <a:srgbClr val="CC2980"/>
              </a:buClr>
            </a:pPr>
            <a:r>
              <a:rPr lang="en-US" dirty="0"/>
              <a:t>C# 8.0 pre-requirements,</a:t>
            </a:r>
          </a:p>
          <a:p>
            <a:pPr lvl="2">
              <a:buClr>
                <a:srgbClr val="CC2980"/>
              </a:buClr>
            </a:pPr>
            <a:r>
              <a:rPr lang="en-US" dirty="0"/>
              <a:t>dive into an example.</a:t>
            </a:r>
          </a:p>
          <a:p>
            <a:pPr lvl="1">
              <a:buClr>
                <a:srgbClr val="860864"/>
              </a:buClr>
            </a:pPr>
            <a:r>
              <a:rPr lang="en-US" dirty="0"/>
              <a:t>What’s new in C# 7.1</a:t>
            </a:r>
          </a:p>
          <a:p>
            <a:pPr lvl="2">
              <a:buClr>
                <a:srgbClr val="CC2980"/>
              </a:buClr>
            </a:pPr>
            <a:r>
              <a:rPr lang="en-US" dirty="0"/>
              <a:t>Async Main method,</a:t>
            </a:r>
          </a:p>
          <a:p>
            <a:pPr lvl="2">
              <a:buClr>
                <a:srgbClr val="CC2980"/>
              </a:buClr>
            </a:pPr>
            <a:r>
              <a:rPr lang="en-US" dirty="0"/>
              <a:t>default literal expressions,</a:t>
            </a:r>
          </a:p>
          <a:p>
            <a:pPr lvl="2">
              <a:buClr>
                <a:srgbClr val="CC2980"/>
              </a:buClr>
            </a:pPr>
            <a:r>
              <a:rPr lang="en-US" dirty="0"/>
              <a:t>inferred tuple element names.</a:t>
            </a:r>
          </a:p>
          <a:p>
            <a:pPr lvl="1">
              <a:buClr>
                <a:srgbClr val="860864"/>
              </a:buClr>
            </a:pPr>
            <a:r>
              <a:rPr lang="en-US" dirty="0"/>
              <a:t>What’s new in C# 7.2</a:t>
            </a:r>
          </a:p>
          <a:p>
            <a:pPr lvl="2">
              <a:buClr>
                <a:srgbClr val="CC2980"/>
              </a:buClr>
            </a:pPr>
            <a:r>
              <a:rPr lang="en-US" dirty="0"/>
              <a:t>Safe efficient code enhancements,</a:t>
            </a:r>
          </a:p>
          <a:p>
            <a:pPr lvl="2">
              <a:buClr>
                <a:srgbClr val="CC2980"/>
              </a:buClr>
            </a:pPr>
            <a:r>
              <a:rPr lang="en-US" dirty="0"/>
              <a:t>non-trailing named arguments,</a:t>
            </a:r>
          </a:p>
          <a:p>
            <a:pPr lvl="2">
              <a:buClr>
                <a:srgbClr val="CC2980"/>
              </a:buClr>
            </a:pPr>
            <a:r>
              <a:rPr lang="en-US" dirty="0"/>
              <a:t>leading underscores in numeric literals,</a:t>
            </a:r>
          </a:p>
          <a:p>
            <a:pPr lvl="2">
              <a:buClr>
                <a:srgbClr val="CC2980"/>
              </a:buClr>
            </a:pPr>
            <a:r>
              <a:rPr lang="en-US" dirty="0"/>
              <a:t>private protected access modifier,</a:t>
            </a:r>
          </a:p>
          <a:p>
            <a:pPr lvl="2">
              <a:buClr>
                <a:srgbClr val="CC2980"/>
              </a:buClr>
            </a:pPr>
            <a:r>
              <a:rPr lang="en-US" dirty="0"/>
              <a:t>conditional ref expressions.</a:t>
            </a:r>
          </a:p>
        </p:txBody>
      </p:sp>
    </p:spTree>
    <p:extLst>
      <p:ext uri="{BB962C8B-B14F-4D97-AF65-F5344CB8AC3E}">
        <p14:creationId xmlns:p14="http://schemas.microsoft.com/office/powerpoint/2010/main" val="94766008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
                                            <p:txEl>
                                              <p:pRg st="13" end="13"/>
                                            </p:txEl>
                                          </p:spTgt>
                                        </p:tgtEl>
                                        <p:attrNameLst>
                                          <p:attrName>style.visibility</p:attrName>
                                        </p:attrNameLst>
                                      </p:cBhvr>
                                      <p:to>
                                        <p:strVal val="visible"/>
                                      </p:to>
                                    </p:set>
                                    <p:animEffect transition="in" filter="fade">
                                      <p:cBhvr>
                                        <p:cTn id="7" dur="500"/>
                                        <p:tgtEl>
                                          <p:spTgt spid="8">
                                            <p:txEl>
                                              <p:pRg st="13" end="1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ymbol zastępczy tekstu 5">
            <a:extLst>
              <a:ext uri="{FF2B5EF4-FFF2-40B4-BE49-F238E27FC236}">
                <a16:creationId xmlns:a16="http://schemas.microsoft.com/office/drawing/2014/main" id="{EC19D1F0-CA19-48E4-B6B7-FE7D3388EB92}"/>
              </a:ext>
            </a:extLst>
          </p:cNvPr>
          <p:cNvSpPr>
            <a:spLocks noGrp="1"/>
          </p:cNvSpPr>
          <p:nvPr>
            <p:ph type="body" sz="quarter" idx="11"/>
          </p:nvPr>
        </p:nvSpPr>
        <p:spPr>
          <a:xfrm>
            <a:off x="6744073" y="2662294"/>
            <a:ext cx="5256584" cy="3160282"/>
          </a:xfrm>
        </p:spPr>
        <p:txBody>
          <a:bodyPr/>
          <a:lstStyle/>
          <a:p>
            <a:r>
              <a:rPr lang="en-US" dirty="0"/>
              <a:t>What’s new in C# 7.2</a:t>
            </a:r>
          </a:p>
          <a:p>
            <a:r>
              <a:rPr lang="en-US" sz="2400" dirty="0"/>
              <a:t>Conditional ref expressions</a:t>
            </a:r>
          </a:p>
        </p:txBody>
      </p:sp>
      <p:sp>
        <p:nvSpPr>
          <p:cNvPr id="28" name="Freeform 37">
            <a:extLst>
              <a:ext uri="{FF2B5EF4-FFF2-40B4-BE49-F238E27FC236}">
                <a16:creationId xmlns:a16="http://schemas.microsoft.com/office/drawing/2014/main" id="{C163FEF7-EB42-4298-AED9-19E8D9ACF2E4}"/>
              </a:ext>
            </a:extLst>
          </p:cNvPr>
          <p:cNvSpPr>
            <a:spLocks/>
          </p:cNvSpPr>
          <p:nvPr/>
        </p:nvSpPr>
        <p:spPr bwMode="auto">
          <a:xfrm>
            <a:off x="1291010" y="2646539"/>
            <a:ext cx="844550" cy="793750"/>
          </a:xfrm>
          <a:custGeom>
            <a:avLst/>
            <a:gdLst>
              <a:gd name="T0" fmla="*/ 51 w 440"/>
              <a:gd name="T1" fmla="*/ 298 h 410"/>
              <a:gd name="T2" fmla="*/ 128 w 440"/>
              <a:gd name="T3" fmla="*/ 48 h 410"/>
              <a:gd name="T4" fmla="*/ 389 w 440"/>
              <a:gd name="T5" fmla="*/ 122 h 410"/>
              <a:gd name="T6" fmla="*/ 307 w 440"/>
              <a:gd name="T7" fmla="*/ 362 h 410"/>
              <a:gd name="T8" fmla="*/ 51 w 440"/>
              <a:gd name="T9" fmla="*/ 298 h 410"/>
            </a:gdLst>
            <a:ahLst/>
            <a:cxnLst>
              <a:cxn ang="0">
                <a:pos x="T0" y="T1"/>
              </a:cxn>
              <a:cxn ang="0">
                <a:pos x="T2" y="T3"/>
              </a:cxn>
              <a:cxn ang="0">
                <a:pos x="T4" y="T5"/>
              </a:cxn>
              <a:cxn ang="0">
                <a:pos x="T6" y="T7"/>
              </a:cxn>
              <a:cxn ang="0">
                <a:pos x="T8" y="T9"/>
              </a:cxn>
            </a:cxnLst>
            <a:rect l="0" t="0" r="r" b="b"/>
            <a:pathLst>
              <a:path w="440" h="410">
                <a:moveTo>
                  <a:pt x="51" y="298"/>
                </a:moveTo>
                <a:cubicBezTo>
                  <a:pt x="0" y="209"/>
                  <a:pt x="34" y="97"/>
                  <a:pt x="128" y="48"/>
                </a:cubicBezTo>
                <a:cubicBezTo>
                  <a:pt x="221" y="0"/>
                  <a:pt x="338" y="33"/>
                  <a:pt x="389" y="122"/>
                </a:cubicBezTo>
                <a:cubicBezTo>
                  <a:pt x="440" y="212"/>
                  <a:pt x="400" y="313"/>
                  <a:pt x="307" y="362"/>
                </a:cubicBezTo>
                <a:cubicBezTo>
                  <a:pt x="214" y="410"/>
                  <a:pt x="102" y="388"/>
                  <a:pt x="51" y="298"/>
                </a:cubicBezTo>
              </a:path>
            </a:pathLst>
          </a:custGeom>
          <a:solidFill>
            <a:srgbClr val="6D64CC"/>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3" name="Oval 20">
            <a:extLst>
              <a:ext uri="{FF2B5EF4-FFF2-40B4-BE49-F238E27FC236}">
                <a16:creationId xmlns:a16="http://schemas.microsoft.com/office/drawing/2014/main" id="{EE9B31FA-25FA-4CC1-863F-BB3D69944DF9}"/>
              </a:ext>
            </a:extLst>
          </p:cNvPr>
          <p:cNvSpPr/>
          <p:nvPr/>
        </p:nvSpPr>
        <p:spPr>
          <a:xfrm>
            <a:off x="623392" y="738251"/>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42" name="Oval 20">
            <a:extLst>
              <a:ext uri="{FF2B5EF4-FFF2-40B4-BE49-F238E27FC236}">
                <a16:creationId xmlns:a16="http://schemas.microsoft.com/office/drawing/2014/main" id="{9C48F09E-5C3B-4BEA-BD8F-85A5DCB0325B}"/>
              </a:ext>
            </a:extLst>
          </p:cNvPr>
          <p:cNvSpPr/>
          <p:nvPr/>
        </p:nvSpPr>
        <p:spPr>
          <a:xfrm>
            <a:off x="2071114" y="2276872"/>
            <a:ext cx="1356623" cy="128178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CC29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13" name="Group 620">
            <a:extLst>
              <a:ext uri="{FF2B5EF4-FFF2-40B4-BE49-F238E27FC236}">
                <a16:creationId xmlns:a16="http://schemas.microsoft.com/office/drawing/2014/main" id="{1A15785A-042C-4214-92FE-6CD4AE4D5B45}"/>
              </a:ext>
            </a:extLst>
          </p:cNvPr>
          <p:cNvGrpSpPr/>
          <p:nvPr/>
        </p:nvGrpSpPr>
        <p:grpSpPr>
          <a:xfrm>
            <a:off x="1069131" y="1120791"/>
            <a:ext cx="1362333" cy="1232799"/>
            <a:chOff x="560389" y="2609737"/>
            <a:chExt cx="484188" cy="438150"/>
          </a:xfrm>
        </p:grpSpPr>
        <p:sp>
          <p:nvSpPr>
            <p:cNvPr id="15" name="Freeform 38">
              <a:extLst>
                <a:ext uri="{FF2B5EF4-FFF2-40B4-BE49-F238E27FC236}">
                  <a16:creationId xmlns:a16="http://schemas.microsoft.com/office/drawing/2014/main" id="{95F1FDF1-664A-4317-BDBB-509103DC71C1}"/>
                </a:ext>
              </a:extLst>
            </p:cNvPr>
            <p:cNvSpPr>
              <a:spLocks/>
            </p:cNvSpPr>
            <p:nvPr/>
          </p:nvSpPr>
          <p:spPr bwMode="auto">
            <a:xfrm>
              <a:off x="744539" y="2752612"/>
              <a:ext cx="300038" cy="133350"/>
            </a:xfrm>
            <a:custGeom>
              <a:avLst/>
              <a:gdLst>
                <a:gd name="T0" fmla="*/ 157 w 157"/>
                <a:gd name="T1" fmla="*/ 35 h 69"/>
                <a:gd name="T2" fmla="*/ 106 w 157"/>
                <a:gd name="T3" fmla="*/ 0 h 69"/>
                <a:gd name="T4" fmla="*/ 106 w 157"/>
                <a:gd name="T5" fmla="*/ 21 h 69"/>
                <a:gd name="T6" fmla="*/ 0 w 157"/>
                <a:gd name="T7" fmla="*/ 13 h 69"/>
                <a:gd name="T8" fmla="*/ 0 w 157"/>
                <a:gd name="T9" fmla="*/ 61 h 69"/>
                <a:gd name="T10" fmla="*/ 105 w 157"/>
                <a:gd name="T11" fmla="*/ 47 h 69"/>
                <a:gd name="T12" fmla="*/ 105 w 157"/>
                <a:gd name="T13" fmla="*/ 69 h 69"/>
                <a:gd name="T14" fmla="*/ 157 w 157"/>
                <a:gd name="T15" fmla="*/ 35 h 6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 h="69">
                  <a:moveTo>
                    <a:pt x="157" y="35"/>
                  </a:moveTo>
                  <a:cubicBezTo>
                    <a:pt x="106" y="0"/>
                    <a:pt x="106" y="0"/>
                    <a:pt x="106" y="0"/>
                  </a:cubicBezTo>
                  <a:cubicBezTo>
                    <a:pt x="106" y="21"/>
                    <a:pt x="106" y="21"/>
                    <a:pt x="106" y="21"/>
                  </a:cubicBezTo>
                  <a:cubicBezTo>
                    <a:pt x="0" y="13"/>
                    <a:pt x="0" y="13"/>
                    <a:pt x="0" y="13"/>
                  </a:cubicBezTo>
                  <a:cubicBezTo>
                    <a:pt x="15" y="43"/>
                    <a:pt x="0" y="61"/>
                    <a:pt x="0" y="61"/>
                  </a:cubicBezTo>
                  <a:cubicBezTo>
                    <a:pt x="105" y="47"/>
                    <a:pt x="105" y="47"/>
                    <a:pt x="105" y="47"/>
                  </a:cubicBezTo>
                  <a:cubicBezTo>
                    <a:pt x="105" y="69"/>
                    <a:pt x="105" y="69"/>
                    <a:pt x="105" y="69"/>
                  </a:cubicBezTo>
                  <a:lnTo>
                    <a:pt x="157" y="35"/>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6" name="Freeform 39">
              <a:extLst>
                <a:ext uri="{FF2B5EF4-FFF2-40B4-BE49-F238E27FC236}">
                  <a16:creationId xmlns:a16="http://schemas.microsoft.com/office/drawing/2014/main" id="{0EE05C2C-7B61-4443-872E-A80A4F464C11}"/>
                </a:ext>
              </a:extLst>
            </p:cNvPr>
            <p:cNvSpPr>
              <a:spLocks/>
            </p:cNvSpPr>
            <p:nvPr/>
          </p:nvSpPr>
          <p:spPr bwMode="auto">
            <a:xfrm>
              <a:off x="560389" y="2609737"/>
              <a:ext cx="300038" cy="130175"/>
            </a:xfrm>
            <a:custGeom>
              <a:avLst/>
              <a:gdLst>
                <a:gd name="T0" fmla="*/ 157 w 157"/>
                <a:gd name="T1" fmla="*/ 34 h 68"/>
                <a:gd name="T2" fmla="*/ 106 w 157"/>
                <a:gd name="T3" fmla="*/ 0 h 68"/>
                <a:gd name="T4" fmla="*/ 106 w 157"/>
                <a:gd name="T5" fmla="*/ 20 h 68"/>
                <a:gd name="T6" fmla="*/ 0 w 157"/>
                <a:gd name="T7" fmla="*/ 12 h 68"/>
                <a:gd name="T8" fmla="*/ 0 w 157"/>
                <a:gd name="T9" fmla="*/ 60 h 68"/>
                <a:gd name="T10" fmla="*/ 105 w 157"/>
                <a:gd name="T11" fmla="*/ 46 h 68"/>
                <a:gd name="T12" fmla="*/ 105 w 157"/>
                <a:gd name="T13" fmla="*/ 68 h 68"/>
                <a:gd name="T14" fmla="*/ 157 w 157"/>
                <a:gd name="T15" fmla="*/ 34 h 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 h="68">
                  <a:moveTo>
                    <a:pt x="157" y="34"/>
                  </a:moveTo>
                  <a:cubicBezTo>
                    <a:pt x="106" y="0"/>
                    <a:pt x="106" y="0"/>
                    <a:pt x="106" y="0"/>
                  </a:cubicBezTo>
                  <a:cubicBezTo>
                    <a:pt x="106" y="20"/>
                    <a:pt x="106" y="20"/>
                    <a:pt x="106" y="20"/>
                  </a:cubicBezTo>
                  <a:cubicBezTo>
                    <a:pt x="0" y="12"/>
                    <a:pt x="0" y="12"/>
                    <a:pt x="0" y="12"/>
                  </a:cubicBezTo>
                  <a:cubicBezTo>
                    <a:pt x="15" y="42"/>
                    <a:pt x="0" y="60"/>
                    <a:pt x="0" y="60"/>
                  </a:cubicBezTo>
                  <a:cubicBezTo>
                    <a:pt x="105" y="46"/>
                    <a:pt x="105" y="46"/>
                    <a:pt x="105" y="46"/>
                  </a:cubicBezTo>
                  <a:cubicBezTo>
                    <a:pt x="105" y="68"/>
                    <a:pt x="105" y="68"/>
                    <a:pt x="105" y="68"/>
                  </a:cubicBezTo>
                  <a:lnTo>
                    <a:pt x="157" y="34"/>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 name="Freeform 40">
              <a:extLst>
                <a:ext uri="{FF2B5EF4-FFF2-40B4-BE49-F238E27FC236}">
                  <a16:creationId xmlns:a16="http://schemas.microsoft.com/office/drawing/2014/main" id="{D9ACDCB1-48BB-4E51-B6A2-016667701CC7}"/>
                </a:ext>
              </a:extLst>
            </p:cNvPr>
            <p:cNvSpPr>
              <a:spLocks/>
            </p:cNvSpPr>
            <p:nvPr/>
          </p:nvSpPr>
          <p:spPr bwMode="auto">
            <a:xfrm>
              <a:off x="615951" y="2914537"/>
              <a:ext cx="300038" cy="133350"/>
            </a:xfrm>
            <a:custGeom>
              <a:avLst/>
              <a:gdLst>
                <a:gd name="T0" fmla="*/ 157 w 157"/>
                <a:gd name="T1" fmla="*/ 34 h 69"/>
                <a:gd name="T2" fmla="*/ 106 w 157"/>
                <a:gd name="T3" fmla="*/ 0 h 69"/>
                <a:gd name="T4" fmla="*/ 106 w 157"/>
                <a:gd name="T5" fmla="*/ 20 h 69"/>
                <a:gd name="T6" fmla="*/ 0 w 157"/>
                <a:gd name="T7" fmla="*/ 12 h 69"/>
                <a:gd name="T8" fmla="*/ 0 w 157"/>
                <a:gd name="T9" fmla="*/ 60 h 69"/>
                <a:gd name="T10" fmla="*/ 105 w 157"/>
                <a:gd name="T11" fmla="*/ 46 h 69"/>
                <a:gd name="T12" fmla="*/ 105 w 157"/>
                <a:gd name="T13" fmla="*/ 69 h 69"/>
                <a:gd name="T14" fmla="*/ 157 w 157"/>
                <a:gd name="T15" fmla="*/ 34 h 6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 h="69">
                  <a:moveTo>
                    <a:pt x="157" y="34"/>
                  </a:moveTo>
                  <a:cubicBezTo>
                    <a:pt x="106" y="0"/>
                    <a:pt x="106" y="0"/>
                    <a:pt x="106" y="0"/>
                  </a:cubicBezTo>
                  <a:cubicBezTo>
                    <a:pt x="106" y="20"/>
                    <a:pt x="106" y="20"/>
                    <a:pt x="106" y="20"/>
                  </a:cubicBezTo>
                  <a:cubicBezTo>
                    <a:pt x="0" y="12"/>
                    <a:pt x="0" y="12"/>
                    <a:pt x="0" y="12"/>
                  </a:cubicBezTo>
                  <a:cubicBezTo>
                    <a:pt x="15" y="42"/>
                    <a:pt x="0" y="60"/>
                    <a:pt x="0" y="60"/>
                  </a:cubicBezTo>
                  <a:cubicBezTo>
                    <a:pt x="105" y="46"/>
                    <a:pt x="105" y="46"/>
                    <a:pt x="105" y="46"/>
                  </a:cubicBezTo>
                  <a:cubicBezTo>
                    <a:pt x="105" y="69"/>
                    <a:pt x="105" y="69"/>
                    <a:pt x="105" y="69"/>
                  </a:cubicBezTo>
                  <a:lnTo>
                    <a:pt x="157" y="34"/>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3139929267"/>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ytuł 1">
            <a:extLst>
              <a:ext uri="{FF2B5EF4-FFF2-40B4-BE49-F238E27FC236}">
                <a16:creationId xmlns:a16="http://schemas.microsoft.com/office/drawing/2014/main" id="{DEA935F7-2904-40FF-A73D-3CCC59AF658E}"/>
              </a:ext>
            </a:extLst>
          </p:cNvPr>
          <p:cNvSpPr>
            <a:spLocks noGrp="1"/>
          </p:cNvSpPr>
          <p:nvPr>
            <p:ph type="title"/>
          </p:nvPr>
        </p:nvSpPr>
        <p:spPr/>
        <p:txBody>
          <a:bodyPr/>
          <a:lstStyle/>
          <a:p>
            <a:r>
              <a:rPr lang="en-US" sz="3200" dirty="0"/>
              <a:t>Conditional ref expressions</a:t>
            </a:r>
          </a:p>
        </p:txBody>
      </p:sp>
      <p:sp>
        <p:nvSpPr>
          <p:cNvPr id="4" name="Symbol zastępczy tekstu 3">
            <a:extLst>
              <a:ext uri="{FF2B5EF4-FFF2-40B4-BE49-F238E27FC236}">
                <a16:creationId xmlns:a16="http://schemas.microsoft.com/office/drawing/2014/main" id="{5AE649E8-E6A2-4473-82C4-13CDFACEAAA5}"/>
              </a:ext>
            </a:extLst>
          </p:cNvPr>
          <p:cNvSpPr>
            <a:spLocks noGrp="1"/>
          </p:cNvSpPr>
          <p:nvPr>
            <p:ph type="body" sz="quarter" idx="10"/>
          </p:nvPr>
        </p:nvSpPr>
        <p:spPr/>
        <p:txBody>
          <a:bodyPr/>
          <a:lstStyle/>
          <a:p>
            <a:endParaRPr lang="en-US" dirty="0"/>
          </a:p>
        </p:txBody>
      </p:sp>
      <p:sp>
        <p:nvSpPr>
          <p:cNvPr id="5" name="Symbol zastępczy tekstu 4">
            <a:extLst>
              <a:ext uri="{FF2B5EF4-FFF2-40B4-BE49-F238E27FC236}">
                <a16:creationId xmlns:a16="http://schemas.microsoft.com/office/drawing/2014/main" id="{026454BF-D147-4265-B180-0D1A4FC7A23F}"/>
              </a:ext>
            </a:extLst>
          </p:cNvPr>
          <p:cNvSpPr>
            <a:spLocks noGrp="1"/>
          </p:cNvSpPr>
          <p:nvPr>
            <p:ph type="body" sz="quarter" idx="11"/>
          </p:nvPr>
        </p:nvSpPr>
        <p:spPr/>
        <p:txBody>
          <a:bodyPr/>
          <a:lstStyle/>
          <a:p>
            <a:r>
              <a:rPr lang="en-US" dirty="0"/>
              <a:t>C# 7.1</a:t>
            </a:r>
          </a:p>
        </p:txBody>
      </p:sp>
      <p:sp>
        <p:nvSpPr>
          <p:cNvPr id="3" name="Symbol zastępczy tekstu 2">
            <a:extLst>
              <a:ext uri="{FF2B5EF4-FFF2-40B4-BE49-F238E27FC236}">
                <a16:creationId xmlns:a16="http://schemas.microsoft.com/office/drawing/2014/main" id="{D0A37E72-B711-494C-A35F-F9DF4987AC76}"/>
              </a:ext>
            </a:extLst>
          </p:cNvPr>
          <p:cNvSpPr>
            <a:spLocks noGrp="1"/>
          </p:cNvSpPr>
          <p:nvPr>
            <p:ph type="body" sz="quarter" idx="12"/>
          </p:nvPr>
        </p:nvSpPr>
        <p:spPr/>
        <p:txBody>
          <a:bodyPr/>
          <a:lstStyle/>
          <a:p>
            <a:r>
              <a:rPr lang="en-US" dirty="0"/>
              <a:t>1</a:t>
            </a:r>
          </a:p>
        </p:txBody>
      </p:sp>
    </p:spTree>
    <p:extLst>
      <p:ext uri="{BB962C8B-B14F-4D97-AF65-F5344CB8AC3E}">
        <p14:creationId xmlns:p14="http://schemas.microsoft.com/office/powerpoint/2010/main" val="177992772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ymbol zastępczy tekstu 5">
            <a:extLst>
              <a:ext uri="{FF2B5EF4-FFF2-40B4-BE49-F238E27FC236}">
                <a16:creationId xmlns:a16="http://schemas.microsoft.com/office/drawing/2014/main" id="{EC19D1F0-CA19-48E4-B6B7-FE7D3388EB92}"/>
              </a:ext>
            </a:extLst>
          </p:cNvPr>
          <p:cNvSpPr>
            <a:spLocks noGrp="1"/>
          </p:cNvSpPr>
          <p:nvPr>
            <p:ph type="body" sz="quarter" idx="11"/>
          </p:nvPr>
        </p:nvSpPr>
        <p:spPr/>
        <p:txBody>
          <a:bodyPr/>
          <a:lstStyle/>
          <a:p>
            <a:r>
              <a:rPr lang="en-US" dirty="0"/>
              <a:t>Introduction</a:t>
            </a:r>
          </a:p>
          <a:p>
            <a:r>
              <a:rPr lang="en-US" sz="2400" dirty="0"/>
              <a:t>The recent C# versions timeline</a:t>
            </a:r>
          </a:p>
          <a:p>
            <a:endParaRPr lang="en-US" dirty="0"/>
          </a:p>
        </p:txBody>
      </p:sp>
      <p:sp>
        <p:nvSpPr>
          <p:cNvPr id="28" name="Freeform 37">
            <a:extLst>
              <a:ext uri="{FF2B5EF4-FFF2-40B4-BE49-F238E27FC236}">
                <a16:creationId xmlns:a16="http://schemas.microsoft.com/office/drawing/2014/main" id="{C163FEF7-EB42-4298-AED9-19E8D9ACF2E4}"/>
              </a:ext>
            </a:extLst>
          </p:cNvPr>
          <p:cNvSpPr>
            <a:spLocks/>
          </p:cNvSpPr>
          <p:nvPr/>
        </p:nvSpPr>
        <p:spPr bwMode="auto">
          <a:xfrm>
            <a:off x="8472264" y="3933056"/>
            <a:ext cx="844550" cy="793750"/>
          </a:xfrm>
          <a:custGeom>
            <a:avLst/>
            <a:gdLst>
              <a:gd name="T0" fmla="*/ 51 w 440"/>
              <a:gd name="T1" fmla="*/ 298 h 410"/>
              <a:gd name="T2" fmla="*/ 128 w 440"/>
              <a:gd name="T3" fmla="*/ 48 h 410"/>
              <a:gd name="T4" fmla="*/ 389 w 440"/>
              <a:gd name="T5" fmla="*/ 122 h 410"/>
              <a:gd name="T6" fmla="*/ 307 w 440"/>
              <a:gd name="T7" fmla="*/ 362 h 410"/>
              <a:gd name="T8" fmla="*/ 51 w 440"/>
              <a:gd name="T9" fmla="*/ 298 h 410"/>
            </a:gdLst>
            <a:ahLst/>
            <a:cxnLst>
              <a:cxn ang="0">
                <a:pos x="T0" y="T1"/>
              </a:cxn>
              <a:cxn ang="0">
                <a:pos x="T2" y="T3"/>
              </a:cxn>
              <a:cxn ang="0">
                <a:pos x="T4" y="T5"/>
              </a:cxn>
              <a:cxn ang="0">
                <a:pos x="T6" y="T7"/>
              </a:cxn>
              <a:cxn ang="0">
                <a:pos x="T8" y="T9"/>
              </a:cxn>
            </a:cxnLst>
            <a:rect l="0" t="0" r="r" b="b"/>
            <a:pathLst>
              <a:path w="440" h="410">
                <a:moveTo>
                  <a:pt x="51" y="298"/>
                </a:moveTo>
                <a:cubicBezTo>
                  <a:pt x="0" y="209"/>
                  <a:pt x="34" y="97"/>
                  <a:pt x="128" y="48"/>
                </a:cubicBezTo>
                <a:cubicBezTo>
                  <a:pt x="221" y="0"/>
                  <a:pt x="338" y="33"/>
                  <a:pt x="389" y="122"/>
                </a:cubicBezTo>
                <a:cubicBezTo>
                  <a:pt x="440" y="212"/>
                  <a:pt x="400" y="313"/>
                  <a:pt x="307" y="362"/>
                </a:cubicBezTo>
                <a:cubicBezTo>
                  <a:pt x="214" y="410"/>
                  <a:pt x="102" y="388"/>
                  <a:pt x="51" y="298"/>
                </a:cubicBezTo>
              </a:path>
            </a:pathLst>
          </a:custGeom>
          <a:solidFill>
            <a:srgbClr val="860864"/>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3" name="Oval 20">
            <a:extLst>
              <a:ext uri="{FF2B5EF4-FFF2-40B4-BE49-F238E27FC236}">
                <a16:creationId xmlns:a16="http://schemas.microsoft.com/office/drawing/2014/main" id="{EE9B31FA-25FA-4CC1-863F-BB3D69944DF9}"/>
              </a:ext>
            </a:extLst>
          </p:cNvPr>
          <p:cNvSpPr/>
          <p:nvPr/>
        </p:nvSpPr>
        <p:spPr>
          <a:xfrm>
            <a:off x="8897441" y="2431978"/>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42" name="Oval 20">
            <a:extLst>
              <a:ext uri="{FF2B5EF4-FFF2-40B4-BE49-F238E27FC236}">
                <a16:creationId xmlns:a16="http://schemas.microsoft.com/office/drawing/2014/main" id="{9C48F09E-5C3B-4BEA-BD8F-85A5DCB0325B}"/>
              </a:ext>
            </a:extLst>
          </p:cNvPr>
          <p:cNvSpPr/>
          <p:nvPr/>
        </p:nvSpPr>
        <p:spPr>
          <a:xfrm>
            <a:off x="8948712" y="4379462"/>
            <a:ext cx="1356623" cy="128178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43" name="Group 593">
            <a:extLst>
              <a:ext uri="{FF2B5EF4-FFF2-40B4-BE49-F238E27FC236}">
                <a16:creationId xmlns:a16="http://schemas.microsoft.com/office/drawing/2014/main" id="{67C133EB-22E0-4969-9281-8AB465BC7C0F}"/>
              </a:ext>
            </a:extLst>
          </p:cNvPr>
          <p:cNvGrpSpPr/>
          <p:nvPr/>
        </p:nvGrpSpPr>
        <p:grpSpPr>
          <a:xfrm>
            <a:off x="9336360" y="2864810"/>
            <a:ext cx="1104454" cy="1099929"/>
            <a:chOff x="8977313" y="4814890"/>
            <a:chExt cx="387350" cy="385763"/>
          </a:xfrm>
        </p:grpSpPr>
        <p:sp>
          <p:nvSpPr>
            <p:cNvPr id="45" name="Freeform 139">
              <a:extLst>
                <a:ext uri="{FF2B5EF4-FFF2-40B4-BE49-F238E27FC236}">
                  <a16:creationId xmlns:a16="http://schemas.microsoft.com/office/drawing/2014/main" id="{43A50868-B11A-4B4E-B994-D8E6CDE78933}"/>
                </a:ext>
              </a:extLst>
            </p:cNvPr>
            <p:cNvSpPr>
              <a:spLocks/>
            </p:cNvSpPr>
            <p:nvPr/>
          </p:nvSpPr>
          <p:spPr bwMode="auto">
            <a:xfrm>
              <a:off x="9261475" y="4814890"/>
              <a:ext cx="39687" cy="101600"/>
            </a:xfrm>
            <a:custGeom>
              <a:avLst/>
              <a:gdLst>
                <a:gd name="T0" fmla="*/ 10 w 21"/>
                <a:gd name="T1" fmla="*/ 53 h 53"/>
                <a:gd name="T2" fmla="*/ 21 w 21"/>
                <a:gd name="T3" fmla="*/ 43 h 53"/>
                <a:gd name="T4" fmla="*/ 21 w 21"/>
                <a:gd name="T5" fmla="*/ 10 h 53"/>
                <a:gd name="T6" fmla="*/ 10 w 21"/>
                <a:gd name="T7" fmla="*/ 0 h 53"/>
                <a:gd name="T8" fmla="*/ 0 w 21"/>
                <a:gd name="T9" fmla="*/ 10 h 53"/>
                <a:gd name="T10" fmla="*/ 0 w 21"/>
                <a:gd name="T11" fmla="*/ 43 h 53"/>
                <a:gd name="T12" fmla="*/ 10 w 21"/>
                <a:gd name="T13" fmla="*/ 53 h 53"/>
              </a:gdLst>
              <a:ahLst/>
              <a:cxnLst>
                <a:cxn ang="0">
                  <a:pos x="T0" y="T1"/>
                </a:cxn>
                <a:cxn ang="0">
                  <a:pos x="T2" y="T3"/>
                </a:cxn>
                <a:cxn ang="0">
                  <a:pos x="T4" y="T5"/>
                </a:cxn>
                <a:cxn ang="0">
                  <a:pos x="T6" y="T7"/>
                </a:cxn>
                <a:cxn ang="0">
                  <a:pos x="T8" y="T9"/>
                </a:cxn>
                <a:cxn ang="0">
                  <a:pos x="T10" y="T11"/>
                </a:cxn>
                <a:cxn ang="0">
                  <a:pos x="T12" y="T13"/>
                </a:cxn>
              </a:cxnLst>
              <a:rect l="0" t="0" r="r" b="b"/>
              <a:pathLst>
                <a:path w="21" h="53">
                  <a:moveTo>
                    <a:pt x="10" y="53"/>
                  </a:moveTo>
                  <a:cubicBezTo>
                    <a:pt x="16" y="53"/>
                    <a:pt x="21" y="49"/>
                    <a:pt x="21" y="43"/>
                  </a:cubicBezTo>
                  <a:cubicBezTo>
                    <a:pt x="21" y="10"/>
                    <a:pt x="21" y="10"/>
                    <a:pt x="21" y="10"/>
                  </a:cubicBezTo>
                  <a:cubicBezTo>
                    <a:pt x="21" y="4"/>
                    <a:pt x="16" y="0"/>
                    <a:pt x="10" y="0"/>
                  </a:cubicBezTo>
                  <a:cubicBezTo>
                    <a:pt x="5" y="0"/>
                    <a:pt x="0" y="4"/>
                    <a:pt x="0" y="10"/>
                  </a:cubicBezTo>
                  <a:cubicBezTo>
                    <a:pt x="0" y="43"/>
                    <a:pt x="0" y="43"/>
                    <a:pt x="0" y="43"/>
                  </a:cubicBezTo>
                  <a:cubicBezTo>
                    <a:pt x="0" y="49"/>
                    <a:pt x="5" y="53"/>
                    <a:pt x="10" y="53"/>
                  </a:cubicBezTo>
                  <a:close/>
                </a:path>
              </a:pathLst>
            </a:custGeom>
            <a:solidFill>
              <a:srgbClr val="15636B"/>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46" name="Freeform 140">
              <a:extLst>
                <a:ext uri="{FF2B5EF4-FFF2-40B4-BE49-F238E27FC236}">
                  <a16:creationId xmlns:a16="http://schemas.microsoft.com/office/drawing/2014/main" id="{B2833A7A-A0AC-47E4-89A5-1F08994E8C23}"/>
                </a:ext>
              </a:extLst>
            </p:cNvPr>
            <p:cNvSpPr>
              <a:spLocks/>
            </p:cNvSpPr>
            <p:nvPr/>
          </p:nvSpPr>
          <p:spPr bwMode="auto">
            <a:xfrm>
              <a:off x="9040813" y="4814890"/>
              <a:ext cx="39687" cy="101600"/>
            </a:xfrm>
            <a:custGeom>
              <a:avLst/>
              <a:gdLst>
                <a:gd name="T0" fmla="*/ 10 w 21"/>
                <a:gd name="T1" fmla="*/ 53 h 53"/>
                <a:gd name="T2" fmla="*/ 21 w 21"/>
                <a:gd name="T3" fmla="*/ 43 h 53"/>
                <a:gd name="T4" fmla="*/ 21 w 21"/>
                <a:gd name="T5" fmla="*/ 10 h 53"/>
                <a:gd name="T6" fmla="*/ 10 w 21"/>
                <a:gd name="T7" fmla="*/ 0 h 53"/>
                <a:gd name="T8" fmla="*/ 0 w 21"/>
                <a:gd name="T9" fmla="*/ 10 h 53"/>
                <a:gd name="T10" fmla="*/ 0 w 21"/>
                <a:gd name="T11" fmla="*/ 43 h 53"/>
                <a:gd name="T12" fmla="*/ 10 w 21"/>
                <a:gd name="T13" fmla="*/ 53 h 53"/>
              </a:gdLst>
              <a:ahLst/>
              <a:cxnLst>
                <a:cxn ang="0">
                  <a:pos x="T0" y="T1"/>
                </a:cxn>
                <a:cxn ang="0">
                  <a:pos x="T2" y="T3"/>
                </a:cxn>
                <a:cxn ang="0">
                  <a:pos x="T4" y="T5"/>
                </a:cxn>
                <a:cxn ang="0">
                  <a:pos x="T6" y="T7"/>
                </a:cxn>
                <a:cxn ang="0">
                  <a:pos x="T8" y="T9"/>
                </a:cxn>
                <a:cxn ang="0">
                  <a:pos x="T10" y="T11"/>
                </a:cxn>
                <a:cxn ang="0">
                  <a:pos x="T12" y="T13"/>
                </a:cxn>
              </a:cxnLst>
              <a:rect l="0" t="0" r="r" b="b"/>
              <a:pathLst>
                <a:path w="21" h="53">
                  <a:moveTo>
                    <a:pt x="10" y="53"/>
                  </a:moveTo>
                  <a:cubicBezTo>
                    <a:pt x="16" y="53"/>
                    <a:pt x="21" y="49"/>
                    <a:pt x="21" y="43"/>
                  </a:cubicBezTo>
                  <a:cubicBezTo>
                    <a:pt x="21" y="10"/>
                    <a:pt x="21" y="10"/>
                    <a:pt x="21" y="10"/>
                  </a:cubicBezTo>
                  <a:cubicBezTo>
                    <a:pt x="21" y="4"/>
                    <a:pt x="16" y="0"/>
                    <a:pt x="10" y="0"/>
                  </a:cubicBezTo>
                  <a:cubicBezTo>
                    <a:pt x="5" y="0"/>
                    <a:pt x="0" y="4"/>
                    <a:pt x="0" y="10"/>
                  </a:cubicBezTo>
                  <a:cubicBezTo>
                    <a:pt x="0" y="43"/>
                    <a:pt x="0" y="43"/>
                    <a:pt x="0" y="43"/>
                  </a:cubicBezTo>
                  <a:cubicBezTo>
                    <a:pt x="0" y="49"/>
                    <a:pt x="5" y="53"/>
                    <a:pt x="10" y="53"/>
                  </a:cubicBezTo>
                  <a:close/>
                </a:path>
              </a:pathLst>
            </a:custGeom>
            <a:solidFill>
              <a:srgbClr val="15636B"/>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47" name="Freeform 141">
              <a:extLst>
                <a:ext uri="{FF2B5EF4-FFF2-40B4-BE49-F238E27FC236}">
                  <a16:creationId xmlns:a16="http://schemas.microsoft.com/office/drawing/2014/main" id="{92366599-5927-4529-B643-CA4D77CAEF5C}"/>
                </a:ext>
              </a:extLst>
            </p:cNvPr>
            <p:cNvSpPr>
              <a:spLocks/>
            </p:cNvSpPr>
            <p:nvPr/>
          </p:nvSpPr>
          <p:spPr bwMode="auto">
            <a:xfrm>
              <a:off x="8977313" y="4851403"/>
              <a:ext cx="387350" cy="349250"/>
            </a:xfrm>
            <a:custGeom>
              <a:avLst/>
              <a:gdLst>
                <a:gd name="T0" fmla="*/ 183 w 202"/>
                <a:gd name="T1" fmla="*/ 0 h 181"/>
                <a:gd name="T2" fmla="*/ 171 w 202"/>
                <a:gd name="T3" fmla="*/ 0 h 181"/>
                <a:gd name="T4" fmla="*/ 171 w 202"/>
                <a:gd name="T5" fmla="*/ 12 h 181"/>
                <a:gd name="T6" fmla="*/ 175 w 202"/>
                <a:gd name="T7" fmla="*/ 23 h 181"/>
                <a:gd name="T8" fmla="*/ 158 w 202"/>
                <a:gd name="T9" fmla="*/ 39 h 181"/>
                <a:gd name="T10" fmla="*/ 142 w 202"/>
                <a:gd name="T11" fmla="*/ 23 h 181"/>
                <a:gd name="T12" fmla="*/ 146 w 202"/>
                <a:gd name="T13" fmla="*/ 12 h 181"/>
                <a:gd name="T14" fmla="*/ 146 w 202"/>
                <a:gd name="T15" fmla="*/ 0 h 181"/>
                <a:gd name="T16" fmla="*/ 56 w 202"/>
                <a:gd name="T17" fmla="*/ 0 h 181"/>
                <a:gd name="T18" fmla="*/ 56 w 202"/>
                <a:gd name="T19" fmla="*/ 12 h 181"/>
                <a:gd name="T20" fmla="*/ 60 w 202"/>
                <a:gd name="T21" fmla="*/ 23 h 181"/>
                <a:gd name="T22" fmla="*/ 43 w 202"/>
                <a:gd name="T23" fmla="*/ 39 h 181"/>
                <a:gd name="T24" fmla="*/ 27 w 202"/>
                <a:gd name="T25" fmla="*/ 23 h 181"/>
                <a:gd name="T26" fmla="*/ 31 w 202"/>
                <a:gd name="T27" fmla="*/ 12 h 181"/>
                <a:gd name="T28" fmla="*/ 31 w 202"/>
                <a:gd name="T29" fmla="*/ 0 h 181"/>
                <a:gd name="T30" fmla="*/ 18 w 202"/>
                <a:gd name="T31" fmla="*/ 0 h 181"/>
                <a:gd name="T32" fmla="*/ 0 w 202"/>
                <a:gd name="T33" fmla="*/ 19 h 181"/>
                <a:gd name="T34" fmla="*/ 0 w 202"/>
                <a:gd name="T35" fmla="*/ 163 h 181"/>
                <a:gd name="T36" fmla="*/ 18 w 202"/>
                <a:gd name="T37" fmla="*/ 181 h 181"/>
                <a:gd name="T38" fmla="*/ 183 w 202"/>
                <a:gd name="T39" fmla="*/ 181 h 181"/>
                <a:gd name="T40" fmla="*/ 202 w 202"/>
                <a:gd name="T41" fmla="*/ 163 h 181"/>
                <a:gd name="T42" fmla="*/ 202 w 202"/>
                <a:gd name="T43" fmla="*/ 19 h 181"/>
                <a:gd name="T44" fmla="*/ 183 w 202"/>
                <a:gd name="T45" fmla="*/ 0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02" h="181">
                  <a:moveTo>
                    <a:pt x="183" y="0"/>
                  </a:moveTo>
                  <a:cubicBezTo>
                    <a:pt x="171" y="0"/>
                    <a:pt x="171" y="0"/>
                    <a:pt x="171" y="0"/>
                  </a:cubicBezTo>
                  <a:cubicBezTo>
                    <a:pt x="171" y="12"/>
                    <a:pt x="171" y="12"/>
                    <a:pt x="171" y="12"/>
                  </a:cubicBezTo>
                  <a:cubicBezTo>
                    <a:pt x="173" y="15"/>
                    <a:pt x="175" y="19"/>
                    <a:pt x="175" y="23"/>
                  </a:cubicBezTo>
                  <a:cubicBezTo>
                    <a:pt x="175" y="32"/>
                    <a:pt x="167" y="39"/>
                    <a:pt x="158" y="39"/>
                  </a:cubicBezTo>
                  <a:cubicBezTo>
                    <a:pt x="149" y="39"/>
                    <a:pt x="142" y="32"/>
                    <a:pt x="142" y="23"/>
                  </a:cubicBezTo>
                  <a:cubicBezTo>
                    <a:pt x="142" y="19"/>
                    <a:pt x="143" y="15"/>
                    <a:pt x="146" y="12"/>
                  </a:cubicBezTo>
                  <a:cubicBezTo>
                    <a:pt x="146" y="0"/>
                    <a:pt x="146" y="0"/>
                    <a:pt x="146" y="0"/>
                  </a:cubicBezTo>
                  <a:cubicBezTo>
                    <a:pt x="56" y="0"/>
                    <a:pt x="56" y="0"/>
                    <a:pt x="56" y="0"/>
                  </a:cubicBezTo>
                  <a:cubicBezTo>
                    <a:pt x="56" y="12"/>
                    <a:pt x="56" y="12"/>
                    <a:pt x="56" y="12"/>
                  </a:cubicBezTo>
                  <a:cubicBezTo>
                    <a:pt x="58" y="15"/>
                    <a:pt x="60" y="19"/>
                    <a:pt x="60" y="23"/>
                  </a:cubicBezTo>
                  <a:cubicBezTo>
                    <a:pt x="60" y="32"/>
                    <a:pt x="52" y="39"/>
                    <a:pt x="43" y="39"/>
                  </a:cubicBezTo>
                  <a:cubicBezTo>
                    <a:pt x="34" y="39"/>
                    <a:pt x="27" y="32"/>
                    <a:pt x="27" y="23"/>
                  </a:cubicBezTo>
                  <a:cubicBezTo>
                    <a:pt x="27" y="19"/>
                    <a:pt x="28" y="15"/>
                    <a:pt x="31" y="12"/>
                  </a:cubicBezTo>
                  <a:cubicBezTo>
                    <a:pt x="31" y="0"/>
                    <a:pt x="31" y="0"/>
                    <a:pt x="31" y="0"/>
                  </a:cubicBezTo>
                  <a:cubicBezTo>
                    <a:pt x="18" y="0"/>
                    <a:pt x="18" y="0"/>
                    <a:pt x="18" y="0"/>
                  </a:cubicBezTo>
                  <a:cubicBezTo>
                    <a:pt x="8" y="0"/>
                    <a:pt x="0" y="9"/>
                    <a:pt x="0" y="19"/>
                  </a:cubicBezTo>
                  <a:cubicBezTo>
                    <a:pt x="0" y="163"/>
                    <a:pt x="0" y="163"/>
                    <a:pt x="0" y="163"/>
                  </a:cubicBezTo>
                  <a:cubicBezTo>
                    <a:pt x="0" y="173"/>
                    <a:pt x="8" y="181"/>
                    <a:pt x="18" y="181"/>
                  </a:cubicBezTo>
                  <a:cubicBezTo>
                    <a:pt x="183" y="181"/>
                    <a:pt x="183" y="181"/>
                    <a:pt x="183" y="181"/>
                  </a:cubicBezTo>
                  <a:cubicBezTo>
                    <a:pt x="193" y="181"/>
                    <a:pt x="202" y="173"/>
                    <a:pt x="202" y="163"/>
                  </a:cubicBezTo>
                  <a:cubicBezTo>
                    <a:pt x="202" y="19"/>
                    <a:pt x="202" y="19"/>
                    <a:pt x="202" y="19"/>
                  </a:cubicBezTo>
                  <a:cubicBezTo>
                    <a:pt x="202" y="9"/>
                    <a:pt x="193" y="0"/>
                    <a:pt x="183" y="0"/>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48" name="Freeform 142">
              <a:extLst>
                <a:ext uri="{FF2B5EF4-FFF2-40B4-BE49-F238E27FC236}">
                  <a16:creationId xmlns:a16="http://schemas.microsoft.com/office/drawing/2014/main" id="{01CF46AF-0317-4125-96D8-6D397A9E46E4}"/>
                </a:ext>
              </a:extLst>
            </p:cNvPr>
            <p:cNvSpPr>
              <a:spLocks/>
            </p:cNvSpPr>
            <p:nvPr/>
          </p:nvSpPr>
          <p:spPr bwMode="auto">
            <a:xfrm>
              <a:off x="8999538" y="4954590"/>
              <a:ext cx="341312" cy="223838"/>
            </a:xfrm>
            <a:custGeom>
              <a:avLst/>
              <a:gdLst>
                <a:gd name="T0" fmla="*/ 177 w 177"/>
                <a:gd name="T1" fmla="*/ 97 h 115"/>
                <a:gd name="T2" fmla="*/ 159 w 177"/>
                <a:gd name="T3" fmla="*/ 115 h 115"/>
                <a:gd name="T4" fmla="*/ 19 w 177"/>
                <a:gd name="T5" fmla="*/ 115 h 115"/>
                <a:gd name="T6" fmla="*/ 0 w 177"/>
                <a:gd name="T7" fmla="*/ 97 h 115"/>
                <a:gd name="T8" fmla="*/ 0 w 177"/>
                <a:gd name="T9" fmla="*/ 0 h 115"/>
                <a:gd name="T10" fmla="*/ 177 w 177"/>
                <a:gd name="T11" fmla="*/ 0 h 115"/>
                <a:gd name="T12" fmla="*/ 177 w 177"/>
                <a:gd name="T13" fmla="*/ 97 h 115"/>
              </a:gdLst>
              <a:ahLst/>
              <a:cxnLst>
                <a:cxn ang="0">
                  <a:pos x="T0" y="T1"/>
                </a:cxn>
                <a:cxn ang="0">
                  <a:pos x="T2" y="T3"/>
                </a:cxn>
                <a:cxn ang="0">
                  <a:pos x="T4" y="T5"/>
                </a:cxn>
                <a:cxn ang="0">
                  <a:pos x="T6" y="T7"/>
                </a:cxn>
                <a:cxn ang="0">
                  <a:pos x="T8" y="T9"/>
                </a:cxn>
                <a:cxn ang="0">
                  <a:pos x="T10" y="T11"/>
                </a:cxn>
                <a:cxn ang="0">
                  <a:pos x="T12" y="T13"/>
                </a:cxn>
              </a:cxnLst>
              <a:rect l="0" t="0" r="r" b="b"/>
              <a:pathLst>
                <a:path w="177" h="115">
                  <a:moveTo>
                    <a:pt x="177" y="97"/>
                  </a:moveTo>
                  <a:cubicBezTo>
                    <a:pt x="177" y="107"/>
                    <a:pt x="169" y="115"/>
                    <a:pt x="159" y="115"/>
                  </a:cubicBezTo>
                  <a:cubicBezTo>
                    <a:pt x="19" y="115"/>
                    <a:pt x="19" y="115"/>
                    <a:pt x="19" y="115"/>
                  </a:cubicBezTo>
                  <a:cubicBezTo>
                    <a:pt x="9" y="115"/>
                    <a:pt x="0" y="107"/>
                    <a:pt x="0" y="97"/>
                  </a:cubicBezTo>
                  <a:cubicBezTo>
                    <a:pt x="0" y="0"/>
                    <a:pt x="0" y="0"/>
                    <a:pt x="0" y="0"/>
                  </a:cubicBezTo>
                  <a:cubicBezTo>
                    <a:pt x="177" y="0"/>
                    <a:pt x="177" y="0"/>
                    <a:pt x="177" y="0"/>
                  </a:cubicBezTo>
                  <a:lnTo>
                    <a:pt x="177" y="97"/>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9" name="Rectangle 143">
              <a:extLst>
                <a:ext uri="{FF2B5EF4-FFF2-40B4-BE49-F238E27FC236}">
                  <a16:creationId xmlns:a16="http://schemas.microsoft.com/office/drawing/2014/main" id="{1C0CBE23-9C57-4B67-A645-CC02C00E2D4B}"/>
                </a:ext>
              </a:extLst>
            </p:cNvPr>
            <p:cNvSpPr>
              <a:spLocks noChangeArrowheads="1"/>
            </p:cNvSpPr>
            <p:nvPr/>
          </p:nvSpPr>
          <p:spPr bwMode="auto">
            <a:xfrm>
              <a:off x="9209088" y="5106991"/>
              <a:ext cx="41275" cy="38100"/>
            </a:xfrm>
            <a:prstGeom prst="rect">
              <a:avLst/>
            </a:prstGeom>
            <a:solidFill>
              <a:srgbClr val="7E39BA"/>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50" name="Rectangle 144">
              <a:extLst>
                <a:ext uri="{FF2B5EF4-FFF2-40B4-BE49-F238E27FC236}">
                  <a16:creationId xmlns:a16="http://schemas.microsoft.com/office/drawing/2014/main" id="{B06101E5-E663-4737-842B-08AAFBDDAA0C}"/>
                </a:ext>
              </a:extLst>
            </p:cNvPr>
            <p:cNvSpPr>
              <a:spLocks noChangeArrowheads="1"/>
            </p:cNvSpPr>
            <p:nvPr/>
          </p:nvSpPr>
          <p:spPr bwMode="auto">
            <a:xfrm>
              <a:off x="9209088" y="5046666"/>
              <a:ext cx="41275" cy="39688"/>
            </a:xfrm>
            <a:prstGeom prst="rect">
              <a:avLst/>
            </a:prstGeom>
            <a:solidFill>
              <a:srgbClr val="7E39BA"/>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51" name="Rectangle 145">
              <a:extLst>
                <a:ext uri="{FF2B5EF4-FFF2-40B4-BE49-F238E27FC236}">
                  <a16:creationId xmlns:a16="http://schemas.microsoft.com/office/drawing/2014/main" id="{4B54AC5A-B650-4F89-90D7-25FB9C361E81}"/>
                </a:ext>
              </a:extLst>
            </p:cNvPr>
            <p:cNvSpPr>
              <a:spLocks noChangeArrowheads="1"/>
            </p:cNvSpPr>
            <p:nvPr/>
          </p:nvSpPr>
          <p:spPr bwMode="auto">
            <a:xfrm>
              <a:off x="9269413" y="5046666"/>
              <a:ext cx="39687" cy="39688"/>
            </a:xfrm>
            <a:prstGeom prst="rect">
              <a:avLst/>
            </a:prstGeom>
            <a:solidFill>
              <a:srgbClr val="7E39BA"/>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52" name="Rectangle 146">
              <a:extLst>
                <a:ext uri="{FF2B5EF4-FFF2-40B4-BE49-F238E27FC236}">
                  <a16:creationId xmlns:a16="http://schemas.microsoft.com/office/drawing/2014/main" id="{13F25A06-162F-4E29-BDD7-6ADCB4F9B653}"/>
                </a:ext>
              </a:extLst>
            </p:cNvPr>
            <p:cNvSpPr>
              <a:spLocks noChangeArrowheads="1"/>
            </p:cNvSpPr>
            <p:nvPr/>
          </p:nvSpPr>
          <p:spPr bwMode="auto">
            <a:xfrm>
              <a:off x="9209088" y="4986340"/>
              <a:ext cx="41275" cy="41275"/>
            </a:xfrm>
            <a:prstGeom prst="rect">
              <a:avLst/>
            </a:prstGeom>
            <a:solidFill>
              <a:srgbClr val="7E39BA"/>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53" name="Rectangle 147">
              <a:extLst>
                <a:ext uri="{FF2B5EF4-FFF2-40B4-BE49-F238E27FC236}">
                  <a16:creationId xmlns:a16="http://schemas.microsoft.com/office/drawing/2014/main" id="{CDBFDDFF-C872-4F4B-AEA6-BAF1F83822EF}"/>
                </a:ext>
              </a:extLst>
            </p:cNvPr>
            <p:cNvSpPr>
              <a:spLocks noChangeArrowheads="1"/>
            </p:cNvSpPr>
            <p:nvPr/>
          </p:nvSpPr>
          <p:spPr bwMode="auto">
            <a:xfrm>
              <a:off x="9269413" y="4986340"/>
              <a:ext cx="39687" cy="41275"/>
            </a:xfrm>
            <a:prstGeom prst="rect">
              <a:avLst/>
            </a:prstGeom>
            <a:solidFill>
              <a:srgbClr val="7E39BA"/>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54" name="Rectangle 148">
              <a:extLst>
                <a:ext uri="{FF2B5EF4-FFF2-40B4-BE49-F238E27FC236}">
                  <a16:creationId xmlns:a16="http://schemas.microsoft.com/office/drawing/2014/main" id="{5642CE43-6595-43E7-A0EF-DBABA63C4593}"/>
                </a:ext>
              </a:extLst>
            </p:cNvPr>
            <p:cNvSpPr>
              <a:spLocks noChangeArrowheads="1"/>
            </p:cNvSpPr>
            <p:nvPr/>
          </p:nvSpPr>
          <p:spPr bwMode="auto">
            <a:xfrm>
              <a:off x="9032875" y="5106991"/>
              <a:ext cx="38100" cy="38100"/>
            </a:xfrm>
            <a:prstGeom prst="rect">
              <a:avLst/>
            </a:prstGeom>
            <a:solidFill>
              <a:srgbClr val="7E39BA"/>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55" name="Rectangle 149">
              <a:extLst>
                <a:ext uri="{FF2B5EF4-FFF2-40B4-BE49-F238E27FC236}">
                  <a16:creationId xmlns:a16="http://schemas.microsoft.com/office/drawing/2014/main" id="{966AA4DC-4A8C-4EAB-8282-2331DF8B57B9}"/>
                </a:ext>
              </a:extLst>
            </p:cNvPr>
            <p:cNvSpPr>
              <a:spLocks noChangeArrowheads="1"/>
            </p:cNvSpPr>
            <p:nvPr/>
          </p:nvSpPr>
          <p:spPr bwMode="auto">
            <a:xfrm>
              <a:off x="9032875" y="5046666"/>
              <a:ext cx="38100" cy="39688"/>
            </a:xfrm>
            <a:prstGeom prst="rect">
              <a:avLst/>
            </a:prstGeom>
            <a:solidFill>
              <a:srgbClr val="7E39BA"/>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56" name="Rectangle 150">
              <a:extLst>
                <a:ext uri="{FF2B5EF4-FFF2-40B4-BE49-F238E27FC236}">
                  <a16:creationId xmlns:a16="http://schemas.microsoft.com/office/drawing/2014/main" id="{D42FC79F-C820-4B0E-8804-44121CB33696}"/>
                </a:ext>
              </a:extLst>
            </p:cNvPr>
            <p:cNvSpPr>
              <a:spLocks noChangeArrowheads="1"/>
            </p:cNvSpPr>
            <p:nvPr/>
          </p:nvSpPr>
          <p:spPr bwMode="auto">
            <a:xfrm>
              <a:off x="9093200" y="5106991"/>
              <a:ext cx="38100" cy="38100"/>
            </a:xfrm>
            <a:prstGeom prst="rect">
              <a:avLst/>
            </a:prstGeom>
            <a:solidFill>
              <a:srgbClr val="7E39BA"/>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57" name="Rectangle 151">
              <a:extLst>
                <a:ext uri="{FF2B5EF4-FFF2-40B4-BE49-F238E27FC236}">
                  <a16:creationId xmlns:a16="http://schemas.microsoft.com/office/drawing/2014/main" id="{3AC253A8-10B1-4B2F-957A-73B5E590344D}"/>
                </a:ext>
              </a:extLst>
            </p:cNvPr>
            <p:cNvSpPr>
              <a:spLocks noChangeArrowheads="1"/>
            </p:cNvSpPr>
            <p:nvPr/>
          </p:nvSpPr>
          <p:spPr bwMode="auto">
            <a:xfrm>
              <a:off x="9093200" y="5046666"/>
              <a:ext cx="38100" cy="39688"/>
            </a:xfrm>
            <a:prstGeom prst="rect">
              <a:avLst/>
            </a:prstGeom>
            <a:solidFill>
              <a:srgbClr val="7E39BA"/>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58" name="Rectangle 152">
              <a:extLst>
                <a:ext uri="{FF2B5EF4-FFF2-40B4-BE49-F238E27FC236}">
                  <a16:creationId xmlns:a16="http://schemas.microsoft.com/office/drawing/2014/main" id="{39B88D19-0585-463E-971E-EE9E7D89287A}"/>
                </a:ext>
              </a:extLst>
            </p:cNvPr>
            <p:cNvSpPr>
              <a:spLocks noChangeArrowheads="1"/>
            </p:cNvSpPr>
            <p:nvPr/>
          </p:nvSpPr>
          <p:spPr bwMode="auto">
            <a:xfrm>
              <a:off x="9151938" y="5046666"/>
              <a:ext cx="38100" cy="39688"/>
            </a:xfrm>
            <a:prstGeom prst="rect">
              <a:avLst/>
            </a:prstGeom>
            <a:solidFill>
              <a:srgbClr val="7E39BA"/>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59" name="Rectangle 153">
              <a:extLst>
                <a:ext uri="{FF2B5EF4-FFF2-40B4-BE49-F238E27FC236}">
                  <a16:creationId xmlns:a16="http://schemas.microsoft.com/office/drawing/2014/main" id="{0B0A0C88-146C-4EDA-B1C4-AB86E4607841}"/>
                </a:ext>
              </a:extLst>
            </p:cNvPr>
            <p:cNvSpPr>
              <a:spLocks noChangeArrowheads="1"/>
            </p:cNvSpPr>
            <p:nvPr/>
          </p:nvSpPr>
          <p:spPr bwMode="auto">
            <a:xfrm>
              <a:off x="9151938" y="5106991"/>
              <a:ext cx="38100" cy="38100"/>
            </a:xfrm>
            <a:prstGeom prst="rect">
              <a:avLst/>
            </a:prstGeom>
            <a:solidFill>
              <a:srgbClr val="7E39BA"/>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60" name="Rectangle 154">
              <a:extLst>
                <a:ext uri="{FF2B5EF4-FFF2-40B4-BE49-F238E27FC236}">
                  <a16:creationId xmlns:a16="http://schemas.microsoft.com/office/drawing/2014/main" id="{E488CF25-F2D2-4BDD-98BB-B890EFA4D0F2}"/>
                </a:ext>
              </a:extLst>
            </p:cNvPr>
            <p:cNvSpPr>
              <a:spLocks noChangeArrowheads="1"/>
            </p:cNvSpPr>
            <p:nvPr/>
          </p:nvSpPr>
          <p:spPr bwMode="auto">
            <a:xfrm>
              <a:off x="9151938" y="4986340"/>
              <a:ext cx="38100" cy="41275"/>
            </a:xfrm>
            <a:prstGeom prst="rect">
              <a:avLst/>
            </a:prstGeom>
            <a:solidFill>
              <a:srgbClr val="7E39BA"/>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61" name="Freeform 155">
              <a:extLst>
                <a:ext uri="{FF2B5EF4-FFF2-40B4-BE49-F238E27FC236}">
                  <a16:creationId xmlns:a16="http://schemas.microsoft.com/office/drawing/2014/main" id="{9A90D36D-1404-4C1D-826F-F481EAB1098A}"/>
                </a:ext>
              </a:extLst>
            </p:cNvPr>
            <p:cNvSpPr>
              <a:spLocks/>
            </p:cNvSpPr>
            <p:nvPr/>
          </p:nvSpPr>
          <p:spPr bwMode="auto">
            <a:xfrm>
              <a:off x="9305925" y="4851403"/>
              <a:ext cx="58737" cy="80963"/>
            </a:xfrm>
            <a:custGeom>
              <a:avLst/>
              <a:gdLst>
                <a:gd name="T0" fmla="*/ 0 w 37"/>
                <a:gd name="T1" fmla="*/ 0 h 51"/>
                <a:gd name="T2" fmla="*/ 37 w 37"/>
                <a:gd name="T3" fmla="*/ 0 h 51"/>
                <a:gd name="T4" fmla="*/ 37 w 37"/>
                <a:gd name="T5" fmla="*/ 51 h 51"/>
                <a:gd name="T6" fmla="*/ 0 w 37"/>
                <a:gd name="T7" fmla="*/ 0 h 51"/>
              </a:gdLst>
              <a:ahLst/>
              <a:cxnLst>
                <a:cxn ang="0">
                  <a:pos x="T0" y="T1"/>
                </a:cxn>
                <a:cxn ang="0">
                  <a:pos x="T2" y="T3"/>
                </a:cxn>
                <a:cxn ang="0">
                  <a:pos x="T4" y="T5"/>
                </a:cxn>
                <a:cxn ang="0">
                  <a:pos x="T6" y="T7"/>
                </a:cxn>
              </a:cxnLst>
              <a:rect l="0" t="0" r="r" b="b"/>
              <a:pathLst>
                <a:path w="37" h="51">
                  <a:moveTo>
                    <a:pt x="0" y="0"/>
                  </a:moveTo>
                  <a:lnTo>
                    <a:pt x="37" y="0"/>
                  </a:lnTo>
                  <a:lnTo>
                    <a:pt x="37" y="51"/>
                  </a:lnTo>
                  <a:lnTo>
                    <a:pt x="0" y="0"/>
                  </a:lnTo>
                  <a:close/>
                </a:path>
              </a:pathLst>
            </a:custGeom>
            <a:solidFill>
              <a:srgbClr val="EF395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2" name="Freeform 156">
              <a:extLst>
                <a:ext uri="{FF2B5EF4-FFF2-40B4-BE49-F238E27FC236}">
                  <a16:creationId xmlns:a16="http://schemas.microsoft.com/office/drawing/2014/main" id="{1A350FB8-3B36-4B6C-9068-20A39A399B2F}"/>
                </a:ext>
              </a:extLst>
            </p:cNvPr>
            <p:cNvSpPr>
              <a:spLocks/>
            </p:cNvSpPr>
            <p:nvPr/>
          </p:nvSpPr>
          <p:spPr bwMode="auto">
            <a:xfrm>
              <a:off x="9305925" y="4851403"/>
              <a:ext cx="58737" cy="80963"/>
            </a:xfrm>
            <a:custGeom>
              <a:avLst/>
              <a:gdLst>
                <a:gd name="T0" fmla="*/ 0 w 37"/>
                <a:gd name="T1" fmla="*/ 0 h 51"/>
                <a:gd name="T2" fmla="*/ 37 w 37"/>
                <a:gd name="T3" fmla="*/ 0 h 51"/>
                <a:gd name="T4" fmla="*/ 37 w 37"/>
                <a:gd name="T5" fmla="*/ 51 h 51"/>
              </a:gdLst>
              <a:ahLst/>
              <a:cxnLst>
                <a:cxn ang="0">
                  <a:pos x="T0" y="T1"/>
                </a:cxn>
                <a:cxn ang="0">
                  <a:pos x="T2" y="T3"/>
                </a:cxn>
                <a:cxn ang="0">
                  <a:pos x="T4" y="T5"/>
                </a:cxn>
              </a:cxnLst>
              <a:rect l="0" t="0" r="r" b="b"/>
              <a:pathLst>
                <a:path w="37" h="51">
                  <a:moveTo>
                    <a:pt x="0" y="0"/>
                  </a:moveTo>
                  <a:lnTo>
                    <a:pt x="37" y="0"/>
                  </a:lnTo>
                  <a:lnTo>
                    <a:pt x="37" y="51"/>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1856327624"/>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ytuł 1">
            <a:extLst>
              <a:ext uri="{FF2B5EF4-FFF2-40B4-BE49-F238E27FC236}">
                <a16:creationId xmlns:a16="http://schemas.microsoft.com/office/drawing/2014/main" id="{DEA935F7-2904-40FF-A73D-3CCC59AF658E}"/>
              </a:ext>
            </a:extLst>
          </p:cNvPr>
          <p:cNvSpPr>
            <a:spLocks noGrp="1"/>
          </p:cNvSpPr>
          <p:nvPr>
            <p:ph type="title"/>
          </p:nvPr>
        </p:nvSpPr>
        <p:spPr/>
        <p:txBody>
          <a:bodyPr/>
          <a:lstStyle/>
          <a:p>
            <a:r>
              <a:rPr lang="en-US" sz="3200" dirty="0"/>
              <a:t>Conditional ref expressions</a:t>
            </a:r>
          </a:p>
        </p:txBody>
      </p:sp>
      <p:sp>
        <p:nvSpPr>
          <p:cNvPr id="4" name="Symbol zastępczy tekstu 3">
            <a:extLst>
              <a:ext uri="{FF2B5EF4-FFF2-40B4-BE49-F238E27FC236}">
                <a16:creationId xmlns:a16="http://schemas.microsoft.com/office/drawing/2014/main" id="{5AE649E8-E6A2-4473-82C4-13CDFACEAAA5}"/>
              </a:ext>
            </a:extLst>
          </p:cNvPr>
          <p:cNvSpPr>
            <a:spLocks noGrp="1"/>
          </p:cNvSpPr>
          <p:nvPr>
            <p:ph type="body" sz="quarter" idx="10"/>
          </p:nvPr>
        </p:nvSpPr>
        <p:spPr/>
        <p:txBody>
          <a:bodyPr/>
          <a:lstStyle/>
          <a:p>
            <a:endParaRPr lang="en-US" dirty="0"/>
          </a:p>
        </p:txBody>
      </p:sp>
      <p:sp>
        <p:nvSpPr>
          <p:cNvPr id="5" name="Symbol zastępczy tekstu 4">
            <a:extLst>
              <a:ext uri="{FF2B5EF4-FFF2-40B4-BE49-F238E27FC236}">
                <a16:creationId xmlns:a16="http://schemas.microsoft.com/office/drawing/2014/main" id="{026454BF-D147-4265-B180-0D1A4FC7A23F}"/>
              </a:ext>
            </a:extLst>
          </p:cNvPr>
          <p:cNvSpPr>
            <a:spLocks noGrp="1"/>
          </p:cNvSpPr>
          <p:nvPr>
            <p:ph type="body" sz="quarter" idx="11"/>
          </p:nvPr>
        </p:nvSpPr>
        <p:spPr/>
        <p:txBody>
          <a:bodyPr/>
          <a:lstStyle/>
          <a:p>
            <a:r>
              <a:rPr lang="en-US" dirty="0"/>
              <a:t>C# 7.2</a:t>
            </a:r>
          </a:p>
        </p:txBody>
      </p:sp>
      <p:sp>
        <p:nvSpPr>
          <p:cNvPr id="3" name="Symbol zastępczy tekstu 2">
            <a:extLst>
              <a:ext uri="{FF2B5EF4-FFF2-40B4-BE49-F238E27FC236}">
                <a16:creationId xmlns:a16="http://schemas.microsoft.com/office/drawing/2014/main" id="{724E4C15-2676-4F98-B111-3C989F7AE239}"/>
              </a:ext>
            </a:extLst>
          </p:cNvPr>
          <p:cNvSpPr>
            <a:spLocks noGrp="1"/>
          </p:cNvSpPr>
          <p:nvPr>
            <p:ph type="body" sz="quarter" idx="12"/>
          </p:nvPr>
        </p:nvSpPr>
        <p:spPr/>
        <p:txBody>
          <a:bodyPr/>
          <a:lstStyle/>
          <a:p>
            <a:r>
              <a:rPr lang="en-US" dirty="0"/>
              <a:t>2</a:t>
            </a:r>
          </a:p>
        </p:txBody>
      </p:sp>
    </p:spTree>
    <p:extLst>
      <p:ext uri="{BB962C8B-B14F-4D97-AF65-F5344CB8AC3E}">
        <p14:creationId xmlns:p14="http://schemas.microsoft.com/office/powerpoint/2010/main" val="2320494401"/>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ymbol zastępczy tekstu 5">
            <a:extLst>
              <a:ext uri="{FF2B5EF4-FFF2-40B4-BE49-F238E27FC236}">
                <a16:creationId xmlns:a16="http://schemas.microsoft.com/office/drawing/2014/main" id="{EC19D1F0-CA19-48E4-B6B7-FE7D3388EB92}"/>
              </a:ext>
            </a:extLst>
          </p:cNvPr>
          <p:cNvSpPr>
            <a:spLocks noGrp="1"/>
          </p:cNvSpPr>
          <p:nvPr>
            <p:ph type="body" sz="quarter" idx="11"/>
          </p:nvPr>
        </p:nvSpPr>
        <p:spPr/>
        <p:txBody>
          <a:bodyPr/>
          <a:lstStyle/>
          <a:p>
            <a:r>
              <a:rPr lang="en-US" dirty="0"/>
              <a:t>What’s new </a:t>
            </a:r>
            <a:br>
              <a:rPr lang="en-US" dirty="0"/>
            </a:br>
            <a:r>
              <a:rPr lang="en-US" dirty="0"/>
              <a:t>in C# 7.3</a:t>
            </a:r>
          </a:p>
        </p:txBody>
      </p:sp>
      <p:sp>
        <p:nvSpPr>
          <p:cNvPr id="28" name="Freeform 37">
            <a:extLst>
              <a:ext uri="{FF2B5EF4-FFF2-40B4-BE49-F238E27FC236}">
                <a16:creationId xmlns:a16="http://schemas.microsoft.com/office/drawing/2014/main" id="{C163FEF7-EB42-4298-AED9-19E8D9ACF2E4}"/>
              </a:ext>
            </a:extLst>
          </p:cNvPr>
          <p:cNvSpPr>
            <a:spLocks/>
          </p:cNvSpPr>
          <p:nvPr/>
        </p:nvSpPr>
        <p:spPr bwMode="auto">
          <a:xfrm>
            <a:off x="1703512" y="800837"/>
            <a:ext cx="844550" cy="793750"/>
          </a:xfrm>
          <a:custGeom>
            <a:avLst/>
            <a:gdLst>
              <a:gd name="T0" fmla="*/ 51 w 440"/>
              <a:gd name="T1" fmla="*/ 298 h 410"/>
              <a:gd name="T2" fmla="*/ 128 w 440"/>
              <a:gd name="T3" fmla="*/ 48 h 410"/>
              <a:gd name="T4" fmla="*/ 389 w 440"/>
              <a:gd name="T5" fmla="*/ 122 h 410"/>
              <a:gd name="T6" fmla="*/ 307 w 440"/>
              <a:gd name="T7" fmla="*/ 362 h 410"/>
              <a:gd name="T8" fmla="*/ 51 w 440"/>
              <a:gd name="T9" fmla="*/ 298 h 410"/>
            </a:gdLst>
            <a:ahLst/>
            <a:cxnLst>
              <a:cxn ang="0">
                <a:pos x="T0" y="T1"/>
              </a:cxn>
              <a:cxn ang="0">
                <a:pos x="T2" y="T3"/>
              </a:cxn>
              <a:cxn ang="0">
                <a:pos x="T4" y="T5"/>
              </a:cxn>
              <a:cxn ang="0">
                <a:pos x="T6" y="T7"/>
              </a:cxn>
              <a:cxn ang="0">
                <a:pos x="T8" y="T9"/>
              </a:cxn>
            </a:cxnLst>
            <a:rect l="0" t="0" r="r" b="b"/>
            <a:pathLst>
              <a:path w="440" h="410">
                <a:moveTo>
                  <a:pt x="51" y="298"/>
                </a:moveTo>
                <a:cubicBezTo>
                  <a:pt x="0" y="209"/>
                  <a:pt x="34" y="97"/>
                  <a:pt x="128" y="48"/>
                </a:cubicBezTo>
                <a:cubicBezTo>
                  <a:pt x="221" y="0"/>
                  <a:pt x="338" y="33"/>
                  <a:pt x="389" y="122"/>
                </a:cubicBezTo>
                <a:cubicBezTo>
                  <a:pt x="440" y="212"/>
                  <a:pt x="400" y="313"/>
                  <a:pt x="307" y="362"/>
                </a:cubicBezTo>
                <a:cubicBezTo>
                  <a:pt x="214" y="410"/>
                  <a:pt x="102" y="388"/>
                  <a:pt x="51" y="298"/>
                </a:cubicBezTo>
              </a:path>
            </a:pathLst>
          </a:custGeom>
          <a:solidFill>
            <a:srgbClr val="93E416"/>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3" name="Oval 20">
            <a:extLst>
              <a:ext uri="{FF2B5EF4-FFF2-40B4-BE49-F238E27FC236}">
                <a16:creationId xmlns:a16="http://schemas.microsoft.com/office/drawing/2014/main" id="{EE9B31FA-25FA-4CC1-863F-BB3D69944DF9}"/>
              </a:ext>
            </a:extLst>
          </p:cNvPr>
          <p:cNvSpPr/>
          <p:nvPr/>
        </p:nvSpPr>
        <p:spPr>
          <a:xfrm>
            <a:off x="499463" y="1441730"/>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42" name="Oval 20">
            <a:extLst>
              <a:ext uri="{FF2B5EF4-FFF2-40B4-BE49-F238E27FC236}">
                <a16:creationId xmlns:a16="http://schemas.microsoft.com/office/drawing/2014/main" id="{9C48F09E-5C3B-4BEA-BD8F-85A5DCB0325B}"/>
              </a:ext>
            </a:extLst>
          </p:cNvPr>
          <p:cNvSpPr/>
          <p:nvPr/>
        </p:nvSpPr>
        <p:spPr>
          <a:xfrm>
            <a:off x="2380063" y="997006"/>
            <a:ext cx="1356623" cy="128178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1063448784"/>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pl-PL" dirty="0"/>
              <a:t>Agenda</a:t>
            </a:r>
            <a:endParaRPr lang="en-GB" dirty="0"/>
          </a:p>
        </p:txBody>
      </p:sp>
      <p:sp>
        <p:nvSpPr>
          <p:cNvPr id="5" name="Text Placeholder 4"/>
          <p:cNvSpPr>
            <a:spLocks noGrp="1"/>
          </p:cNvSpPr>
          <p:nvPr>
            <p:ph type="body" sz="quarter" idx="10"/>
          </p:nvPr>
        </p:nvSpPr>
        <p:spPr/>
        <p:txBody>
          <a:bodyPr/>
          <a:lstStyle/>
          <a:p>
            <a:pPr lvl="1"/>
            <a:r>
              <a:rPr lang="en-US" dirty="0">
                <a:solidFill>
                  <a:schemeClr val="bg1">
                    <a:lumMod val="95000"/>
                  </a:schemeClr>
                </a:solidFill>
              </a:rPr>
              <a:t>What’s new in C# 7.3</a:t>
            </a:r>
          </a:p>
          <a:p>
            <a:pPr lvl="2"/>
            <a:r>
              <a:rPr lang="en-US" dirty="0">
                <a:solidFill>
                  <a:schemeClr val="bg1">
                    <a:lumMod val="95000"/>
                  </a:schemeClr>
                </a:solidFill>
              </a:rPr>
              <a:t>Enabling more efficient safe code,</a:t>
            </a:r>
          </a:p>
          <a:p>
            <a:pPr lvl="3"/>
            <a:r>
              <a:rPr lang="en-US" dirty="0">
                <a:solidFill>
                  <a:schemeClr val="bg1">
                    <a:lumMod val="95000"/>
                  </a:schemeClr>
                </a:solidFill>
              </a:rPr>
              <a:t>fixed fields without pinning access,</a:t>
            </a:r>
          </a:p>
          <a:p>
            <a:pPr lvl="3"/>
            <a:r>
              <a:rPr lang="en-US" dirty="0">
                <a:solidFill>
                  <a:schemeClr val="bg1">
                    <a:lumMod val="95000"/>
                  </a:schemeClr>
                </a:solidFill>
              </a:rPr>
              <a:t>local ref variables reassignment,</a:t>
            </a:r>
          </a:p>
          <a:p>
            <a:pPr lvl="3"/>
            <a:r>
              <a:rPr lang="en-US" dirty="0">
                <a:solidFill>
                  <a:schemeClr val="bg1">
                    <a:lumMod val="95000"/>
                  </a:schemeClr>
                </a:solidFill>
              </a:rPr>
              <a:t>array initializers with </a:t>
            </a:r>
            <a:r>
              <a:rPr lang="en-US" dirty="0" err="1">
                <a:solidFill>
                  <a:schemeClr val="bg1">
                    <a:lumMod val="95000"/>
                  </a:schemeClr>
                </a:solidFill>
              </a:rPr>
              <a:t>stackalloc</a:t>
            </a:r>
            <a:r>
              <a:rPr lang="en-US" dirty="0">
                <a:solidFill>
                  <a:schemeClr val="bg1">
                    <a:lumMod val="95000"/>
                  </a:schemeClr>
                </a:solidFill>
              </a:rPr>
              <a:t>,</a:t>
            </a:r>
          </a:p>
          <a:p>
            <a:pPr lvl="3"/>
            <a:r>
              <a:rPr lang="en-US" dirty="0">
                <a:solidFill>
                  <a:schemeClr val="bg1">
                    <a:lumMod val="95000"/>
                  </a:schemeClr>
                </a:solidFill>
              </a:rPr>
              <a:t>extended fixed support for types,</a:t>
            </a:r>
          </a:p>
          <a:p>
            <a:pPr lvl="3"/>
            <a:r>
              <a:rPr lang="en-US" dirty="0">
                <a:solidFill>
                  <a:schemeClr val="bg1">
                    <a:lumMod val="95000"/>
                  </a:schemeClr>
                </a:solidFill>
              </a:rPr>
              <a:t>enhanced generic constraints.</a:t>
            </a:r>
          </a:p>
          <a:p>
            <a:pPr lvl="2"/>
            <a:r>
              <a:rPr lang="en-US" dirty="0">
                <a:solidFill>
                  <a:schemeClr val="bg1">
                    <a:lumMod val="95000"/>
                  </a:schemeClr>
                </a:solidFill>
              </a:rPr>
              <a:t>Make existing features better</a:t>
            </a:r>
          </a:p>
          <a:p>
            <a:pPr lvl="3"/>
            <a:r>
              <a:rPr lang="en-US" dirty="0">
                <a:solidFill>
                  <a:schemeClr val="bg1">
                    <a:lumMod val="95000"/>
                  </a:schemeClr>
                </a:solidFill>
              </a:rPr>
              <a:t>equality comparator tuple support,</a:t>
            </a:r>
          </a:p>
          <a:p>
            <a:pPr lvl="3"/>
            <a:r>
              <a:rPr lang="en-US" dirty="0">
                <a:solidFill>
                  <a:schemeClr val="bg1">
                    <a:lumMod val="95000"/>
                  </a:schemeClr>
                </a:solidFill>
              </a:rPr>
              <a:t>field attributes for auto-implemented properties,</a:t>
            </a:r>
          </a:p>
          <a:p>
            <a:pPr lvl="3"/>
            <a:r>
              <a:rPr lang="en-US" dirty="0">
                <a:solidFill>
                  <a:schemeClr val="bg1">
                    <a:lumMod val="95000"/>
                  </a:schemeClr>
                </a:solidFill>
              </a:rPr>
              <a:t>in method overload,</a:t>
            </a:r>
          </a:p>
          <a:p>
            <a:pPr lvl="3"/>
            <a:r>
              <a:rPr lang="en-US" dirty="0">
                <a:solidFill>
                  <a:schemeClr val="bg1">
                    <a:lumMod val="95000"/>
                  </a:schemeClr>
                </a:solidFill>
              </a:rPr>
              <a:t>extend expression variables in initializers.</a:t>
            </a:r>
            <a:endParaRPr lang="en-GB" dirty="0">
              <a:solidFill>
                <a:schemeClr val="bg1">
                  <a:lumMod val="95000"/>
                </a:schemeClr>
              </a:solidFill>
            </a:endParaRPr>
          </a:p>
        </p:txBody>
      </p:sp>
      <p:sp>
        <p:nvSpPr>
          <p:cNvPr id="6" name="Text Placeholder 5"/>
          <p:cNvSpPr>
            <a:spLocks noGrp="1"/>
          </p:cNvSpPr>
          <p:nvPr>
            <p:ph type="body" sz="quarter" idx="11"/>
          </p:nvPr>
        </p:nvSpPr>
        <p:spPr/>
        <p:txBody>
          <a:bodyPr/>
          <a:lstStyle/>
          <a:p>
            <a:r>
              <a:rPr lang="en-US" dirty="0"/>
              <a:t>We are going to talk about…</a:t>
            </a:r>
          </a:p>
        </p:txBody>
      </p:sp>
      <p:sp>
        <p:nvSpPr>
          <p:cNvPr id="7" name="Text Placeholder 4">
            <a:extLst>
              <a:ext uri="{FF2B5EF4-FFF2-40B4-BE49-F238E27FC236}">
                <a16:creationId xmlns:a16="http://schemas.microsoft.com/office/drawing/2014/main" id="{ED73704D-A765-4676-B99A-0282F156294F}"/>
              </a:ext>
            </a:extLst>
          </p:cNvPr>
          <p:cNvSpPr txBox="1">
            <a:spLocks/>
          </p:cNvSpPr>
          <p:nvPr/>
        </p:nvSpPr>
        <p:spPr>
          <a:xfrm>
            <a:off x="227348" y="1815351"/>
            <a:ext cx="11700000" cy="4466201"/>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buClr>
                <a:srgbClr val="00C37B"/>
              </a:buClr>
            </a:pPr>
            <a:r>
              <a:rPr lang="en-US" dirty="0"/>
              <a:t>What’s new in C# 7.3</a:t>
            </a:r>
          </a:p>
          <a:p>
            <a:pPr lvl="2">
              <a:buClr>
                <a:srgbClr val="93E416"/>
              </a:buClr>
            </a:pPr>
            <a:r>
              <a:rPr lang="en-US" dirty="0"/>
              <a:t>Enabling more efficient safe code,</a:t>
            </a:r>
          </a:p>
          <a:p>
            <a:pPr lvl="3"/>
            <a:r>
              <a:rPr lang="en-US" dirty="0"/>
              <a:t>fixed fields without pinning access,</a:t>
            </a:r>
            <a:endParaRPr lang="en-GB" dirty="0"/>
          </a:p>
        </p:txBody>
      </p:sp>
    </p:spTree>
    <p:extLst>
      <p:ext uri="{BB962C8B-B14F-4D97-AF65-F5344CB8AC3E}">
        <p14:creationId xmlns:p14="http://schemas.microsoft.com/office/powerpoint/2010/main" val="151673387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
                                            <p:txEl>
                                              <p:pRg st="1" end="1"/>
                                            </p:txEl>
                                          </p:spTgt>
                                        </p:tgtEl>
                                        <p:attrNameLst>
                                          <p:attrName>style.visibility</p:attrName>
                                        </p:attrNameLst>
                                      </p:cBhvr>
                                      <p:to>
                                        <p:strVal val="visible"/>
                                      </p:to>
                                    </p:set>
                                    <p:animEffect transition="in" filter="fade">
                                      <p:cBhvr>
                                        <p:cTn id="7" dur="500"/>
                                        <p:tgtEl>
                                          <p:spTgt spid="7">
                                            <p:txEl>
                                              <p:pRg st="1" end="1"/>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7">
                                            <p:txEl>
                                              <p:pRg st="2" end="2"/>
                                            </p:txEl>
                                          </p:spTgt>
                                        </p:tgtEl>
                                        <p:attrNameLst>
                                          <p:attrName>style.visibility</p:attrName>
                                        </p:attrNameLst>
                                      </p:cBhvr>
                                      <p:to>
                                        <p:strVal val="visible"/>
                                      </p:to>
                                    </p:set>
                                    <p:animEffect transition="in" filter="fade">
                                      <p:cBhvr>
                                        <p:cTn id="10" dur="500"/>
                                        <p:tgtEl>
                                          <p:spTgt spid="7">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ymbol zastępczy tekstu 5">
            <a:extLst>
              <a:ext uri="{FF2B5EF4-FFF2-40B4-BE49-F238E27FC236}">
                <a16:creationId xmlns:a16="http://schemas.microsoft.com/office/drawing/2014/main" id="{EC19D1F0-CA19-48E4-B6B7-FE7D3388EB92}"/>
              </a:ext>
            </a:extLst>
          </p:cNvPr>
          <p:cNvSpPr>
            <a:spLocks noGrp="1"/>
          </p:cNvSpPr>
          <p:nvPr>
            <p:ph type="body" sz="quarter" idx="11"/>
          </p:nvPr>
        </p:nvSpPr>
        <p:spPr>
          <a:xfrm>
            <a:off x="6528049" y="2191647"/>
            <a:ext cx="5187760" cy="3160282"/>
          </a:xfrm>
        </p:spPr>
        <p:txBody>
          <a:bodyPr/>
          <a:lstStyle/>
          <a:p>
            <a:r>
              <a:rPr lang="en-US" dirty="0"/>
              <a:t>What’s new in C# 7.3</a:t>
            </a:r>
            <a:br>
              <a:rPr lang="en-US" dirty="0"/>
            </a:br>
            <a:r>
              <a:rPr lang="en-US" sz="2400" dirty="0"/>
              <a:t>Fixed fields without pinning access</a:t>
            </a:r>
            <a:endParaRPr lang="en-US" dirty="0"/>
          </a:p>
        </p:txBody>
      </p:sp>
      <p:sp>
        <p:nvSpPr>
          <p:cNvPr id="28" name="Freeform 37">
            <a:extLst>
              <a:ext uri="{FF2B5EF4-FFF2-40B4-BE49-F238E27FC236}">
                <a16:creationId xmlns:a16="http://schemas.microsoft.com/office/drawing/2014/main" id="{C163FEF7-EB42-4298-AED9-19E8D9ACF2E4}"/>
              </a:ext>
            </a:extLst>
          </p:cNvPr>
          <p:cNvSpPr>
            <a:spLocks/>
          </p:cNvSpPr>
          <p:nvPr/>
        </p:nvSpPr>
        <p:spPr bwMode="auto">
          <a:xfrm>
            <a:off x="1703512" y="800837"/>
            <a:ext cx="844550" cy="793750"/>
          </a:xfrm>
          <a:custGeom>
            <a:avLst/>
            <a:gdLst>
              <a:gd name="T0" fmla="*/ 51 w 440"/>
              <a:gd name="T1" fmla="*/ 298 h 410"/>
              <a:gd name="T2" fmla="*/ 128 w 440"/>
              <a:gd name="T3" fmla="*/ 48 h 410"/>
              <a:gd name="T4" fmla="*/ 389 w 440"/>
              <a:gd name="T5" fmla="*/ 122 h 410"/>
              <a:gd name="T6" fmla="*/ 307 w 440"/>
              <a:gd name="T7" fmla="*/ 362 h 410"/>
              <a:gd name="T8" fmla="*/ 51 w 440"/>
              <a:gd name="T9" fmla="*/ 298 h 410"/>
            </a:gdLst>
            <a:ahLst/>
            <a:cxnLst>
              <a:cxn ang="0">
                <a:pos x="T0" y="T1"/>
              </a:cxn>
              <a:cxn ang="0">
                <a:pos x="T2" y="T3"/>
              </a:cxn>
              <a:cxn ang="0">
                <a:pos x="T4" y="T5"/>
              </a:cxn>
              <a:cxn ang="0">
                <a:pos x="T6" y="T7"/>
              </a:cxn>
              <a:cxn ang="0">
                <a:pos x="T8" y="T9"/>
              </a:cxn>
            </a:cxnLst>
            <a:rect l="0" t="0" r="r" b="b"/>
            <a:pathLst>
              <a:path w="440" h="410">
                <a:moveTo>
                  <a:pt x="51" y="298"/>
                </a:moveTo>
                <a:cubicBezTo>
                  <a:pt x="0" y="209"/>
                  <a:pt x="34" y="97"/>
                  <a:pt x="128" y="48"/>
                </a:cubicBezTo>
                <a:cubicBezTo>
                  <a:pt x="221" y="0"/>
                  <a:pt x="338" y="33"/>
                  <a:pt x="389" y="122"/>
                </a:cubicBezTo>
                <a:cubicBezTo>
                  <a:pt x="440" y="212"/>
                  <a:pt x="400" y="313"/>
                  <a:pt x="307" y="362"/>
                </a:cubicBezTo>
                <a:cubicBezTo>
                  <a:pt x="214" y="410"/>
                  <a:pt x="102" y="388"/>
                  <a:pt x="51" y="298"/>
                </a:cubicBezTo>
              </a:path>
            </a:pathLst>
          </a:custGeom>
          <a:solidFill>
            <a:srgbClr val="93E416"/>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3" name="Oval 20">
            <a:extLst>
              <a:ext uri="{FF2B5EF4-FFF2-40B4-BE49-F238E27FC236}">
                <a16:creationId xmlns:a16="http://schemas.microsoft.com/office/drawing/2014/main" id="{EE9B31FA-25FA-4CC1-863F-BB3D69944DF9}"/>
              </a:ext>
            </a:extLst>
          </p:cNvPr>
          <p:cNvSpPr/>
          <p:nvPr/>
        </p:nvSpPr>
        <p:spPr>
          <a:xfrm>
            <a:off x="499463" y="1441730"/>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42" name="Oval 20">
            <a:extLst>
              <a:ext uri="{FF2B5EF4-FFF2-40B4-BE49-F238E27FC236}">
                <a16:creationId xmlns:a16="http://schemas.microsoft.com/office/drawing/2014/main" id="{9C48F09E-5C3B-4BEA-BD8F-85A5DCB0325B}"/>
              </a:ext>
            </a:extLst>
          </p:cNvPr>
          <p:cNvSpPr/>
          <p:nvPr/>
        </p:nvSpPr>
        <p:spPr>
          <a:xfrm>
            <a:off x="2380063" y="997006"/>
            <a:ext cx="1356623" cy="128178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7" name="Group 589">
            <a:extLst>
              <a:ext uri="{FF2B5EF4-FFF2-40B4-BE49-F238E27FC236}">
                <a16:creationId xmlns:a16="http://schemas.microsoft.com/office/drawing/2014/main" id="{06CF589A-1B93-4D98-A670-3A9366CF2904}"/>
              </a:ext>
            </a:extLst>
          </p:cNvPr>
          <p:cNvGrpSpPr/>
          <p:nvPr/>
        </p:nvGrpSpPr>
        <p:grpSpPr>
          <a:xfrm>
            <a:off x="814010" y="1696867"/>
            <a:ext cx="1357200" cy="1553038"/>
            <a:chOff x="4127500" y="4756153"/>
            <a:chExt cx="473075" cy="541338"/>
          </a:xfrm>
        </p:grpSpPr>
        <p:sp>
          <p:nvSpPr>
            <p:cNvPr id="9" name="Freeform 202">
              <a:extLst>
                <a:ext uri="{FF2B5EF4-FFF2-40B4-BE49-F238E27FC236}">
                  <a16:creationId xmlns:a16="http://schemas.microsoft.com/office/drawing/2014/main" id="{623101EB-D9F8-48AD-927B-8E649AFF050E}"/>
                </a:ext>
              </a:extLst>
            </p:cNvPr>
            <p:cNvSpPr>
              <a:spLocks/>
            </p:cNvSpPr>
            <p:nvPr/>
          </p:nvSpPr>
          <p:spPr bwMode="auto">
            <a:xfrm>
              <a:off x="4127500" y="4757740"/>
              <a:ext cx="473075" cy="539751"/>
            </a:xfrm>
            <a:custGeom>
              <a:avLst/>
              <a:gdLst>
                <a:gd name="T0" fmla="*/ 130 w 247"/>
                <a:gd name="T1" fmla="*/ 5 h 279"/>
                <a:gd name="T2" fmla="*/ 0 w 247"/>
                <a:gd name="T3" fmla="*/ 123 h 279"/>
                <a:gd name="T4" fmla="*/ 0 w 247"/>
                <a:gd name="T5" fmla="*/ 123 h 279"/>
                <a:gd name="T6" fmla="*/ 0 w 247"/>
                <a:gd name="T7" fmla="*/ 125 h 279"/>
                <a:gd name="T8" fmla="*/ 0 w 247"/>
                <a:gd name="T9" fmla="*/ 127 h 279"/>
                <a:gd name="T10" fmla="*/ 8 w 247"/>
                <a:gd name="T11" fmla="*/ 172 h 279"/>
                <a:gd name="T12" fmla="*/ 116 w 247"/>
                <a:gd name="T13" fmla="*/ 278 h 279"/>
                <a:gd name="T14" fmla="*/ 121 w 247"/>
                <a:gd name="T15" fmla="*/ 275 h 279"/>
                <a:gd name="T16" fmla="*/ 121 w 247"/>
                <a:gd name="T17" fmla="*/ 249 h 279"/>
                <a:gd name="T18" fmla="*/ 243 w 247"/>
                <a:gd name="T19" fmla="*/ 119 h 279"/>
                <a:gd name="T20" fmla="*/ 130 w 247"/>
                <a:gd name="T21" fmla="*/ 5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47" h="279">
                  <a:moveTo>
                    <a:pt x="130" y="5"/>
                  </a:moveTo>
                  <a:cubicBezTo>
                    <a:pt x="60" y="0"/>
                    <a:pt x="2" y="55"/>
                    <a:pt x="0" y="123"/>
                  </a:cubicBezTo>
                  <a:cubicBezTo>
                    <a:pt x="0" y="123"/>
                    <a:pt x="0" y="123"/>
                    <a:pt x="0" y="123"/>
                  </a:cubicBezTo>
                  <a:cubicBezTo>
                    <a:pt x="0" y="124"/>
                    <a:pt x="0" y="124"/>
                    <a:pt x="0" y="125"/>
                  </a:cubicBezTo>
                  <a:cubicBezTo>
                    <a:pt x="0" y="126"/>
                    <a:pt x="0" y="126"/>
                    <a:pt x="0" y="127"/>
                  </a:cubicBezTo>
                  <a:cubicBezTo>
                    <a:pt x="0" y="143"/>
                    <a:pt x="3" y="158"/>
                    <a:pt x="8" y="172"/>
                  </a:cubicBezTo>
                  <a:cubicBezTo>
                    <a:pt x="32" y="236"/>
                    <a:pt x="97" y="270"/>
                    <a:pt x="116" y="278"/>
                  </a:cubicBezTo>
                  <a:cubicBezTo>
                    <a:pt x="119" y="279"/>
                    <a:pt x="121" y="278"/>
                    <a:pt x="121" y="275"/>
                  </a:cubicBezTo>
                  <a:cubicBezTo>
                    <a:pt x="121" y="249"/>
                    <a:pt x="121" y="249"/>
                    <a:pt x="121" y="249"/>
                  </a:cubicBezTo>
                  <a:cubicBezTo>
                    <a:pt x="191" y="249"/>
                    <a:pt x="247" y="190"/>
                    <a:pt x="243" y="119"/>
                  </a:cubicBezTo>
                  <a:cubicBezTo>
                    <a:pt x="239" y="59"/>
                    <a:pt x="190" y="9"/>
                    <a:pt x="130" y="5"/>
                  </a:cubicBezTo>
                  <a:close/>
                </a:path>
              </a:pathLst>
            </a:custGeom>
            <a:solidFill>
              <a:srgbClr val="2B0F3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 name="Freeform 203">
              <a:extLst>
                <a:ext uri="{FF2B5EF4-FFF2-40B4-BE49-F238E27FC236}">
                  <a16:creationId xmlns:a16="http://schemas.microsoft.com/office/drawing/2014/main" id="{E79AF262-52D9-41AE-BD83-F73B233312DF}"/>
                </a:ext>
              </a:extLst>
            </p:cNvPr>
            <p:cNvSpPr>
              <a:spLocks/>
            </p:cNvSpPr>
            <p:nvPr/>
          </p:nvSpPr>
          <p:spPr bwMode="auto">
            <a:xfrm>
              <a:off x="4284663" y="4922840"/>
              <a:ext cx="146050" cy="166688"/>
            </a:xfrm>
            <a:custGeom>
              <a:avLst/>
              <a:gdLst>
                <a:gd name="T0" fmla="*/ 40 w 76"/>
                <a:gd name="T1" fmla="*/ 35 h 86"/>
                <a:gd name="T2" fmla="*/ 47 w 76"/>
                <a:gd name="T3" fmla="*/ 7 h 86"/>
                <a:gd name="T4" fmla="*/ 45 w 76"/>
                <a:gd name="T5" fmla="*/ 3 h 86"/>
                <a:gd name="T6" fmla="*/ 1 w 76"/>
                <a:gd name="T7" fmla="*/ 34 h 86"/>
                <a:gd name="T8" fmla="*/ 1 w 76"/>
                <a:gd name="T9" fmla="*/ 46 h 86"/>
                <a:gd name="T10" fmla="*/ 65 w 76"/>
                <a:gd name="T11" fmla="*/ 66 h 86"/>
                <a:gd name="T12" fmla="*/ 76 w 76"/>
                <a:gd name="T13" fmla="*/ 38 h 86"/>
                <a:gd name="T14" fmla="*/ 68 w 76"/>
                <a:gd name="T15" fmla="*/ 32 h 86"/>
                <a:gd name="T16" fmla="*/ 44 w 76"/>
                <a:gd name="T17" fmla="*/ 39 h 86"/>
                <a:gd name="T18" fmla="*/ 40 w 76"/>
                <a:gd name="T19" fmla="*/ 35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6" h="86">
                  <a:moveTo>
                    <a:pt x="40" y="35"/>
                  </a:moveTo>
                  <a:cubicBezTo>
                    <a:pt x="47" y="7"/>
                    <a:pt x="47" y="7"/>
                    <a:pt x="47" y="7"/>
                  </a:cubicBezTo>
                  <a:cubicBezTo>
                    <a:pt x="48" y="5"/>
                    <a:pt x="47" y="4"/>
                    <a:pt x="45" y="3"/>
                  </a:cubicBezTo>
                  <a:cubicBezTo>
                    <a:pt x="27" y="0"/>
                    <a:pt x="7" y="10"/>
                    <a:pt x="1" y="34"/>
                  </a:cubicBezTo>
                  <a:cubicBezTo>
                    <a:pt x="0" y="38"/>
                    <a:pt x="0" y="42"/>
                    <a:pt x="1" y="46"/>
                  </a:cubicBezTo>
                  <a:cubicBezTo>
                    <a:pt x="10" y="79"/>
                    <a:pt x="46" y="86"/>
                    <a:pt x="65" y="66"/>
                  </a:cubicBezTo>
                  <a:cubicBezTo>
                    <a:pt x="73" y="59"/>
                    <a:pt x="76" y="48"/>
                    <a:pt x="76" y="38"/>
                  </a:cubicBezTo>
                  <a:cubicBezTo>
                    <a:pt x="76" y="34"/>
                    <a:pt x="72" y="31"/>
                    <a:pt x="68" y="32"/>
                  </a:cubicBezTo>
                  <a:cubicBezTo>
                    <a:pt x="44" y="39"/>
                    <a:pt x="44" y="39"/>
                    <a:pt x="44" y="39"/>
                  </a:cubicBezTo>
                  <a:cubicBezTo>
                    <a:pt x="42" y="39"/>
                    <a:pt x="39" y="37"/>
                    <a:pt x="40" y="35"/>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1" name="Freeform 204">
              <a:extLst>
                <a:ext uri="{FF2B5EF4-FFF2-40B4-BE49-F238E27FC236}">
                  <a16:creationId xmlns:a16="http://schemas.microsoft.com/office/drawing/2014/main" id="{B561E7F7-C3A5-4783-B604-CBAA45351372}"/>
                </a:ext>
              </a:extLst>
            </p:cNvPr>
            <p:cNvSpPr>
              <a:spLocks noEditPoints="1"/>
            </p:cNvSpPr>
            <p:nvPr/>
          </p:nvSpPr>
          <p:spPr bwMode="auto">
            <a:xfrm>
              <a:off x="4175125" y="4814890"/>
              <a:ext cx="369887" cy="371475"/>
            </a:xfrm>
            <a:custGeom>
              <a:avLst/>
              <a:gdLst>
                <a:gd name="T0" fmla="*/ 96 w 193"/>
                <a:gd name="T1" fmla="*/ 192 h 192"/>
                <a:gd name="T2" fmla="*/ 0 w 193"/>
                <a:gd name="T3" fmla="*/ 96 h 192"/>
                <a:gd name="T4" fmla="*/ 96 w 193"/>
                <a:gd name="T5" fmla="*/ 0 h 192"/>
                <a:gd name="T6" fmla="*/ 193 w 193"/>
                <a:gd name="T7" fmla="*/ 96 h 192"/>
                <a:gd name="T8" fmla="*/ 96 w 193"/>
                <a:gd name="T9" fmla="*/ 192 h 192"/>
                <a:gd name="T10" fmla="*/ 96 w 193"/>
                <a:gd name="T11" fmla="*/ 12 h 192"/>
                <a:gd name="T12" fmla="*/ 12 w 193"/>
                <a:gd name="T13" fmla="*/ 96 h 192"/>
                <a:gd name="T14" fmla="*/ 96 w 193"/>
                <a:gd name="T15" fmla="*/ 180 h 192"/>
                <a:gd name="T16" fmla="*/ 181 w 193"/>
                <a:gd name="T17" fmla="*/ 96 h 192"/>
                <a:gd name="T18" fmla="*/ 96 w 193"/>
                <a:gd name="T19" fmla="*/ 12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3" h="192">
                  <a:moveTo>
                    <a:pt x="96" y="192"/>
                  </a:moveTo>
                  <a:cubicBezTo>
                    <a:pt x="43" y="192"/>
                    <a:pt x="0" y="149"/>
                    <a:pt x="0" y="96"/>
                  </a:cubicBezTo>
                  <a:cubicBezTo>
                    <a:pt x="0" y="43"/>
                    <a:pt x="43" y="0"/>
                    <a:pt x="96" y="0"/>
                  </a:cubicBezTo>
                  <a:cubicBezTo>
                    <a:pt x="149" y="0"/>
                    <a:pt x="193" y="43"/>
                    <a:pt x="193" y="96"/>
                  </a:cubicBezTo>
                  <a:cubicBezTo>
                    <a:pt x="193" y="149"/>
                    <a:pt x="149" y="192"/>
                    <a:pt x="96" y="192"/>
                  </a:cubicBezTo>
                  <a:close/>
                  <a:moveTo>
                    <a:pt x="96" y="12"/>
                  </a:moveTo>
                  <a:cubicBezTo>
                    <a:pt x="50" y="12"/>
                    <a:pt x="12" y="49"/>
                    <a:pt x="12" y="96"/>
                  </a:cubicBezTo>
                  <a:cubicBezTo>
                    <a:pt x="12" y="142"/>
                    <a:pt x="50" y="180"/>
                    <a:pt x="96" y="180"/>
                  </a:cubicBezTo>
                  <a:cubicBezTo>
                    <a:pt x="143" y="180"/>
                    <a:pt x="181" y="142"/>
                    <a:pt x="181" y="96"/>
                  </a:cubicBezTo>
                  <a:cubicBezTo>
                    <a:pt x="181" y="49"/>
                    <a:pt x="143" y="12"/>
                    <a:pt x="96" y="12"/>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 name="Freeform 205">
              <a:extLst>
                <a:ext uri="{FF2B5EF4-FFF2-40B4-BE49-F238E27FC236}">
                  <a16:creationId xmlns:a16="http://schemas.microsoft.com/office/drawing/2014/main" id="{0851A9FB-0F05-4EC8-B8C6-B48C8D9EF38C}"/>
                </a:ext>
              </a:extLst>
            </p:cNvPr>
            <p:cNvSpPr>
              <a:spLocks/>
            </p:cNvSpPr>
            <p:nvPr/>
          </p:nvSpPr>
          <p:spPr bwMode="auto">
            <a:xfrm>
              <a:off x="4403725" y="4756153"/>
              <a:ext cx="196850" cy="201613"/>
            </a:xfrm>
            <a:custGeom>
              <a:avLst/>
              <a:gdLst>
                <a:gd name="T0" fmla="*/ 100 w 103"/>
                <a:gd name="T1" fmla="*/ 28 h 104"/>
                <a:gd name="T2" fmla="*/ 80 w 103"/>
                <a:gd name="T3" fmla="*/ 25 h 104"/>
                <a:gd name="T4" fmla="*/ 78 w 103"/>
                <a:gd name="T5" fmla="*/ 23 h 104"/>
                <a:gd name="T6" fmla="*/ 76 w 103"/>
                <a:gd name="T7" fmla="*/ 3 h 104"/>
                <a:gd name="T8" fmla="*/ 71 w 103"/>
                <a:gd name="T9" fmla="*/ 2 h 104"/>
                <a:gd name="T10" fmla="*/ 47 w 103"/>
                <a:gd name="T11" fmla="*/ 26 h 104"/>
                <a:gd name="T12" fmla="*/ 46 w 103"/>
                <a:gd name="T13" fmla="*/ 27 h 104"/>
                <a:gd name="T14" fmla="*/ 43 w 103"/>
                <a:gd name="T15" fmla="*/ 50 h 104"/>
                <a:gd name="T16" fmla="*/ 42 w 103"/>
                <a:gd name="T17" fmla="*/ 51 h 104"/>
                <a:gd name="T18" fmla="*/ 1 w 103"/>
                <a:gd name="T19" fmla="*/ 93 h 104"/>
                <a:gd name="T20" fmla="*/ 1 w 103"/>
                <a:gd name="T21" fmla="*/ 97 h 104"/>
                <a:gd name="T22" fmla="*/ 6 w 103"/>
                <a:gd name="T23" fmla="*/ 103 h 104"/>
                <a:gd name="T24" fmla="*/ 10 w 103"/>
                <a:gd name="T25" fmla="*/ 103 h 104"/>
                <a:gd name="T26" fmla="*/ 52 w 103"/>
                <a:gd name="T27" fmla="*/ 61 h 104"/>
                <a:gd name="T28" fmla="*/ 54 w 103"/>
                <a:gd name="T29" fmla="*/ 60 h 104"/>
                <a:gd name="T30" fmla="*/ 76 w 103"/>
                <a:gd name="T31" fmla="*/ 57 h 104"/>
                <a:gd name="T32" fmla="*/ 77 w 103"/>
                <a:gd name="T33" fmla="*/ 56 h 104"/>
                <a:gd name="T34" fmla="*/ 102 w 103"/>
                <a:gd name="T35" fmla="*/ 32 h 104"/>
                <a:gd name="T36" fmla="*/ 100 w 103"/>
                <a:gd name="T37" fmla="*/ 28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03" h="104">
                  <a:moveTo>
                    <a:pt x="100" y="28"/>
                  </a:moveTo>
                  <a:cubicBezTo>
                    <a:pt x="80" y="25"/>
                    <a:pt x="80" y="25"/>
                    <a:pt x="80" y="25"/>
                  </a:cubicBezTo>
                  <a:cubicBezTo>
                    <a:pt x="79" y="25"/>
                    <a:pt x="78" y="24"/>
                    <a:pt x="78" y="23"/>
                  </a:cubicBezTo>
                  <a:cubicBezTo>
                    <a:pt x="76" y="3"/>
                    <a:pt x="76" y="3"/>
                    <a:pt x="76" y="3"/>
                  </a:cubicBezTo>
                  <a:cubicBezTo>
                    <a:pt x="75" y="1"/>
                    <a:pt x="73" y="0"/>
                    <a:pt x="71" y="2"/>
                  </a:cubicBezTo>
                  <a:cubicBezTo>
                    <a:pt x="47" y="26"/>
                    <a:pt x="47" y="26"/>
                    <a:pt x="47" y="26"/>
                  </a:cubicBezTo>
                  <a:cubicBezTo>
                    <a:pt x="47" y="26"/>
                    <a:pt x="46" y="27"/>
                    <a:pt x="46" y="27"/>
                  </a:cubicBezTo>
                  <a:cubicBezTo>
                    <a:pt x="43" y="50"/>
                    <a:pt x="43" y="50"/>
                    <a:pt x="43" y="50"/>
                  </a:cubicBezTo>
                  <a:cubicBezTo>
                    <a:pt x="43" y="50"/>
                    <a:pt x="43" y="51"/>
                    <a:pt x="42" y="51"/>
                  </a:cubicBezTo>
                  <a:cubicBezTo>
                    <a:pt x="1" y="93"/>
                    <a:pt x="1" y="93"/>
                    <a:pt x="1" y="93"/>
                  </a:cubicBezTo>
                  <a:cubicBezTo>
                    <a:pt x="0" y="94"/>
                    <a:pt x="0" y="96"/>
                    <a:pt x="1" y="97"/>
                  </a:cubicBezTo>
                  <a:cubicBezTo>
                    <a:pt x="6" y="103"/>
                    <a:pt x="6" y="103"/>
                    <a:pt x="6" y="103"/>
                  </a:cubicBezTo>
                  <a:cubicBezTo>
                    <a:pt x="7" y="104"/>
                    <a:pt x="9" y="104"/>
                    <a:pt x="10" y="103"/>
                  </a:cubicBezTo>
                  <a:cubicBezTo>
                    <a:pt x="52" y="61"/>
                    <a:pt x="52" y="61"/>
                    <a:pt x="52" y="61"/>
                  </a:cubicBezTo>
                  <a:cubicBezTo>
                    <a:pt x="53" y="60"/>
                    <a:pt x="53" y="60"/>
                    <a:pt x="54" y="60"/>
                  </a:cubicBezTo>
                  <a:cubicBezTo>
                    <a:pt x="76" y="57"/>
                    <a:pt x="76" y="57"/>
                    <a:pt x="76" y="57"/>
                  </a:cubicBezTo>
                  <a:cubicBezTo>
                    <a:pt x="76" y="57"/>
                    <a:pt x="77" y="57"/>
                    <a:pt x="77" y="56"/>
                  </a:cubicBezTo>
                  <a:cubicBezTo>
                    <a:pt x="102" y="32"/>
                    <a:pt x="102" y="32"/>
                    <a:pt x="102" y="32"/>
                  </a:cubicBezTo>
                  <a:cubicBezTo>
                    <a:pt x="103" y="31"/>
                    <a:pt x="102" y="28"/>
                    <a:pt x="100" y="28"/>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581234870"/>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ytuł 1">
            <a:extLst>
              <a:ext uri="{FF2B5EF4-FFF2-40B4-BE49-F238E27FC236}">
                <a16:creationId xmlns:a16="http://schemas.microsoft.com/office/drawing/2014/main" id="{DEA935F7-2904-40FF-A73D-3CCC59AF658E}"/>
              </a:ext>
            </a:extLst>
          </p:cNvPr>
          <p:cNvSpPr>
            <a:spLocks noGrp="1"/>
          </p:cNvSpPr>
          <p:nvPr>
            <p:ph type="title"/>
          </p:nvPr>
        </p:nvSpPr>
        <p:spPr/>
        <p:txBody>
          <a:bodyPr/>
          <a:lstStyle/>
          <a:p>
            <a:r>
              <a:rPr lang="en-US" sz="3200" dirty="0"/>
              <a:t>Fixed fields without pinning access</a:t>
            </a:r>
          </a:p>
        </p:txBody>
      </p:sp>
      <p:sp>
        <p:nvSpPr>
          <p:cNvPr id="5" name="Symbol zastępczy tekstu 4">
            <a:extLst>
              <a:ext uri="{FF2B5EF4-FFF2-40B4-BE49-F238E27FC236}">
                <a16:creationId xmlns:a16="http://schemas.microsoft.com/office/drawing/2014/main" id="{026454BF-D147-4265-B180-0D1A4FC7A23F}"/>
              </a:ext>
            </a:extLst>
          </p:cNvPr>
          <p:cNvSpPr>
            <a:spLocks noGrp="1"/>
          </p:cNvSpPr>
          <p:nvPr>
            <p:ph type="body" sz="quarter" idx="10"/>
          </p:nvPr>
        </p:nvSpPr>
        <p:spPr/>
        <p:txBody>
          <a:bodyPr/>
          <a:lstStyle/>
          <a:p>
            <a:endParaRPr lang="en-US" dirty="0"/>
          </a:p>
        </p:txBody>
      </p:sp>
      <p:sp>
        <p:nvSpPr>
          <p:cNvPr id="3" name="Symbol zastępczy tekstu 2">
            <a:extLst>
              <a:ext uri="{FF2B5EF4-FFF2-40B4-BE49-F238E27FC236}">
                <a16:creationId xmlns:a16="http://schemas.microsoft.com/office/drawing/2014/main" id="{D0A37E72-B711-494C-A35F-F9DF4987AC76}"/>
              </a:ext>
            </a:extLst>
          </p:cNvPr>
          <p:cNvSpPr>
            <a:spLocks noGrp="1"/>
          </p:cNvSpPr>
          <p:nvPr>
            <p:ph type="body" sz="quarter" idx="11"/>
          </p:nvPr>
        </p:nvSpPr>
        <p:spPr/>
        <p:txBody>
          <a:bodyPr/>
          <a:lstStyle/>
          <a:p>
            <a:r>
              <a:rPr lang="en-US" dirty="0"/>
              <a:t>C# 7.2</a:t>
            </a:r>
          </a:p>
        </p:txBody>
      </p:sp>
      <p:sp>
        <p:nvSpPr>
          <p:cNvPr id="6" name="Symbol zastępczy tekstu 5">
            <a:extLst>
              <a:ext uri="{FF2B5EF4-FFF2-40B4-BE49-F238E27FC236}">
                <a16:creationId xmlns:a16="http://schemas.microsoft.com/office/drawing/2014/main" id="{9B3BF7E6-792E-4E7E-A1BA-67B18F143E96}"/>
              </a:ext>
            </a:extLst>
          </p:cNvPr>
          <p:cNvSpPr>
            <a:spLocks noGrp="1"/>
          </p:cNvSpPr>
          <p:nvPr>
            <p:ph type="body" sz="quarter" idx="12"/>
          </p:nvPr>
        </p:nvSpPr>
        <p:spPr/>
        <p:txBody>
          <a:bodyPr/>
          <a:lstStyle/>
          <a:p>
            <a:r>
              <a:rPr lang="en-US" dirty="0"/>
              <a:t>1</a:t>
            </a:r>
          </a:p>
        </p:txBody>
      </p:sp>
    </p:spTree>
    <p:extLst>
      <p:ext uri="{BB962C8B-B14F-4D97-AF65-F5344CB8AC3E}">
        <p14:creationId xmlns:p14="http://schemas.microsoft.com/office/powerpoint/2010/main" val="3712811784"/>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ytuł 1">
            <a:extLst>
              <a:ext uri="{FF2B5EF4-FFF2-40B4-BE49-F238E27FC236}">
                <a16:creationId xmlns:a16="http://schemas.microsoft.com/office/drawing/2014/main" id="{DEA935F7-2904-40FF-A73D-3CCC59AF658E}"/>
              </a:ext>
            </a:extLst>
          </p:cNvPr>
          <p:cNvSpPr>
            <a:spLocks noGrp="1"/>
          </p:cNvSpPr>
          <p:nvPr>
            <p:ph type="title"/>
          </p:nvPr>
        </p:nvSpPr>
        <p:spPr/>
        <p:txBody>
          <a:bodyPr/>
          <a:lstStyle/>
          <a:p>
            <a:r>
              <a:rPr lang="en-US" sz="3200" dirty="0"/>
              <a:t>Fixed fields without pinning access</a:t>
            </a:r>
          </a:p>
        </p:txBody>
      </p:sp>
      <p:sp>
        <p:nvSpPr>
          <p:cNvPr id="5" name="Symbol zastępczy tekstu 4">
            <a:extLst>
              <a:ext uri="{FF2B5EF4-FFF2-40B4-BE49-F238E27FC236}">
                <a16:creationId xmlns:a16="http://schemas.microsoft.com/office/drawing/2014/main" id="{026454BF-D147-4265-B180-0D1A4FC7A23F}"/>
              </a:ext>
            </a:extLst>
          </p:cNvPr>
          <p:cNvSpPr>
            <a:spLocks noGrp="1"/>
          </p:cNvSpPr>
          <p:nvPr>
            <p:ph type="body" sz="quarter" idx="10"/>
          </p:nvPr>
        </p:nvSpPr>
        <p:spPr/>
        <p:txBody>
          <a:bodyPr/>
          <a:lstStyle/>
          <a:p>
            <a:endParaRPr lang="en-US" dirty="0"/>
          </a:p>
        </p:txBody>
      </p:sp>
      <p:sp>
        <p:nvSpPr>
          <p:cNvPr id="3" name="Symbol zastępczy tekstu 2">
            <a:extLst>
              <a:ext uri="{FF2B5EF4-FFF2-40B4-BE49-F238E27FC236}">
                <a16:creationId xmlns:a16="http://schemas.microsoft.com/office/drawing/2014/main" id="{D0A37E72-B711-494C-A35F-F9DF4987AC76}"/>
              </a:ext>
            </a:extLst>
          </p:cNvPr>
          <p:cNvSpPr>
            <a:spLocks noGrp="1"/>
          </p:cNvSpPr>
          <p:nvPr>
            <p:ph type="body" sz="quarter" idx="11"/>
          </p:nvPr>
        </p:nvSpPr>
        <p:spPr/>
        <p:txBody>
          <a:bodyPr/>
          <a:lstStyle/>
          <a:p>
            <a:r>
              <a:rPr lang="en-US" dirty="0"/>
              <a:t>C# 7.3</a:t>
            </a:r>
          </a:p>
        </p:txBody>
      </p:sp>
      <p:sp>
        <p:nvSpPr>
          <p:cNvPr id="6" name="Symbol zastępczy tekstu 5">
            <a:extLst>
              <a:ext uri="{FF2B5EF4-FFF2-40B4-BE49-F238E27FC236}">
                <a16:creationId xmlns:a16="http://schemas.microsoft.com/office/drawing/2014/main" id="{9B3BF7E6-792E-4E7E-A1BA-67B18F143E96}"/>
              </a:ext>
            </a:extLst>
          </p:cNvPr>
          <p:cNvSpPr>
            <a:spLocks noGrp="1"/>
          </p:cNvSpPr>
          <p:nvPr>
            <p:ph type="body" sz="quarter" idx="12"/>
          </p:nvPr>
        </p:nvSpPr>
        <p:spPr/>
        <p:txBody>
          <a:bodyPr/>
          <a:lstStyle/>
          <a:p>
            <a:r>
              <a:rPr lang="en-US" dirty="0"/>
              <a:t>2</a:t>
            </a:r>
          </a:p>
        </p:txBody>
      </p:sp>
    </p:spTree>
    <p:extLst>
      <p:ext uri="{BB962C8B-B14F-4D97-AF65-F5344CB8AC3E}">
        <p14:creationId xmlns:p14="http://schemas.microsoft.com/office/powerpoint/2010/main" val="3201008094"/>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pl-PL" dirty="0"/>
              <a:t>Agenda</a:t>
            </a:r>
            <a:endParaRPr lang="en-GB" dirty="0"/>
          </a:p>
        </p:txBody>
      </p:sp>
      <p:sp>
        <p:nvSpPr>
          <p:cNvPr id="5" name="Text Placeholder 4"/>
          <p:cNvSpPr>
            <a:spLocks noGrp="1"/>
          </p:cNvSpPr>
          <p:nvPr>
            <p:ph type="body" sz="quarter" idx="10"/>
          </p:nvPr>
        </p:nvSpPr>
        <p:spPr/>
        <p:txBody>
          <a:bodyPr/>
          <a:lstStyle/>
          <a:p>
            <a:pPr lvl="1"/>
            <a:r>
              <a:rPr lang="en-US" dirty="0">
                <a:solidFill>
                  <a:schemeClr val="bg1">
                    <a:lumMod val="95000"/>
                  </a:schemeClr>
                </a:solidFill>
              </a:rPr>
              <a:t>What’s new in C# 7.3</a:t>
            </a:r>
          </a:p>
          <a:p>
            <a:pPr lvl="2"/>
            <a:r>
              <a:rPr lang="en-US" dirty="0">
                <a:solidFill>
                  <a:schemeClr val="bg1">
                    <a:lumMod val="95000"/>
                  </a:schemeClr>
                </a:solidFill>
              </a:rPr>
              <a:t>Enabling more efficient safe code,</a:t>
            </a:r>
          </a:p>
          <a:p>
            <a:pPr lvl="3"/>
            <a:r>
              <a:rPr lang="en-US" dirty="0">
                <a:solidFill>
                  <a:schemeClr val="bg1">
                    <a:lumMod val="95000"/>
                  </a:schemeClr>
                </a:solidFill>
              </a:rPr>
              <a:t>fixed fields without pinning access,</a:t>
            </a:r>
          </a:p>
          <a:p>
            <a:pPr lvl="3"/>
            <a:r>
              <a:rPr lang="en-US" dirty="0">
                <a:solidFill>
                  <a:schemeClr val="bg1">
                    <a:lumMod val="95000"/>
                  </a:schemeClr>
                </a:solidFill>
              </a:rPr>
              <a:t>local ref variables reassignment,</a:t>
            </a:r>
          </a:p>
          <a:p>
            <a:pPr lvl="3"/>
            <a:r>
              <a:rPr lang="en-US" dirty="0">
                <a:solidFill>
                  <a:schemeClr val="bg1">
                    <a:lumMod val="95000"/>
                  </a:schemeClr>
                </a:solidFill>
              </a:rPr>
              <a:t>array initializers with </a:t>
            </a:r>
            <a:r>
              <a:rPr lang="en-US" dirty="0" err="1">
                <a:solidFill>
                  <a:schemeClr val="bg1">
                    <a:lumMod val="95000"/>
                  </a:schemeClr>
                </a:solidFill>
              </a:rPr>
              <a:t>stackalloc</a:t>
            </a:r>
            <a:r>
              <a:rPr lang="en-US" dirty="0">
                <a:solidFill>
                  <a:schemeClr val="bg1">
                    <a:lumMod val="95000"/>
                  </a:schemeClr>
                </a:solidFill>
              </a:rPr>
              <a:t>,</a:t>
            </a:r>
          </a:p>
          <a:p>
            <a:pPr lvl="3"/>
            <a:r>
              <a:rPr lang="en-US" dirty="0">
                <a:solidFill>
                  <a:schemeClr val="bg1">
                    <a:lumMod val="95000"/>
                  </a:schemeClr>
                </a:solidFill>
              </a:rPr>
              <a:t>extended fixed support for types,</a:t>
            </a:r>
          </a:p>
          <a:p>
            <a:pPr lvl="3"/>
            <a:r>
              <a:rPr lang="en-US" dirty="0">
                <a:solidFill>
                  <a:schemeClr val="bg1">
                    <a:lumMod val="95000"/>
                  </a:schemeClr>
                </a:solidFill>
              </a:rPr>
              <a:t>enhanced generic constraints.</a:t>
            </a:r>
          </a:p>
          <a:p>
            <a:pPr lvl="2"/>
            <a:r>
              <a:rPr lang="en-US" dirty="0">
                <a:solidFill>
                  <a:schemeClr val="bg1">
                    <a:lumMod val="95000"/>
                  </a:schemeClr>
                </a:solidFill>
              </a:rPr>
              <a:t>Make existing features better</a:t>
            </a:r>
          </a:p>
          <a:p>
            <a:pPr lvl="3"/>
            <a:r>
              <a:rPr lang="en-US" dirty="0">
                <a:solidFill>
                  <a:schemeClr val="bg1">
                    <a:lumMod val="95000"/>
                  </a:schemeClr>
                </a:solidFill>
              </a:rPr>
              <a:t>equality comparator tuple support,</a:t>
            </a:r>
          </a:p>
          <a:p>
            <a:pPr lvl="3"/>
            <a:r>
              <a:rPr lang="en-US" dirty="0">
                <a:solidFill>
                  <a:schemeClr val="bg1">
                    <a:lumMod val="95000"/>
                  </a:schemeClr>
                </a:solidFill>
              </a:rPr>
              <a:t>field attributes for auto-implemented properties,</a:t>
            </a:r>
          </a:p>
          <a:p>
            <a:pPr lvl="3"/>
            <a:r>
              <a:rPr lang="en-US" dirty="0">
                <a:solidFill>
                  <a:schemeClr val="bg1">
                    <a:lumMod val="95000"/>
                  </a:schemeClr>
                </a:solidFill>
              </a:rPr>
              <a:t>in method overload,</a:t>
            </a:r>
          </a:p>
          <a:p>
            <a:pPr lvl="3"/>
            <a:r>
              <a:rPr lang="en-US" dirty="0">
                <a:solidFill>
                  <a:schemeClr val="bg1">
                    <a:lumMod val="95000"/>
                  </a:schemeClr>
                </a:solidFill>
              </a:rPr>
              <a:t>extend expression variables in initializers.</a:t>
            </a:r>
            <a:endParaRPr lang="en-GB" dirty="0">
              <a:solidFill>
                <a:schemeClr val="bg1">
                  <a:lumMod val="95000"/>
                </a:schemeClr>
              </a:solidFill>
            </a:endParaRPr>
          </a:p>
        </p:txBody>
      </p:sp>
      <p:sp>
        <p:nvSpPr>
          <p:cNvPr id="6" name="Text Placeholder 5"/>
          <p:cNvSpPr>
            <a:spLocks noGrp="1"/>
          </p:cNvSpPr>
          <p:nvPr>
            <p:ph type="body" sz="quarter" idx="11"/>
          </p:nvPr>
        </p:nvSpPr>
        <p:spPr/>
        <p:txBody>
          <a:bodyPr/>
          <a:lstStyle/>
          <a:p>
            <a:r>
              <a:rPr lang="en-US" dirty="0"/>
              <a:t>We are going to talk about…</a:t>
            </a:r>
          </a:p>
        </p:txBody>
      </p:sp>
      <p:sp>
        <p:nvSpPr>
          <p:cNvPr id="7" name="Text Placeholder 4">
            <a:extLst>
              <a:ext uri="{FF2B5EF4-FFF2-40B4-BE49-F238E27FC236}">
                <a16:creationId xmlns:a16="http://schemas.microsoft.com/office/drawing/2014/main" id="{ED73704D-A765-4676-B99A-0282F156294F}"/>
              </a:ext>
            </a:extLst>
          </p:cNvPr>
          <p:cNvSpPr txBox="1">
            <a:spLocks/>
          </p:cNvSpPr>
          <p:nvPr/>
        </p:nvSpPr>
        <p:spPr>
          <a:xfrm>
            <a:off x="227348" y="1815351"/>
            <a:ext cx="11700000" cy="4466201"/>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buClr>
                <a:srgbClr val="00C37B"/>
              </a:buClr>
            </a:pPr>
            <a:r>
              <a:rPr lang="en-US" dirty="0"/>
              <a:t>What’s new in C# 7.3</a:t>
            </a:r>
          </a:p>
          <a:p>
            <a:pPr lvl="2">
              <a:buClr>
                <a:srgbClr val="93E416"/>
              </a:buClr>
            </a:pPr>
            <a:r>
              <a:rPr lang="en-US" dirty="0"/>
              <a:t>Enabling more efficient safe code,</a:t>
            </a:r>
          </a:p>
          <a:p>
            <a:pPr lvl="3"/>
            <a:r>
              <a:rPr lang="en-US" dirty="0"/>
              <a:t>fixed fields without pinning access,</a:t>
            </a:r>
          </a:p>
          <a:p>
            <a:pPr lvl="3"/>
            <a:r>
              <a:rPr lang="en-US" dirty="0"/>
              <a:t>local ref variables reassignment,</a:t>
            </a:r>
            <a:endParaRPr lang="en-GB" dirty="0"/>
          </a:p>
        </p:txBody>
      </p:sp>
    </p:spTree>
    <p:extLst>
      <p:ext uri="{BB962C8B-B14F-4D97-AF65-F5344CB8AC3E}">
        <p14:creationId xmlns:p14="http://schemas.microsoft.com/office/powerpoint/2010/main" val="37330326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
                                            <p:txEl>
                                              <p:pRg st="3" end="3"/>
                                            </p:txEl>
                                          </p:spTgt>
                                        </p:tgtEl>
                                        <p:attrNameLst>
                                          <p:attrName>style.visibility</p:attrName>
                                        </p:attrNameLst>
                                      </p:cBhvr>
                                      <p:to>
                                        <p:strVal val="visible"/>
                                      </p:to>
                                    </p:set>
                                    <p:animEffect transition="in" filter="fade">
                                      <p:cBhvr>
                                        <p:cTn id="7" dur="500"/>
                                        <p:tgtEl>
                                          <p:spTgt spid="7">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ymbol zastępczy tekstu 5">
            <a:extLst>
              <a:ext uri="{FF2B5EF4-FFF2-40B4-BE49-F238E27FC236}">
                <a16:creationId xmlns:a16="http://schemas.microsoft.com/office/drawing/2014/main" id="{EC19D1F0-CA19-48E4-B6B7-FE7D3388EB92}"/>
              </a:ext>
            </a:extLst>
          </p:cNvPr>
          <p:cNvSpPr>
            <a:spLocks noGrp="1"/>
          </p:cNvSpPr>
          <p:nvPr>
            <p:ph type="body" sz="quarter" idx="11"/>
          </p:nvPr>
        </p:nvSpPr>
        <p:spPr>
          <a:xfrm>
            <a:off x="6528049" y="2191647"/>
            <a:ext cx="5187760" cy="3160282"/>
          </a:xfrm>
        </p:spPr>
        <p:txBody>
          <a:bodyPr/>
          <a:lstStyle/>
          <a:p>
            <a:r>
              <a:rPr lang="en-US" dirty="0"/>
              <a:t>What’s new in C# 7.3</a:t>
            </a:r>
            <a:br>
              <a:rPr lang="en-US" dirty="0"/>
            </a:br>
            <a:r>
              <a:rPr lang="en-US" sz="2400" dirty="0"/>
              <a:t>Local ref variables reassignment</a:t>
            </a:r>
            <a:endParaRPr lang="en-US" dirty="0"/>
          </a:p>
        </p:txBody>
      </p:sp>
      <p:sp>
        <p:nvSpPr>
          <p:cNvPr id="28" name="Freeform 37">
            <a:extLst>
              <a:ext uri="{FF2B5EF4-FFF2-40B4-BE49-F238E27FC236}">
                <a16:creationId xmlns:a16="http://schemas.microsoft.com/office/drawing/2014/main" id="{C163FEF7-EB42-4298-AED9-19E8D9ACF2E4}"/>
              </a:ext>
            </a:extLst>
          </p:cNvPr>
          <p:cNvSpPr>
            <a:spLocks/>
          </p:cNvSpPr>
          <p:nvPr/>
        </p:nvSpPr>
        <p:spPr bwMode="auto">
          <a:xfrm>
            <a:off x="1703512" y="800837"/>
            <a:ext cx="844550" cy="793750"/>
          </a:xfrm>
          <a:custGeom>
            <a:avLst/>
            <a:gdLst>
              <a:gd name="T0" fmla="*/ 51 w 440"/>
              <a:gd name="T1" fmla="*/ 298 h 410"/>
              <a:gd name="T2" fmla="*/ 128 w 440"/>
              <a:gd name="T3" fmla="*/ 48 h 410"/>
              <a:gd name="T4" fmla="*/ 389 w 440"/>
              <a:gd name="T5" fmla="*/ 122 h 410"/>
              <a:gd name="T6" fmla="*/ 307 w 440"/>
              <a:gd name="T7" fmla="*/ 362 h 410"/>
              <a:gd name="T8" fmla="*/ 51 w 440"/>
              <a:gd name="T9" fmla="*/ 298 h 410"/>
            </a:gdLst>
            <a:ahLst/>
            <a:cxnLst>
              <a:cxn ang="0">
                <a:pos x="T0" y="T1"/>
              </a:cxn>
              <a:cxn ang="0">
                <a:pos x="T2" y="T3"/>
              </a:cxn>
              <a:cxn ang="0">
                <a:pos x="T4" y="T5"/>
              </a:cxn>
              <a:cxn ang="0">
                <a:pos x="T6" y="T7"/>
              </a:cxn>
              <a:cxn ang="0">
                <a:pos x="T8" y="T9"/>
              </a:cxn>
            </a:cxnLst>
            <a:rect l="0" t="0" r="r" b="b"/>
            <a:pathLst>
              <a:path w="440" h="410">
                <a:moveTo>
                  <a:pt x="51" y="298"/>
                </a:moveTo>
                <a:cubicBezTo>
                  <a:pt x="0" y="209"/>
                  <a:pt x="34" y="97"/>
                  <a:pt x="128" y="48"/>
                </a:cubicBezTo>
                <a:cubicBezTo>
                  <a:pt x="221" y="0"/>
                  <a:pt x="338" y="33"/>
                  <a:pt x="389" y="122"/>
                </a:cubicBezTo>
                <a:cubicBezTo>
                  <a:pt x="440" y="212"/>
                  <a:pt x="400" y="313"/>
                  <a:pt x="307" y="362"/>
                </a:cubicBezTo>
                <a:cubicBezTo>
                  <a:pt x="214" y="410"/>
                  <a:pt x="102" y="388"/>
                  <a:pt x="51" y="298"/>
                </a:cubicBezTo>
              </a:path>
            </a:pathLst>
          </a:custGeom>
          <a:solidFill>
            <a:srgbClr val="93E416"/>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3" name="Oval 20">
            <a:extLst>
              <a:ext uri="{FF2B5EF4-FFF2-40B4-BE49-F238E27FC236}">
                <a16:creationId xmlns:a16="http://schemas.microsoft.com/office/drawing/2014/main" id="{EE9B31FA-25FA-4CC1-863F-BB3D69944DF9}"/>
              </a:ext>
            </a:extLst>
          </p:cNvPr>
          <p:cNvSpPr/>
          <p:nvPr/>
        </p:nvSpPr>
        <p:spPr>
          <a:xfrm>
            <a:off x="499463" y="1441730"/>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42" name="Oval 20">
            <a:extLst>
              <a:ext uri="{FF2B5EF4-FFF2-40B4-BE49-F238E27FC236}">
                <a16:creationId xmlns:a16="http://schemas.microsoft.com/office/drawing/2014/main" id="{9C48F09E-5C3B-4BEA-BD8F-85A5DCB0325B}"/>
              </a:ext>
            </a:extLst>
          </p:cNvPr>
          <p:cNvSpPr/>
          <p:nvPr/>
        </p:nvSpPr>
        <p:spPr>
          <a:xfrm>
            <a:off x="2380063" y="997006"/>
            <a:ext cx="1356623" cy="128178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7" name="Group 19">
            <a:extLst>
              <a:ext uri="{FF2B5EF4-FFF2-40B4-BE49-F238E27FC236}">
                <a16:creationId xmlns:a16="http://schemas.microsoft.com/office/drawing/2014/main" id="{FF31832D-FD34-4F29-8672-AC867ED6C64E}"/>
              </a:ext>
            </a:extLst>
          </p:cNvPr>
          <p:cNvGrpSpPr>
            <a:grpSpLocks noChangeAspect="1"/>
          </p:cNvGrpSpPr>
          <p:nvPr/>
        </p:nvGrpSpPr>
        <p:grpSpPr>
          <a:xfrm>
            <a:off x="1174279" y="1908553"/>
            <a:ext cx="666182" cy="1033435"/>
            <a:chOff x="-1876425" y="5237163"/>
            <a:chExt cx="247650" cy="384175"/>
          </a:xfrm>
        </p:grpSpPr>
        <p:sp>
          <p:nvSpPr>
            <p:cNvPr id="9" name="Freeform 18">
              <a:extLst>
                <a:ext uri="{FF2B5EF4-FFF2-40B4-BE49-F238E27FC236}">
                  <a16:creationId xmlns:a16="http://schemas.microsoft.com/office/drawing/2014/main" id="{1DC6D43C-7306-4F40-8893-99844F6F8EF3}"/>
                </a:ext>
              </a:extLst>
            </p:cNvPr>
            <p:cNvSpPr>
              <a:spLocks/>
            </p:cNvSpPr>
            <p:nvPr/>
          </p:nvSpPr>
          <p:spPr bwMode="auto">
            <a:xfrm>
              <a:off x="-1876425" y="5237163"/>
              <a:ext cx="247650" cy="209550"/>
            </a:xfrm>
            <a:custGeom>
              <a:avLst/>
              <a:gdLst>
                <a:gd name="T0" fmla="*/ 31 w 65"/>
                <a:gd name="T1" fmla="*/ 43 h 55"/>
                <a:gd name="T2" fmla="*/ 0 w 65"/>
                <a:gd name="T3" fmla="*/ 22 h 55"/>
                <a:gd name="T4" fmla="*/ 31 w 65"/>
                <a:gd name="T5" fmla="*/ 0 h 55"/>
                <a:gd name="T6" fmla="*/ 31 w 65"/>
                <a:gd name="T7" fmla="*/ 12 h 55"/>
                <a:gd name="T8" fmla="*/ 43 w 65"/>
                <a:gd name="T9" fmla="*/ 12 h 55"/>
                <a:gd name="T10" fmla="*/ 65 w 65"/>
                <a:gd name="T11" fmla="*/ 33 h 55"/>
                <a:gd name="T12" fmla="*/ 53 w 65"/>
                <a:gd name="T13" fmla="*/ 55 h 55"/>
                <a:gd name="T14" fmla="*/ 53 w 65"/>
                <a:gd name="T15" fmla="*/ 40 h 55"/>
                <a:gd name="T16" fmla="*/ 42 w 65"/>
                <a:gd name="T17" fmla="*/ 31 h 55"/>
                <a:gd name="T18" fmla="*/ 31 w 65"/>
                <a:gd name="T19" fmla="*/ 31 h 55"/>
                <a:gd name="T20" fmla="*/ 31 w 65"/>
                <a:gd name="T21" fmla="*/ 4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5" h="55">
                  <a:moveTo>
                    <a:pt x="31" y="43"/>
                  </a:moveTo>
                  <a:cubicBezTo>
                    <a:pt x="0" y="22"/>
                    <a:pt x="0" y="22"/>
                    <a:pt x="0" y="22"/>
                  </a:cubicBezTo>
                  <a:cubicBezTo>
                    <a:pt x="31" y="0"/>
                    <a:pt x="31" y="0"/>
                    <a:pt x="31" y="0"/>
                  </a:cubicBezTo>
                  <a:cubicBezTo>
                    <a:pt x="31" y="12"/>
                    <a:pt x="31" y="12"/>
                    <a:pt x="31" y="12"/>
                  </a:cubicBezTo>
                  <a:cubicBezTo>
                    <a:pt x="31" y="12"/>
                    <a:pt x="37" y="12"/>
                    <a:pt x="43" y="12"/>
                  </a:cubicBezTo>
                  <a:cubicBezTo>
                    <a:pt x="51" y="12"/>
                    <a:pt x="65" y="19"/>
                    <a:pt x="65" y="33"/>
                  </a:cubicBezTo>
                  <a:cubicBezTo>
                    <a:pt x="65" y="43"/>
                    <a:pt x="57" y="53"/>
                    <a:pt x="53" y="55"/>
                  </a:cubicBezTo>
                  <a:cubicBezTo>
                    <a:pt x="53" y="55"/>
                    <a:pt x="53" y="42"/>
                    <a:pt x="53" y="40"/>
                  </a:cubicBezTo>
                  <a:cubicBezTo>
                    <a:pt x="53" y="38"/>
                    <a:pt x="52" y="31"/>
                    <a:pt x="42" y="31"/>
                  </a:cubicBezTo>
                  <a:cubicBezTo>
                    <a:pt x="31" y="31"/>
                    <a:pt x="31" y="31"/>
                    <a:pt x="31" y="31"/>
                  </a:cubicBezTo>
                  <a:lnTo>
                    <a:pt x="31" y="43"/>
                  </a:lnTo>
                  <a:close/>
                </a:path>
              </a:pathLst>
            </a:custGeom>
            <a:solidFill>
              <a:schemeClr val="accent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 name="Freeform 19">
              <a:extLst>
                <a:ext uri="{FF2B5EF4-FFF2-40B4-BE49-F238E27FC236}">
                  <a16:creationId xmlns:a16="http://schemas.microsoft.com/office/drawing/2014/main" id="{AE4F1DA4-570C-4562-95FB-4C08F867EF2C}"/>
                </a:ext>
              </a:extLst>
            </p:cNvPr>
            <p:cNvSpPr>
              <a:spLocks/>
            </p:cNvSpPr>
            <p:nvPr/>
          </p:nvSpPr>
          <p:spPr bwMode="auto">
            <a:xfrm>
              <a:off x="-1876425" y="5416550"/>
              <a:ext cx="247650" cy="204788"/>
            </a:xfrm>
            <a:custGeom>
              <a:avLst/>
              <a:gdLst>
                <a:gd name="T0" fmla="*/ 35 w 65"/>
                <a:gd name="T1" fmla="*/ 23 h 54"/>
                <a:gd name="T2" fmla="*/ 24 w 65"/>
                <a:gd name="T3" fmla="*/ 23 h 54"/>
                <a:gd name="T4" fmla="*/ 13 w 65"/>
                <a:gd name="T5" fmla="*/ 15 h 54"/>
                <a:gd name="T6" fmla="*/ 13 w 65"/>
                <a:gd name="T7" fmla="*/ 0 h 54"/>
                <a:gd name="T8" fmla="*/ 0 w 65"/>
                <a:gd name="T9" fmla="*/ 22 h 54"/>
                <a:gd name="T10" fmla="*/ 23 w 65"/>
                <a:gd name="T11" fmla="*/ 42 h 54"/>
                <a:gd name="T12" fmla="*/ 35 w 65"/>
                <a:gd name="T13" fmla="*/ 42 h 54"/>
                <a:gd name="T14" fmla="*/ 35 w 65"/>
                <a:gd name="T15" fmla="*/ 54 h 54"/>
                <a:gd name="T16" fmla="*/ 65 w 65"/>
                <a:gd name="T17" fmla="*/ 33 h 54"/>
                <a:gd name="T18" fmla="*/ 35 w 65"/>
                <a:gd name="T19" fmla="*/ 11 h 54"/>
                <a:gd name="T20" fmla="*/ 35 w 65"/>
                <a:gd name="T21" fmla="*/ 23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5" h="54">
                  <a:moveTo>
                    <a:pt x="35" y="23"/>
                  </a:moveTo>
                  <a:cubicBezTo>
                    <a:pt x="24" y="23"/>
                    <a:pt x="24" y="23"/>
                    <a:pt x="24" y="23"/>
                  </a:cubicBezTo>
                  <a:cubicBezTo>
                    <a:pt x="14" y="23"/>
                    <a:pt x="13" y="16"/>
                    <a:pt x="13" y="15"/>
                  </a:cubicBezTo>
                  <a:cubicBezTo>
                    <a:pt x="12" y="12"/>
                    <a:pt x="13" y="0"/>
                    <a:pt x="13" y="0"/>
                  </a:cubicBezTo>
                  <a:cubicBezTo>
                    <a:pt x="9" y="1"/>
                    <a:pt x="0" y="11"/>
                    <a:pt x="0" y="22"/>
                  </a:cubicBezTo>
                  <a:cubicBezTo>
                    <a:pt x="0" y="35"/>
                    <a:pt x="14" y="42"/>
                    <a:pt x="23" y="42"/>
                  </a:cubicBezTo>
                  <a:cubicBezTo>
                    <a:pt x="29" y="42"/>
                    <a:pt x="35" y="42"/>
                    <a:pt x="35" y="42"/>
                  </a:cubicBezTo>
                  <a:cubicBezTo>
                    <a:pt x="35" y="54"/>
                    <a:pt x="35" y="54"/>
                    <a:pt x="35" y="54"/>
                  </a:cubicBezTo>
                  <a:cubicBezTo>
                    <a:pt x="65" y="33"/>
                    <a:pt x="65" y="33"/>
                    <a:pt x="65" y="33"/>
                  </a:cubicBezTo>
                  <a:cubicBezTo>
                    <a:pt x="35" y="11"/>
                    <a:pt x="35" y="11"/>
                    <a:pt x="35" y="11"/>
                  </a:cubicBezTo>
                  <a:lnTo>
                    <a:pt x="35" y="23"/>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2455707447"/>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ytuł 1">
            <a:extLst>
              <a:ext uri="{FF2B5EF4-FFF2-40B4-BE49-F238E27FC236}">
                <a16:creationId xmlns:a16="http://schemas.microsoft.com/office/drawing/2014/main" id="{DEA935F7-2904-40FF-A73D-3CCC59AF658E}"/>
              </a:ext>
            </a:extLst>
          </p:cNvPr>
          <p:cNvSpPr>
            <a:spLocks noGrp="1"/>
          </p:cNvSpPr>
          <p:nvPr>
            <p:ph type="title"/>
          </p:nvPr>
        </p:nvSpPr>
        <p:spPr/>
        <p:txBody>
          <a:bodyPr/>
          <a:lstStyle/>
          <a:p>
            <a:r>
              <a:rPr lang="en-US" sz="3200" dirty="0"/>
              <a:t>Local ref variables reassignment</a:t>
            </a:r>
          </a:p>
        </p:txBody>
      </p:sp>
      <p:sp>
        <p:nvSpPr>
          <p:cNvPr id="5" name="Symbol zastępczy tekstu 4">
            <a:extLst>
              <a:ext uri="{FF2B5EF4-FFF2-40B4-BE49-F238E27FC236}">
                <a16:creationId xmlns:a16="http://schemas.microsoft.com/office/drawing/2014/main" id="{026454BF-D147-4265-B180-0D1A4FC7A23F}"/>
              </a:ext>
            </a:extLst>
          </p:cNvPr>
          <p:cNvSpPr>
            <a:spLocks noGrp="1"/>
          </p:cNvSpPr>
          <p:nvPr>
            <p:ph type="body" sz="quarter" idx="10"/>
          </p:nvPr>
        </p:nvSpPr>
        <p:spPr/>
        <p:txBody>
          <a:bodyPr/>
          <a:lstStyle/>
          <a:p>
            <a:endParaRPr lang="en-US" dirty="0"/>
          </a:p>
        </p:txBody>
      </p:sp>
      <p:sp>
        <p:nvSpPr>
          <p:cNvPr id="3" name="Symbol zastępczy tekstu 2">
            <a:extLst>
              <a:ext uri="{FF2B5EF4-FFF2-40B4-BE49-F238E27FC236}">
                <a16:creationId xmlns:a16="http://schemas.microsoft.com/office/drawing/2014/main" id="{D0A37E72-B711-494C-A35F-F9DF4987AC76}"/>
              </a:ext>
            </a:extLst>
          </p:cNvPr>
          <p:cNvSpPr>
            <a:spLocks noGrp="1"/>
          </p:cNvSpPr>
          <p:nvPr>
            <p:ph type="body" sz="quarter" idx="11"/>
          </p:nvPr>
        </p:nvSpPr>
        <p:spPr/>
        <p:txBody>
          <a:bodyPr/>
          <a:lstStyle/>
          <a:p>
            <a:r>
              <a:rPr lang="en-US" dirty="0"/>
              <a:t>C# 7.2</a:t>
            </a:r>
          </a:p>
        </p:txBody>
      </p:sp>
      <p:sp>
        <p:nvSpPr>
          <p:cNvPr id="6" name="Symbol zastępczy tekstu 5">
            <a:extLst>
              <a:ext uri="{FF2B5EF4-FFF2-40B4-BE49-F238E27FC236}">
                <a16:creationId xmlns:a16="http://schemas.microsoft.com/office/drawing/2014/main" id="{9B3BF7E6-792E-4E7E-A1BA-67B18F143E96}"/>
              </a:ext>
            </a:extLst>
          </p:cNvPr>
          <p:cNvSpPr>
            <a:spLocks noGrp="1"/>
          </p:cNvSpPr>
          <p:nvPr>
            <p:ph type="body" sz="quarter" idx="12"/>
          </p:nvPr>
        </p:nvSpPr>
        <p:spPr/>
        <p:txBody>
          <a:bodyPr/>
          <a:lstStyle/>
          <a:p>
            <a:r>
              <a:rPr lang="en-US" dirty="0"/>
              <a:t>1</a:t>
            </a:r>
          </a:p>
        </p:txBody>
      </p:sp>
    </p:spTree>
    <p:extLst>
      <p:ext uri="{BB962C8B-B14F-4D97-AF65-F5344CB8AC3E}">
        <p14:creationId xmlns:p14="http://schemas.microsoft.com/office/powerpoint/2010/main" val="4291566454"/>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ytuł 1">
            <a:extLst>
              <a:ext uri="{FF2B5EF4-FFF2-40B4-BE49-F238E27FC236}">
                <a16:creationId xmlns:a16="http://schemas.microsoft.com/office/drawing/2014/main" id="{DEA935F7-2904-40FF-A73D-3CCC59AF658E}"/>
              </a:ext>
            </a:extLst>
          </p:cNvPr>
          <p:cNvSpPr>
            <a:spLocks noGrp="1"/>
          </p:cNvSpPr>
          <p:nvPr>
            <p:ph type="title"/>
          </p:nvPr>
        </p:nvSpPr>
        <p:spPr/>
        <p:txBody>
          <a:bodyPr/>
          <a:lstStyle/>
          <a:p>
            <a:r>
              <a:rPr lang="en-US" sz="3200" dirty="0"/>
              <a:t>Local ref variables reassignment</a:t>
            </a:r>
          </a:p>
        </p:txBody>
      </p:sp>
      <p:sp>
        <p:nvSpPr>
          <p:cNvPr id="5" name="Symbol zastępczy tekstu 4">
            <a:extLst>
              <a:ext uri="{FF2B5EF4-FFF2-40B4-BE49-F238E27FC236}">
                <a16:creationId xmlns:a16="http://schemas.microsoft.com/office/drawing/2014/main" id="{026454BF-D147-4265-B180-0D1A4FC7A23F}"/>
              </a:ext>
            </a:extLst>
          </p:cNvPr>
          <p:cNvSpPr>
            <a:spLocks noGrp="1"/>
          </p:cNvSpPr>
          <p:nvPr>
            <p:ph type="body" sz="quarter" idx="10"/>
          </p:nvPr>
        </p:nvSpPr>
        <p:spPr/>
        <p:txBody>
          <a:bodyPr/>
          <a:lstStyle/>
          <a:p>
            <a:endParaRPr lang="en-US" dirty="0"/>
          </a:p>
        </p:txBody>
      </p:sp>
      <p:sp>
        <p:nvSpPr>
          <p:cNvPr id="3" name="Symbol zastępczy tekstu 2">
            <a:extLst>
              <a:ext uri="{FF2B5EF4-FFF2-40B4-BE49-F238E27FC236}">
                <a16:creationId xmlns:a16="http://schemas.microsoft.com/office/drawing/2014/main" id="{D0A37E72-B711-494C-A35F-F9DF4987AC76}"/>
              </a:ext>
            </a:extLst>
          </p:cNvPr>
          <p:cNvSpPr>
            <a:spLocks noGrp="1"/>
          </p:cNvSpPr>
          <p:nvPr>
            <p:ph type="body" sz="quarter" idx="11"/>
          </p:nvPr>
        </p:nvSpPr>
        <p:spPr/>
        <p:txBody>
          <a:bodyPr/>
          <a:lstStyle/>
          <a:p>
            <a:r>
              <a:rPr lang="en-US" dirty="0"/>
              <a:t>C# 7.3</a:t>
            </a:r>
          </a:p>
        </p:txBody>
      </p:sp>
      <p:sp>
        <p:nvSpPr>
          <p:cNvPr id="6" name="Symbol zastępczy tekstu 5">
            <a:extLst>
              <a:ext uri="{FF2B5EF4-FFF2-40B4-BE49-F238E27FC236}">
                <a16:creationId xmlns:a16="http://schemas.microsoft.com/office/drawing/2014/main" id="{9B3BF7E6-792E-4E7E-A1BA-67B18F143E96}"/>
              </a:ext>
            </a:extLst>
          </p:cNvPr>
          <p:cNvSpPr>
            <a:spLocks noGrp="1"/>
          </p:cNvSpPr>
          <p:nvPr>
            <p:ph type="body" sz="quarter" idx="12"/>
          </p:nvPr>
        </p:nvSpPr>
        <p:spPr/>
        <p:txBody>
          <a:bodyPr/>
          <a:lstStyle/>
          <a:p>
            <a:r>
              <a:rPr lang="en-US" dirty="0"/>
              <a:t>2</a:t>
            </a:r>
          </a:p>
        </p:txBody>
      </p:sp>
    </p:spTree>
    <p:extLst>
      <p:ext uri="{BB962C8B-B14F-4D97-AF65-F5344CB8AC3E}">
        <p14:creationId xmlns:p14="http://schemas.microsoft.com/office/powerpoint/2010/main" val="22777111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pl-PL" dirty="0"/>
              <a:t>Agenda</a:t>
            </a:r>
            <a:endParaRPr lang="en-GB" dirty="0"/>
          </a:p>
        </p:txBody>
      </p:sp>
      <p:sp>
        <p:nvSpPr>
          <p:cNvPr id="5" name="Text Placeholder 4"/>
          <p:cNvSpPr>
            <a:spLocks noGrp="1"/>
          </p:cNvSpPr>
          <p:nvPr>
            <p:ph type="body" sz="quarter" idx="10"/>
          </p:nvPr>
        </p:nvSpPr>
        <p:spPr/>
        <p:txBody>
          <a:bodyPr/>
          <a:lstStyle/>
          <a:p>
            <a:pPr lvl="1"/>
            <a:r>
              <a:rPr lang="en-US" dirty="0">
                <a:solidFill>
                  <a:schemeClr val="bg1">
                    <a:lumMod val="95000"/>
                  </a:schemeClr>
                </a:solidFill>
              </a:rPr>
              <a:t>Introduction</a:t>
            </a:r>
          </a:p>
          <a:p>
            <a:pPr lvl="2"/>
            <a:r>
              <a:rPr lang="en-US" dirty="0">
                <a:solidFill>
                  <a:schemeClr val="bg1">
                    <a:lumMod val="95000"/>
                  </a:schemeClr>
                </a:solidFill>
              </a:rPr>
              <a:t>The recent C# versions timeline,</a:t>
            </a:r>
          </a:p>
          <a:p>
            <a:pPr lvl="2"/>
            <a:r>
              <a:rPr lang="en-US" dirty="0">
                <a:solidFill>
                  <a:schemeClr val="bg1">
                    <a:lumMod val="95000"/>
                  </a:schemeClr>
                </a:solidFill>
              </a:rPr>
              <a:t>C# 8.0 pre-requirements,</a:t>
            </a:r>
          </a:p>
          <a:p>
            <a:pPr lvl="2"/>
            <a:r>
              <a:rPr lang="en-US" dirty="0">
                <a:solidFill>
                  <a:schemeClr val="bg1">
                    <a:lumMod val="95000"/>
                  </a:schemeClr>
                </a:solidFill>
              </a:rPr>
              <a:t>dive into an example.</a:t>
            </a:r>
          </a:p>
        </p:txBody>
      </p:sp>
      <p:sp>
        <p:nvSpPr>
          <p:cNvPr id="6" name="Text Placeholder 5"/>
          <p:cNvSpPr>
            <a:spLocks noGrp="1"/>
          </p:cNvSpPr>
          <p:nvPr>
            <p:ph type="body" sz="quarter" idx="11"/>
          </p:nvPr>
        </p:nvSpPr>
        <p:spPr/>
        <p:txBody>
          <a:bodyPr/>
          <a:lstStyle/>
          <a:p>
            <a:r>
              <a:rPr lang="en-US" dirty="0"/>
              <a:t>We are going to talk about…</a:t>
            </a:r>
          </a:p>
        </p:txBody>
      </p:sp>
      <p:sp>
        <p:nvSpPr>
          <p:cNvPr id="8" name="Text Placeholder 4">
            <a:extLst>
              <a:ext uri="{FF2B5EF4-FFF2-40B4-BE49-F238E27FC236}">
                <a16:creationId xmlns:a16="http://schemas.microsoft.com/office/drawing/2014/main" id="{52580643-4575-408B-8BE0-E817BC2D360B}"/>
              </a:ext>
            </a:extLst>
          </p:cNvPr>
          <p:cNvSpPr txBox="1">
            <a:spLocks/>
          </p:cNvSpPr>
          <p:nvPr/>
        </p:nvSpPr>
        <p:spPr>
          <a:xfrm>
            <a:off x="227348" y="1815350"/>
            <a:ext cx="11700000" cy="4466201"/>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r>
              <a:rPr lang="en-US" dirty="0"/>
              <a:t>Introduction</a:t>
            </a:r>
          </a:p>
          <a:p>
            <a:pPr lvl="2"/>
            <a:r>
              <a:rPr lang="en-US" dirty="0"/>
              <a:t>The recent C# versions timeline,</a:t>
            </a:r>
          </a:p>
          <a:p>
            <a:pPr lvl="2"/>
            <a:r>
              <a:rPr lang="en-US" dirty="0"/>
              <a:t>C# 8.0 pre-requirements,</a:t>
            </a:r>
          </a:p>
          <a:p>
            <a:pPr lvl="2"/>
            <a:endParaRPr lang="en-US" dirty="0"/>
          </a:p>
        </p:txBody>
      </p:sp>
    </p:spTree>
    <p:extLst>
      <p:ext uri="{BB962C8B-B14F-4D97-AF65-F5344CB8AC3E}">
        <p14:creationId xmlns:p14="http://schemas.microsoft.com/office/powerpoint/2010/main" val="338317882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
                                            <p:txEl>
                                              <p:pRg st="1" end="1"/>
                                            </p:txEl>
                                          </p:spTgt>
                                        </p:tgtEl>
                                        <p:attrNameLst>
                                          <p:attrName>style.visibility</p:attrName>
                                        </p:attrNameLst>
                                      </p:cBhvr>
                                      <p:to>
                                        <p:strVal val="visible"/>
                                      </p:to>
                                    </p:set>
                                    <p:animEffect transition="in" filter="fade">
                                      <p:cBhvr>
                                        <p:cTn id="7" dur="500"/>
                                        <p:tgtEl>
                                          <p:spTgt spid="8">
                                            <p:txEl>
                                              <p:pRg st="1" end="1"/>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8">
                                            <p:txEl>
                                              <p:pRg st="2" end="2"/>
                                            </p:txEl>
                                          </p:spTgt>
                                        </p:tgtEl>
                                        <p:attrNameLst>
                                          <p:attrName>style.visibility</p:attrName>
                                        </p:attrNameLst>
                                      </p:cBhvr>
                                      <p:to>
                                        <p:strVal val="visible"/>
                                      </p:to>
                                    </p:set>
                                    <p:animEffect transition="in" filter="fade">
                                      <p:cBhvr>
                                        <p:cTn id="10" dur="500"/>
                                        <p:tgtEl>
                                          <p:spTgt spid="8">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pl-PL" dirty="0"/>
              <a:t>Agenda</a:t>
            </a:r>
            <a:endParaRPr lang="en-GB" dirty="0"/>
          </a:p>
        </p:txBody>
      </p:sp>
      <p:sp>
        <p:nvSpPr>
          <p:cNvPr id="5" name="Text Placeholder 4"/>
          <p:cNvSpPr>
            <a:spLocks noGrp="1"/>
          </p:cNvSpPr>
          <p:nvPr>
            <p:ph type="body" sz="quarter" idx="10"/>
          </p:nvPr>
        </p:nvSpPr>
        <p:spPr/>
        <p:txBody>
          <a:bodyPr/>
          <a:lstStyle/>
          <a:p>
            <a:pPr lvl="1"/>
            <a:r>
              <a:rPr lang="en-US" dirty="0">
                <a:solidFill>
                  <a:schemeClr val="bg1">
                    <a:lumMod val="95000"/>
                  </a:schemeClr>
                </a:solidFill>
              </a:rPr>
              <a:t>What’s new in C# 7.3</a:t>
            </a:r>
          </a:p>
          <a:p>
            <a:pPr lvl="2"/>
            <a:r>
              <a:rPr lang="en-US" dirty="0">
                <a:solidFill>
                  <a:schemeClr val="bg1">
                    <a:lumMod val="95000"/>
                  </a:schemeClr>
                </a:solidFill>
              </a:rPr>
              <a:t>Enabling more efficient safe code,</a:t>
            </a:r>
          </a:p>
          <a:p>
            <a:pPr lvl="3"/>
            <a:r>
              <a:rPr lang="en-US" dirty="0">
                <a:solidFill>
                  <a:schemeClr val="bg1">
                    <a:lumMod val="95000"/>
                  </a:schemeClr>
                </a:solidFill>
              </a:rPr>
              <a:t>fixed fields without pinning access,</a:t>
            </a:r>
          </a:p>
          <a:p>
            <a:pPr lvl="3"/>
            <a:r>
              <a:rPr lang="en-US" dirty="0">
                <a:solidFill>
                  <a:schemeClr val="bg1">
                    <a:lumMod val="95000"/>
                  </a:schemeClr>
                </a:solidFill>
              </a:rPr>
              <a:t>local ref variables reassignment,</a:t>
            </a:r>
          </a:p>
          <a:p>
            <a:pPr lvl="3"/>
            <a:r>
              <a:rPr lang="en-US" dirty="0">
                <a:solidFill>
                  <a:schemeClr val="bg1">
                    <a:lumMod val="95000"/>
                  </a:schemeClr>
                </a:solidFill>
              </a:rPr>
              <a:t>array initializers with </a:t>
            </a:r>
            <a:r>
              <a:rPr lang="en-US" dirty="0" err="1">
                <a:solidFill>
                  <a:schemeClr val="bg1">
                    <a:lumMod val="95000"/>
                  </a:schemeClr>
                </a:solidFill>
              </a:rPr>
              <a:t>stackalloc</a:t>
            </a:r>
            <a:r>
              <a:rPr lang="en-US" dirty="0">
                <a:solidFill>
                  <a:schemeClr val="bg1">
                    <a:lumMod val="95000"/>
                  </a:schemeClr>
                </a:solidFill>
              </a:rPr>
              <a:t>,</a:t>
            </a:r>
          </a:p>
          <a:p>
            <a:pPr lvl="3"/>
            <a:r>
              <a:rPr lang="en-US" dirty="0">
                <a:solidFill>
                  <a:schemeClr val="bg1">
                    <a:lumMod val="95000"/>
                  </a:schemeClr>
                </a:solidFill>
              </a:rPr>
              <a:t>extended fixed support for types,</a:t>
            </a:r>
          </a:p>
          <a:p>
            <a:pPr lvl="3"/>
            <a:r>
              <a:rPr lang="en-US" dirty="0">
                <a:solidFill>
                  <a:schemeClr val="bg1">
                    <a:lumMod val="95000"/>
                  </a:schemeClr>
                </a:solidFill>
              </a:rPr>
              <a:t>enhanced generic constraints.</a:t>
            </a:r>
          </a:p>
          <a:p>
            <a:pPr lvl="2"/>
            <a:r>
              <a:rPr lang="en-US" dirty="0">
                <a:solidFill>
                  <a:schemeClr val="bg1">
                    <a:lumMod val="95000"/>
                  </a:schemeClr>
                </a:solidFill>
              </a:rPr>
              <a:t>Make existing features better</a:t>
            </a:r>
          </a:p>
          <a:p>
            <a:pPr lvl="3"/>
            <a:r>
              <a:rPr lang="en-US" dirty="0">
                <a:solidFill>
                  <a:schemeClr val="bg1">
                    <a:lumMod val="95000"/>
                  </a:schemeClr>
                </a:solidFill>
              </a:rPr>
              <a:t>equality comparator tuple support,</a:t>
            </a:r>
          </a:p>
          <a:p>
            <a:pPr lvl="3"/>
            <a:r>
              <a:rPr lang="en-US" dirty="0">
                <a:solidFill>
                  <a:schemeClr val="bg1">
                    <a:lumMod val="95000"/>
                  </a:schemeClr>
                </a:solidFill>
              </a:rPr>
              <a:t>field attributes for auto-implemented properties,</a:t>
            </a:r>
          </a:p>
          <a:p>
            <a:pPr lvl="3"/>
            <a:r>
              <a:rPr lang="en-US" dirty="0">
                <a:solidFill>
                  <a:schemeClr val="bg1">
                    <a:lumMod val="95000"/>
                  </a:schemeClr>
                </a:solidFill>
              </a:rPr>
              <a:t>in method overload,</a:t>
            </a:r>
          </a:p>
          <a:p>
            <a:pPr lvl="3"/>
            <a:r>
              <a:rPr lang="en-US" dirty="0">
                <a:solidFill>
                  <a:schemeClr val="bg1">
                    <a:lumMod val="95000"/>
                  </a:schemeClr>
                </a:solidFill>
              </a:rPr>
              <a:t>extend expression variables in initializers.</a:t>
            </a:r>
            <a:endParaRPr lang="en-GB" dirty="0">
              <a:solidFill>
                <a:schemeClr val="bg1">
                  <a:lumMod val="95000"/>
                </a:schemeClr>
              </a:solidFill>
            </a:endParaRPr>
          </a:p>
        </p:txBody>
      </p:sp>
      <p:sp>
        <p:nvSpPr>
          <p:cNvPr id="6" name="Text Placeholder 5"/>
          <p:cNvSpPr>
            <a:spLocks noGrp="1"/>
          </p:cNvSpPr>
          <p:nvPr>
            <p:ph type="body" sz="quarter" idx="11"/>
          </p:nvPr>
        </p:nvSpPr>
        <p:spPr/>
        <p:txBody>
          <a:bodyPr/>
          <a:lstStyle/>
          <a:p>
            <a:r>
              <a:rPr lang="en-US" dirty="0"/>
              <a:t>We are going to talk about…</a:t>
            </a:r>
          </a:p>
        </p:txBody>
      </p:sp>
      <p:sp>
        <p:nvSpPr>
          <p:cNvPr id="7" name="Text Placeholder 4">
            <a:extLst>
              <a:ext uri="{FF2B5EF4-FFF2-40B4-BE49-F238E27FC236}">
                <a16:creationId xmlns:a16="http://schemas.microsoft.com/office/drawing/2014/main" id="{ED73704D-A765-4676-B99A-0282F156294F}"/>
              </a:ext>
            </a:extLst>
          </p:cNvPr>
          <p:cNvSpPr txBox="1">
            <a:spLocks/>
          </p:cNvSpPr>
          <p:nvPr/>
        </p:nvSpPr>
        <p:spPr>
          <a:xfrm>
            <a:off x="227348" y="1815351"/>
            <a:ext cx="11700000" cy="4466201"/>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buClr>
                <a:srgbClr val="00C37B"/>
              </a:buClr>
            </a:pPr>
            <a:r>
              <a:rPr lang="en-US" dirty="0"/>
              <a:t>What’s new in C# 7.3</a:t>
            </a:r>
          </a:p>
          <a:p>
            <a:pPr lvl="2">
              <a:buClr>
                <a:srgbClr val="93E416"/>
              </a:buClr>
            </a:pPr>
            <a:r>
              <a:rPr lang="en-US" dirty="0"/>
              <a:t>Enabling more efficient safe code,</a:t>
            </a:r>
          </a:p>
          <a:p>
            <a:pPr lvl="3"/>
            <a:r>
              <a:rPr lang="en-US" dirty="0"/>
              <a:t>fixed fields without pinning access,</a:t>
            </a:r>
          </a:p>
          <a:p>
            <a:pPr lvl="3"/>
            <a:r>
              <a:rPr lang="en-US" dirty="0"/>
              <a:t>local ref variables reassignment,</a:t>
            </a:r>
          </a:p>
          <a:p>
            <a:pPr lvl="3"/>
            <a:r>
              <a:rPr lang="en-US" dirty="0"/>
              <a:t>array initializers with </a:t>
            </a:r>
            <a:r>
              <a:rPr lang="en-US" dirty="0" err="1"/>
              <a:t>stackalloc</a:t>
            </a:r>
            <a:r>
              <a:rPr lang="en-US" dirty="0"/>
              <a:t>,</a:t>
            </a:r>
            <a:endParaRPr lang="en-GB" dirty="0"/>
          </a:p>
        </p:txBody>
      </p:sp>
    </p:spTree>
    <p:extLst>
      <p:ext uri="{BB962C8B-B14F-4D97-AF65-F5344CB8AC3E}">
        <p14:creationId xmlns:p14="http://schemas.microsoft.com/office/powerpoint/2010/main" val="29946945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
                                            <p:txEl>
                                              <p:pRg st="4" end="4"/>
                                            </p:txEl>
                                          </p:spTgt>
                                        </p:tgtEl>
                                        <p:attrNameLst>
                                          <p:attrName>style.visibility</p:attrName>
                                        </p:attrNameLst>
                                      </p:cBhvr>
                                      <p:to>
                                        <p:strVal val="visible"/>
                                      </p:to>
                                    </p:set>
                                    <p:animEffect transition="in" filter="fade">
                                      <p:cBhvr>
                                        <p:cTn id="7" dur="500"/>
                                        <p:tgtEl>
                                          <p:spTgt spid="7">
                                            <p:txEl>
                                              <p:pRg st="4" end="4"/>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ymbol zastępczy tekstu 5">
            <a:extLst>
              <a:ext uri="{FF2B5EF4-FFF2-40B4-BE49-F238E27FC236}">
                <a16:creationId xmlns:a16="http://schemas.microsoft.com/office/drawing/2014/main" id="{EC19D1F0-CA19-48E4-B6B7-FE7D3388EB92}"/>
              </a:ext>
            </a:extLst>
          </p:cNvPr>
          <p:cNvSpPr>
            <a:spLocks noGrp="1"/>
          </p:cNvSpPr>
          <p:nvPr>
            <p:ph type="body" sz="quarter" idx="11"/>
          </p:nvPr>
        </p:nvSpPr>
        <p:spPr>
          <a:xfrm>
            <a:off x="6528049" y="2191647"/>
            <a:ext cx="5187760" cy="3160282"/>
          </a:xfrm>
        </p:spPr>
        <p:txBody>
          <a:bodyPr/>
          <a:lstStyle/>
          <a:p>
            <a:r>
              <a:rPr lang="en-US" dirty="0"/>
              <a:t>What’s new in C# 7.3</a:t>
            </a:r>
            <a:br>
              <a:rPr lang="en-US" dirty="0"/>
            </a:br>
            <a:r>
              <a:rPr lang="en-US" sz="2400" dirty="0"/>
              <a:t>Array initializers with </a:t>
            </a:r>
            <a:r>
              <a:rPr lang="en-US" sz="2400" dirty="0" err="1"/>
              <a:t>stackalloc</a:t>
            </a:r>
            <a:endParaRPr lang="en-US" dirty="0"/>
          </a:p>
        </p:txBody>
      </p:sp>
      <p:sp>
        <p:nvSpPr>
          <p:cNvPr id="28" name="Freeform 37">
            <a:extLst>
              <a:ext uri="{FF2B5EF4-FFF2-40B4-BE49-F238E27FC236}">
                <a16:creationId xmlns:a16="http://schemas.microsoft.com/office/drawing/2014/main" id="{C163FEF7-EB42-4298-AED9-19E8D9ACF2E4}"/>
              </a:ext>
            </a:extLst>
          </p:cNvPr>
          <p:cNvSpPr>
            <a:spLocks/>
          </p:cNvSpPr>
          <p:nvPr/>
        </p:nvSpPr>
        <p:spPr bwMode="auto">
          <a:xfrm>
            <a:off x="1703512" y="800837"/>
            <a:ext cx="844550" cy="793750"/>
          </a:xfrm>
          <a:custGeom>
            <a:avLst/>
            <a:gdLst>
              <a:gd name="T0" fmla="*/ 51 w 440"/>
              <a:gd name="T1" fmla="*/ 298 h 410"/>
              <a:gd name="T2" fmla="*/ 128 w 440"/>
              <a:gd name="T3" fmla="*/ 48 h 410"/>
              <a:gd name="T4" fmla="*/ 389 w 440"/>
              <a:gd name="T5" fmla="*/ 122 h 410"/>
              <a:gd name="T6" fmla="*/ 307 w 440"/>
              <a:gd name="T7" fmla="*/ 362 h 410"/>
              <a:gd name="T8" fmla="*/ 51 w 440"/>
              <a:gd name="T9" fmla="*/ 298 h 410"/>
            </a:gdLst>
            <a:ahLst/>
            <a:cxnLst>
              <a:cxn ang="0">
                <a:pos x="T0" y="T1"/>
              </a:cxn>
              <a:cxn ang="0">
                <a:pos x="T2" y="T3"/>
              </a:cxn>
              <a:cxn ang="0">
                <a:pos x="T4" y="T5"/>
              </a:cxn>
              <a:cxn ang="0">
                <a:pos x="T6" y="T7"/>
              </a:cxn>
              <a:cxn ang="0">
                <a:pos x="T8" y="T9"/>
              </a:cxn>
            </a:cxnLst>
            <a:rect l="0" t="0" r="r" b="b"/>
            <a:pathLst>
              <a:path w="440" h="410">
                <a:moveTo>
                  <a:pt x="51" y="298"/>
                </a:moveTo>
                <a:cubicBezTo>
                  <a:pt x="0" y="209"/>
                  <a:pt x="34" y="97"/>
                  <a:pt x="128" y="48"/>
                </a:cubicBezTo>
                <a:cubicBezTo>
                  <a:pt x="221" y="0"/>
                  <a:pt x="338" y="33"/>
                  <a:pt x="389" y="122"/>
                </a:cubicBezTo>
                <a:cubicBezTo>
                  <a:pt x="440" y="212"/>
                  <a:pt x="400" y="313"/>
                  <a:pt x="307" y="362"/>
                </a:cubicBezTo>
                <a:cubicBezTo>
                  <a:pt x="214" y="410"/>
                  <a:pt x="102" y="388"/>
                  <a:pt x="51" y="298"/>
                </a:cubicBezTo>
              </a:path>
            </a:pathLst>
          </a:custGeom>
          <a:solidFill>
            <a:srgbClr val="93E416"/>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3" name="Oval 20">
            <a:extLst>
              <a:ext uri="{FF2B5EF4-FFF2-40B4-BE49-F238E27FC236}">
                <a16:creationId xmlns:a16="http://schemas.microsoft.com/office/drawing/2014/main" id="{EE9B31FA-25FA-4CC1-863F-BB3D69944DF9}"/>
              </a:ext>
            </a:extLst>
          </p:cNvPr>
          <p:cNvSpPr/>
          <p:nvPr/>
        </p:nvSpPr>
        <p:spPr>
          <a:xfrm>
            <a:off x="499463" y="1441730"/>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42" name="Oval 20">
            <a:extLst>
              <a:ext uri="{FF2B5EF4-FFF2-40B4-BE49-F238E27FC236}">
                <a16:creationId xmlns:a16="http://schemas.microsoft.com/office/drawing/2014/main" id="{9C48F09E-5C3B-4BEA-BD8F-85A5DCB0325B}"/>
              </a:ext>
            </a:extLst>
          </p:cNvPr>
          <p:cNvSpPr/>
          <p:nvPr/>
        </p:nvSpPr>
        <p:spPr>
          <a:xfrm>
            <a:off x="2380063" y="997006"/>
            <a:ext cx="1356623" cy="128178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7" name="Group 595">
            <a:extLst>
              <a:ext uri="{FF2B5EF4-FFF2-40B4-BE49-F238E27FC236}">
                <a16:creationId xmlns:a16="http://schemas.microsoft.com/office/drawing/2014/main" id="{D24ECB6F-D3D7-4D06-8658-47C58093EE73}"/>
              </a:ext>
            </a:extLst>
          </p:cNvPr>
          <p:cNvGrpSpPr>
            <a:grpSpLocks noChangeAspect="1"/>
          </p:cNvGrpSpPr>
          <p:nvPr/>
        </p:nvGrpSpPr>
        <p:grpSpPr>
          <a:xfrm>
            <a:off x="740929" y="2006455"/>
            <a:ext cx="1625236" cy="854081"/>
            <a:chOff x="538162" y="5886450"/>
            <a:chExt cx="622300" cy="327026"/>
          </a:xfrm>
        </p:grpSpPr>
        <p:sp>
          <p:nvSpPr>
            <p:cNvPr id="9" name="Freeform 244">
              <a:extLst>
                <a:ext uri="{FF2B5EF4-FFF2-40B4-BE49-F238E27FC236}">
                  <a16:creationId xmlns:a16="http://schemas.microsoft.com/office/drawing/2014/main" id="{5D1D2914-3366-45C7-B840-1C93655905D9}"/>
                </a:ext>
              </a:extLst>
            </p:cNvPr>
            <p:cNvSpPr>
              <a:spLocks/>
            </p:cNvSpPr>
            <p:nvPr/>
          </p:nvSpPr>
          <p:spPr bwMode="auto">
            <a:xfrm>
              <a:off x="754062" y="5886450"/>
              <a:ext cx="188912" cy="327025"/>
            </a:xfrm>
            <a:custGeom>
              <a:avLst/>
              <a:gdLst>
                <a:gd name="T0" fmla="*/ 99 w 99"/>
                <a:gd name="T1" fmla="*/ 169 h 169"/>
                <a:gd name="T2" fmla="*/ 99 w 99"/>
                <a:gd name="T3" fmla="*/ 169 h 169"/>
                <a:gd name="T4" fmla="*/ 99 w 99"/>
                <a:gd name="T5" fmla="*/ 169 h 169"/>
                <a:gd name="T6" fmla="*/ 99 w 99"/>
                <a:gd name="T7" fmla="*/ 0 h 169"/>
                <a:gd name="T8" fmla="*/ 28 w 99"/>
                <a:gd name="T9" fmla="*/ 0 h 169"/>
                <a:gd name="T10" fmla="*/ 0 w 99"/>
                <a:gd name="T11" fmla="*/ 28 h 169"/>
                <a:gd name="T12" fmla="*/ 0 w 99"/>
                <a:gd name="T13" fmla="*/ 169 h 169"/>
                <a:gd name="T14" fmla="*/ 0 w 99"/>
                <a:gd name="T15" fmla="*/ 169 h 169"/>
                <a:gd name="T16" fmla="*/ 99 w 99"/>
                <a:gd name="T17" fmla="*/ 169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9" h="169">
                  <a:moveTo>
                    <a:pt x="99" y="169"/>
                  </a:moveTo>
                  <a:cubicBezTo>
                    <a:pt x="99" y="169"/>
                    <a:pt x="99" y="169"/>
                    <a:pt x="99" y="169"/>
                  </a:cubicBezTo>
                  <a:cubicBezTo>
                    <a:pt x="99" y="169"/>
                    <a:pt x="99" y="169"/>
                    <a:pt x="99" y="169"/>
                  </a:cubicBezTo>
                  <a:cubicBezTo>
                    <a:pt x="99" y="0"/>
                    <a:pt x="99" y="0"/>
                    <a:pt x="99" y="0"/>
                  </a:cubicBezTo>
                  <a:cubicBezTo>
                    <a:pt x="28" y="0"/>
                    <a:pt x="28" y="0"/>
                    <a:pt x="28" y="0"/>
                  </a:cubicBezTo>
                  <a:cubicBezTo>
                    <a:pt x="12" y="0"/>
                    <a:pt x="0" y="13"/>
                    <a:pt x="0" y="28"/>
                  </a:cubicBezTo>
                  <a:cubicBezTo>
                    <a:pt x="0" y="169"/>
                    <a:pt x="0" y="169"/>
                    <a:pt x="0" y="169"/>
                  </a:cubicBezTo>
                  <a:cubicBezTo>
                    <a:pt x="0" y="169"/>
                    <a:pt x="0" y="169"/>
                    <a:pt x="0" y="169"/>
                  </a:cubicBezTo>
                  <a:lnTo>
                    <a:pt x="99" y="169"/>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 name="Freeform 245">
              <a:extLst>
                <a:ext uri="{FF2B5EF4-FFF2-40B4-BE49-F238E27FC236}">
                  <a16:creationId xmlns:a16="http://schemas.microsoft.com/office/drawing/2014/main" id="{1FCE11F2-9FCD-4B67-8FBF-A72C1B23321B}"/>
                </a:ext>
              </a:extLst>
            </p:cNvPr>
            <p:cNvSpPr>
              <a:spLocks/>
            </p:cNvSpPr>
            <p:nvPr/>
          </p:nvSpPr>
          <p:spPr bwMode="auto">
            <a:xfrm>
              <a:off x="538162" y="5976938"/>
              <a:ext cx="192087" cy="236538"/>
            </a:xfrm>
            <a:custGeom>
              <a:avLst/>
              <a:gdLst>
                <a:gd name="T0" fmla="*/ 100 w 100"/>
                <a:gd name="T1" fmla="*/ 122 h 122"/>
                <a:gd name="T2" fmla="*/ 100 w 100"/>
                <a:gd name="T3" fmla="*/ 122 h 122"/>
                <a:gd name="T4" fmla="*/ 100 w 100"/>
                <a:gd name="T5" fmla="*/ 122 h 122"/>
                <a:gd name="T6" fmla="*/ 100 w 100"/>
                <a:gd name="T7" fmla="*/ 0 h 122"/>
                <a:gd name="T8" fmla="*/ 28 w 100"/>
                <a:gd name="T9" fmla="*/ 0 h 122"/>
                <a:gd name="T10" fmla="*/ 0 w 100"/>
                <a:gd name="T11" fmla="*/ 28 h 122"/>
                <a:gd name="T12" fmla="*/ 0 w 100"/>
                <a:gd name="T13" fmla="*/ 122 h 122"/>
                <a:gd name="T14" fmla="*/ 0 w 100"/>
                <a:gd name="T15" fmla="*/ 122 h 122"/>
                <a:gd name="T16" fmla="*/ 100 w 100"/>
                <a:gd name="T17" fmla="*/ 122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0" h="122">
                  <a:moveTo>
                    <a:pt x="100" y="122"/>
                  </a:moveTo>
                  <a:cubicBezTo>
                    <a:pt x="100" y="122"/>
                    <a:pt x="100" y="122"/>
                    <a:pt x="100" y="122"/>
                  </a:cubicBezTo>
                  <a:cubicBezTo>
                    <a:pt x="100" y="122"/>
                    <a:pt x="100" y="122"/>
                    <a:pt x="100" y="122"/>
                  </a:cubicBezTo>
                  <a:cubicBezTo>
                    <a:pt x="100" y="0"/>
                    <a:pt x="100" y="0"/>
                    <a:pt x="100" y="0"/>
                  </a:cubicBezTo>
                  <a:cubicBezTo>
                    <a:pt x="28" y="0"/>
                    <a:pt x="28" y="0"/>
                    <a:pt x="28" y="0"/>
                  </a:cubicBezTo>
                  <a:cubicBezTo>
                    <a:pt x="13" y="0"/>
                    <a:pt x="0" y="12"/>
                    <a:pt x="0" y="28"/>
                  </a:cubicBezTo>
                  <a:cubicBezTo>
                    <a:pt x="0" y="122"/>
                    <a:pt x="0" y="122"/>
                    <a:pt x="0" y="122"/>
                  </a:cubicBezTo>
                  <a:cubicBezTo>
                    <a:pt x="0" y="122"/>
                    <a:pt x="0" y="122"/>
                    <a:pt x="0" y="122"/>
                  </a:cubicBezTo>
                  <a:lnTo>
                    <a:pt x="100" y="122"/>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1" name="Freeform 246">
              <a:extLst>
                <a:ext uri="{FF2B5EF4-FFF2-40B4-BE49-F238E27FC236}">
                  <a16:creationId xmlns:a16="http://schemas.microsoft.com/office/drawing/2014/main" id="{160EC20C-30CD-4C18-AD96-48363DA91D2B}"/>
                </a:ext>
              </a:extLst>
            </p:cNvPr>
            <p:cNvSpPr>
              <a:spLocks/>
            </p:cNvSpPr>
            <p:nvPr/>
          </p:nvSpPr>
          <p:spPr bwMode="auto">
            <a:xfrm>
              <a:off x="968375" y="6051550"/>
              <a:ext cx="192087" cy="161925"/>
            </a:xfrm>
            <a:custGeom>
              <a:avLst/>
              <a:gdLst>
                <a:gd name="T0" fmla="*/ 0 w 100"/>
                <a:gd name="T1" fmla="*/ 84 h 84"/>
                <a:gd name="T2" fmla="*/ 0 w 100"/>
                <a:gd name="T3" fmla="*/ 84 h 84"/>
                <a:gd name="T4" fmla="*/ 0 w 100"/>
                <a:gd name="T5" fmla="*/ 84 h 84"/>
                <a:gd name="T6" fmla="*/ 0 w 100"/>
                <a:gd name="T7" fmla="*/ 0 h 84"/>
                <a:gd name="T8" fmla="*/ 72 w 100"/>
                <a:gd name="T9" fmla="*/ 0 h 84"/>
                <a:gd name="T10" fmla="*/ 100 w 100"/>
                <a:gd name="T11" fmla="*/ 27 h 84"/>
                <a:gd name="T12" fmla="*/ 100 w 100"/>
                <a:gd name="T13" fmla="*/ 84 h 84"/>
                <a:gd name="T14" fmla="*/ 100 w 100"/>
                <a:gd name="T15" fmla="*/ 84 h 84"/>
                <a:gd name="T16" fmla="*/ 0 w 100"/>
                <a:gd name="T17"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0" h="84">
                  <a:moveTo>
                    <a:pt x="0" y="84"/>
                  </a:moveTo>
                  <a:cubicBezTo>
                    <a:pt x="0" y="84"/>
                    <a:pt x="0" y="84"/>
                    <a:pt x="0" y="84"/>
                  </a:cubicBezTo>
                  <a:cubicBezTo>
                    <a:pt x="0" y="84"/>
                    <a:pt x="0" y="84"/>
                    <a:pt x="0" y="84"/>
                  </a:cubicBezTo>
                  <a:cubicBezTo>
                    <a:pt x="0" y="0"/>
                    <a:pt x="0" y="0"/>
                    <a:pt x="0" y="0"/>
                  </a:cubicBezTo>
                  <a:cubicBezTo>
                    <a:pt x="72" y="0"/>
                    <a:pt x="72" y="0"/>
                    <a:pt x="72" y="0"/>
                  </a:cubicBezTo>
                  <a:cubicBezTo>
                    <a:pt x="87" y="0"/>
                    <a:pt x="100" y="12"/>
                    <a:pt x="100" y="27"/>
                  </a:cubicBezTo>
                  <a:cubicBezTo>
                    <a:pt x="100" y="84"/>
                    <a:pt x="100" y="84"/>
                    <a:pt x="100" y="84"/>
                  </a:cubicBezTo>
                  <a:cubicBezTo>
                    <a:pt x="100" y="84"/>
                    <a:pt x="100" y="84"/>
                    <a:pt x="100" y="84"/>
                  </a:cubicBezTo>
                  <a:lnTo>
                    <a:pt x="0" y="84"/>
                  </a:lnTo>
                  <a:close/>
                </a:path>
              </a:pathLst>
            </a:custGeom>
            <a:solidFill>
              <a:srgbClr val="860864"/>
            </a:solidFill>
            <a:ln>
              <a:noFill/>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1535309451"/>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ytuł 1">
            <a:extLst>
              <a:ext uri="{FF2B5EF4-FFF2-40B4-BE49-F238E27FC236}">
                <a16:creationId xmlns:a16="http://schemas.microsoft.com/office/drawing/2014/main" id="{DEA935F7-2904-40FF-A73D-3CCC59AF658E}"/>
              </a:ext>
            </a:extLst>
          </p:cNvPr>
          <p:cNvSpPr>
            <a:spLocks noGrp="1"/>
          </p:cNvSpPr>
          <p:nvPr>
            <p:ph type="title"/>
          </p:nvPr>
        </p:nvSpPr>
        <p:spPr/>
        <p:txBody>
          <a:bodyPr/>
          <a:lstStyle/>
          <a:p>
            <a:r>
              <a:rPr lang="en-US" sz="3200" dirty="0"/>
              <a:t>Array initializers with </a:t>
            </a:r>
            <a:r>
              <a:rPr lang="en-US" sz="3200" dirty="0" err="1"/>
              <a:t>stackalloc</a:t>
            </a:r>
            <a:endParaRPr lang="en-US" sz="3200" dirty="0"/>
          </a:p>
        </p:txBody>
      </p:sp>
      <p:sp>
        <p:nvSpPr>
          <p:cNvPr id="5" name="Symbol zastępczy tekstu 4">
            <a:extLst>
              <a:ext uri="{FF2B5EF4-FFF2-40B4-BE49-F238E27FC236}">
                <a16:creationId xmlns:a16="http://schemas.microsoft.com/office/drawing/2014/main" id="{026454BF-D147-4265-B180-0D1A4FC7A23F}"/>
              </a:ext>
            </a:extLst>
          </p:cNvPr>
          <p:cNvSpPr>
            <a:spLocks noGrp="1"/>
          </p:cNvSpPr>
          <p:nvPr>
            <p:ph type="body" sz="quarter" idx="10"/>
          </p:nvPr>
        </p:nvSpPr>
        <p:spPr/>
        <p:txBody>
          <a:bodyPr/>
          <a:lstStyle/>
          <a:p>
            <a:endParaRPr lang="en-US" dirty="0"/>
          </a:p>
        </p:txBody>
      </p:sp>
      <p:sp>
        <p:nvSpPr>
          <p:cNvPr id="3" name="Symbol zastępczy tekstu 2">
            <a:extLst>
              <a:ext uri="{FF2B5EF4-FFF2-40B4-BE49-F238E27FC236}">
                <a16:creationId xmlns:a16="http://schemas.microsoft.com/office/drawing/2014/main" id="{D0A37E72-B711-494C-A35F-F9DF4987AC76}"/>
              </a:ext>
            </a:extLst>
          </p:cNvPr>
          <p:cNvSpPr>
            <a:spLocks noGrp="1"/>
          </p:cNvSpPr>
          <p:nvPr>
            <p:ph type="body" sz="quarter" idx="11"/>
          </p:nvPr>
        </p:nvSpPr>
        <p:spPr/>
        <p:txBody>
          <a:bodyPr/>
          <a:lstStyle/>
          <a:p>
            <a:r>
              <a:rPr lang="en-US" dirty="0"/>
              <a:t>C# 7.2</a:t>
            </a:r>
          </a:p>
        </p:txBody>
      </p:sp>
      <p:sp>
        <p:nvSpPr>
          <p:cNvPr id="6" name="Symbol zastępczy tekstu 5">
            <a:extLst>
              <a:ext uri="{FF2B5EF4-FFF2-40B4-BE49-F238E27FC236}">
                <a16:creationId xmlns:a16="http://schemas.microsoft.com/office/drawing/2014/main" id="{9B3BF7E6-792E-4E7E-A1BA-67B18F143E96}"/>
              </a:ext>
            </a:extLst>
          </p:cNvPr>
          <p:cNvSpPr>
            <a:spLocks noGrp="1"/>
          </p:cNvSpPr>
          <p:nvPr>
            <p:ph type="body" sz="quarter" idx="12"/>
          </p:nvPr>
        </p:nvSpPr>
        <p:spPr/>
        <p:txBody>
          <a:bodyPr/>
          <a:lstStyle/>
          <a:p>
            <a:r>
              <a:rPr lang="en-US" dirty="0"/>
              <a:t>1</a:t>
            </a:r>
          </a:p>
        </p:txBody>
      </p:sp>
    </p:spTree>
    <p:extLst>
      <p:ext uri="{BB962C8B-B14F-4D97-AF65-F5344CB8AC3E}">
        <p14:creationId xmlns:p14="http://schemas.microsoft.com/office/powerpoint/2010/main" val="1634836714"/>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ytuł 1">
            <a:extLst>
              <a:ext uri="{FF2B5EF4-FFF2-40B4-BE49-F238E27FC236}">
                <a16:creationId xmlns:a16="http://schemas.microsoft.com/office/drawing/2014/main" id="{DEA935F7-2904-40FF-A73D-3CCC59AF658E}"/>
              </a:ext>
            </a:extLst>
          </p:cNvPr>
          <p:cNvSpPr>
            <a:spLocks noGrp="1"/>
          </p:cNvSpPr>
          <p:nvPr>
            <p:ph type="title"/>
          </p:nvPr>
        </p:nvSpPr>
        <p:spPr/>
        <p:txBody>
          <a:bodyPr/>
          <a:lstStyle/>
          <a:p>
            <a:r>
              <a:rPr lang="en-US" sz="3200" dirty="0"/>
              <a:t>Array initializers with </a:t>
            </a:r>
            <a:r>
              <a:rPr lang="en-US" sz="3200" dirty="0" err="1"/>
              <a:t>stackalloc</a:t>
            </a:r>
            <a:endParaRPr lang="en-US" sz="3200" dirty="0"/>
          </a:p>
        </p:txBody>
      </p:sp>
      <p:sp>
        <p:nvSpPr>
          <p:cNvPr id="5" name="Symbol zastępczy tekstu 4">
            <a:extLst>
              <a:ext uri="{FF2B5EF4-FFF2-40B4-BE49-F238E27FC236}">
                <a16:creationId xmlns:a16="http://schemas.microsoft.com/office/drawing/2014/main" id="{026454BF-D147-4265-B180-0D1A4FC7A23F}"/>
              </a:ext>
            </a:extLst>
          </p:cNvPr>
          <p:cNvSpPr>
            <a:spLocks noGrp="1"/>
          </p:cNvSpPr>
          <p:nvPr>
            <p:ph type="body" sz="quarter" idx="10"/>
          </p:nvPr>
        </p:nvSpPr>
        <p:spPr/>
        <p:txBody>
          <a:bodyPr/>
          <a:lstStyle/>
          <a:p>
            <a:endParaRPr lang="en-US" dirty="0"/>
          </a:p>
        </p:txBody>
      </p:sp>
      <p:sp>
        <p:nvSpPr>
          <p:cNvPr id="3" name="Symbol zastępczy tekstu 2">
            <a:extLst>
              <a:ext uri="{FF2B5EF4-FFF2-40B4-BE49-F238E27FC236}">
                <a16:creationId xmlns:a16="http://schemas.microsoft.com/office/drawing/2014/main" id="{D0A37E72-B711-494C-A35F-F9DF4987AC76}"/>
              </a:ext>
            </a:extLst>
          </p:cNvPr>
          <p:cNvSpPr>
            <a:spLocks noGrp="1"/>
          </p:cNvSpPr>
          <p:nvPr>
            <p:ph type="body" sz="quarter" idx="11"/>
          </p:nvPr>
        </p:nvSpPr>
        <p:spPr/>
        <p:txBody>
          <a:bodyPr/>
          <a:lstStyle/>
          <a:p>
            <a:r>
              <a:rPr lang="en-US" dirty="0"/>
              <a:t>C# 7.3</a:t>
            </a:r>
          </a:p>
        </p:txBody>
      </p:sp>
      <p:sp>
        <p:nvSpPr>
          <p:cNvPr id="6" name="Symbol zastępczy tekstu 5">
            <a:extLst>
              <a:ext uri="{FF2B5EF4-FFF2-40B4-BE49-F238E27FC236}">
                <a16:creationId xmlns:a16="http://schemas.microsoft.com/office/drawing/2014/main" id="{9B3BF7E6-792E-4E7E-A1BA-67B18F143E96}"/>
              </a:ext>
            </a:extLst>
          </p:cNvPr>
          <p:cNvSpPr>
            <a:spLocks noGrp="1"/>
          </p:cNvSpPr>
          <p:nvPr>
            <p:ph type="body" sz="quarter" idx="12"/>
          </p:nvPr>
        </p:nvSpPr>
        <p:spPr/>
        <p:txBody>
          <a:bodyPr/>
          <a:lstStyle/>
          <a:p>
            <a:r>
              <a:rPr lang="en-US" dirty="0"/>
              <a:t>2</a:t>
            </a:r>
          </a:p>
        </p:txBody>
      </p:sp>
    </p:spTree>
    <p:extLst>
      <p:ext uri="{BB962C8B-B14F-4D97-AF65-F5344CB8AC3E}">
        <p14:creationId xmlns:p14="http://schemas.microsoft.com/office/powerpoint/2010/main" val="724053902"/>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pl-PL" dirty="0"/>
              <a:t>Agenda</a:t>
            </a:r>
            <a:endParaRPr lang="en-GB" dirty="0"/>
          </a:p>
        </p:txBody>
      </p:sp>
      <p:sp>
        <p:nvSpPr>
          <p:cNvPr id="5" name="Text Placeholder 4"/>
          <p:cNvSpPr>
            <a:spLocks noGrp="1"/>
          </p:cNvSpPr>
          <p:nvPr>
            <p:ph type="body" sz="quarter" idx="10"/>
          </p:nvPr>
        </p:nvSpPr>
        <p:spPr/>
        <p:txBody>
          <a:bodyPr/>
          <a:lstStyle/>
          <a:p>
            <a:pPr lvl="1"/>
            <a:r>
              <a:rPr lang="en-US" dirty="0">
                <a:solidFill>
                  <a:schemeClr val="bg1">
                    <a:lumMod val="95000"/>
                  </a:schemeClr>
                </a:solidFill>
              </a:rPr>
              <a:t>What’s new in C# 7.3</a:t>
            </a:r>
          </a:p>
          <a:p>
            <a:pPr lvl="2"/>
            <a:r>
              <a:rPr lang="en-US" dirty="0">
                <a:solidFill>
                  <a:schemeClr val="bg1">
                    <a:lumMod val="95000"/>
                  </a:schemeClr>
                </a:solidFill>
              </a:rPr>
              <a:t>Enabling more efficient safe code,</a:t>
            </a:r>
          </a:p>
          <a:p>
            <a:pPr lvl="3"/>
            <a:r>
              <a:rPr lang="en-US" dirty="0">
                <a:solidFill>
                  <a:schemeClr val="bg1">
                    <a:lumMod val="95000"/>
                  </a:schemeClr>
                </a:solidFill>
              </a:rPr>
              <a:t>fixed fields without pinning access,</a:t>
            </a:r>
          </a:p>
          <a:p>
            <a:pPr lvl="3"/>
            <a:r>
              <a:rPr lang="en-US" dirty="0">
                <a:solidFill>
                  <a:schemeClr val="bg1">
                    <a:lumMod val="95000"/>
                  </a:schemeClr>
                </a:solidFill>
              </a:rPr>
              <a:t>local ref variables reassignment,</a:t>
            </a:r>
          </a:p>
          <a:p>
            <a:pPr lvl="3"/>
            <a:r>
              <a:rPr lang="en-US" dirty="0">
                <a:solidFill>
                  <a:schemeClr val="bg1">
                    <a:lumMod val="95000"/>
                  </a:schemeClr>
                </a:solidFill>
              </a:rPr>
              <a:t>array initializers with </a:t>
            </a:r>
            <a:r>
              <a:rPr lang="en-US" dirty="0" err="1">
                <a:solidFill>
                  <a:schemeClr val="bg1">
                    <a:lumMod val="95000"/>
                  </a:schemeClr>
                </a:solidFill>
              </a:rPr>
              <a:t>stackalloc</a:t>
            </a:r>
            <a:r>
              <a:rPr lang="en-US" dirty="0">
                <a:solidFill>
                  <a:schemeClr val="bg1">
                    <a:lumMod val="95000"/>
                  </a:schemeClr>
                </a:solidFill>
              </a:rPr>
              <a:t>,</a:t>
            </a:r>
          </a:p>
          <a:p>
            <a:pPr lvl="3"/>
            <a:r>
              <a:rPr lang="en-US" dirty="0">
                <a:solidFill>
                  <a:schemeClr val="bg1">
                    <a:lumMod val="95000"/>
                  </a:schemeClr>
                </a:solidFill>
              </a:rPr>
              <a:t>extended fixed support for types,</a:t>
            </a:r>
          </a:p>
          <a:p>
            <a:pPr lvl="3"/>
            <a:r>
              <a:rPr lang="en-US" dirty="0">
                <a:solidFill>
                  <a:schemeClr val="bg1">
                    <a:lumMod val="95000"/>
                  </a:schemeClr>
                </a:solidFill>
              </a:rPr>
              <a:t>enhanced generic constraints.</a:t>
            </a:r>
          </a:p>
          <a:p>
            <a:pPr lvl="2"/>
            <a:r>
              <a:rPr lang="en-US" dirty="0">
                <a:solidFill>
                  <a:schemeClr val="bg1">
                    <a:lumMod val="95000"/>
                  </a:schemeClr>
                </a:solidFill>
              </a:rPr>
              <a:t>Make existing features better</a:t>
            </a:r>
          </a:p>
          <a:p>
            <a:pPr lvl="3"/>
            <a:r>
              <a:rPr lang="en-US" dirty="0">
                <a:solidFill>
                  <a:schemeClr val="bg1">
                    <a:lumMod val="95000"/>
                  </a:schemeClr>
                </a:solidFill>
              </a:rPr>
              <a:t>equality comparator tuple support,</a:t>
            </a:r>
          </a:p>
          <a:p>
            <a:pPr lvl="3"/>
            <a:r>
              <a:rPr lang="en-US" dirty="0">
                <a:solidFill>
                  <a:schemeClr val="bg1">
                    <a:lumMod val="95000"/>
                  </a:schemeClr>
                </a:solidFill>
              </a:rPr>
              <a:t>field attributes for auto-implemented properties,</a:t>
            </a:r>
          </a:p>
          <a:p>
            <a:pPr lvl="3"/>
            <a:r>
              <a:rPr lang="en-US" dirty="0">
                <a:solidFill>
                  <a:schemeClr val="bg1">
                    <a:lumMod val="95000"/>
                  </a:schemeClr>
                </a:solidFill>
              </a:rPr>
              <a:t>in method overload,</a:t>
            </a:r>
          </a:p>
          <a:p>
            <a:pPr lvl="3"/>
            <a:r>
              <a:rPr lang="en-US" dirty="0">
                <a:solidFill>
                  <a:schemeClr val="bg1">
                    <a:lumMod val="95000"/>
                  </a:schemeClr>
                </a:solidFill>
              </a:rPr>
              <a:t>extend expression variables in initializers.</a:t>
            </a:r>
            <a:endParaRPr lang="en-GB" dirty="0">
              <a:solidFill>
                <a:schemeClr val="bg1">
                  <a:lumMod val="95000"/>
                </a:schemeClr>
              </a:solidFill>
            </a:endParaRPr>
          </a:p>
        </p:txBody>
      </p:sp>
      <p:sp>
        <p:nvSpPr>
          <p:cNvPr id="6" name="Text Placeholder 5"/>
          <p:cNvSpPr>
            <a:spLocks noGrp="1"/>
          </p:cNvSpPr>
          <p:nvPr>
            <p:ph type="body" sz="quarter" idx="11"/>
          </p:nvPr>
        </p:nvSpPr>
        <p:spPr/>
        <p:txBody>
          <a:bodyPr/>
          <a:lstStyle/>
          <a:p>
            <a:r>
              <a:rPr lang="en-US" dirty="0"/>
              <a:t>We are going to talk about…</a:t>
            </a:r>
          </a:p>
        </p:txBody>
      </p:sp>
      <p:sp>
        <p:nvSpPr>
          <p:cNvPr id="7" name="Text Placeholder 4">
            <a:extLst>
              <a:ext uri="{FF2B5EF4-FFF2-40B4-BE49-F238E27FC236}">
                <a16:creationId xmlns:a16="http://schemas.microsoft.com/office/drawing/2014/main" id="{ED73704D-A765-4676-B99A-0282F156294F}"/>
              </a:ext>
            </a:extLst>
          </p:cNvPr>
          <p:cNvSpPr txBox="1">
            <a:spLocks/>
          </p:cNvSpPr>
          <p:nvPr/>
        </p:nvSpPr>
        <p:spPr>
          <a:xfrm>
            <a:off x="227348" y="1815351"/>
            <a:ext cx="11700000" cy="4466201"/>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buClr>
                <a:srgbClr val="00C37B"/>
              </a:buClr>
            </a:pPr>
            <a:r>
              <a:rPr lang="en-US" dirty="0"/>
              <a:t>What’s new in C# 7.3</a:t>
            </a:r>
          </a:p>
          <a:p>
            <a:pPr lvl="2">
              <a:buClr>
                <a:srgbClr val="93E416"/>
              </a:buClr>
            </a:pPr>
            <a:r>
              <a:rPr lang="en-US" dirty="0"/>
              <a:t>Enabling more efficient safe code,</a:t>
            </a:r>
          </a:p>
          <a:p>
            <a:pPr lvl="3"/>
            <a:r>
              <a:rPr lang="en-US" dirty="0"/>
              <a:t>fixed fields without pinning access,</a:t>
            </a:r>
          </a:p>
          <a:p>
            <a:pPr lvl="3"/>
            <a:r>
              <a:rPr lang="en-US" dirty="0"/>
              <a:t>local ref variables reassignment,</a:t>
            </a:r>
          </a:p>
          <a:p>
            <a:pPr lvl="3"/>
            <a:r>
              <a:rPr lang="en-US" dirty="0"/>
              <a:t>array initializers with stackalloc,</a:t>
            </a:r>
          </a:p>
          <a:p>
            <a:pPr lvl="3"/>
            <a:r>
              <a:rPr lang="en-US" dirty="0"/>
              <a:t>extended fixed support for types,</a:t>
            </a:r>
            <a:endParaRPr lang="en-GB" dirty="0"/>
          </a:p>
        </p:txBody>
      </p:sp>
    </p:spTree>
    <p:extLst>
      <p:ext uri="{BB962C8B-B14F-4D97-AF65-F5344CB8AC3E}">
        <p14:creationId xmlns:p14="http://schemas.microsoft.com/office/powerpoint/2010/main" val="324658743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
                                            <p:txEl>
                                              <p:pRg st="5" end="5"/>
                                            </p:txEl>
                                          </p:spTgt>
                                        </p:tgtEl>
                                        <p:attrNameLst>
                                          <p:attrName>style.visibility</p:attrName>
                                        </p:attrNameLst>
                                      </p:cBhvr>
                                      <p:to>
                                        <p:strVal val="visible"/>
                                      </p:to>
                                    </p:set>
                                    <p:animEffect transition="in" filter="fade">
                                      <p:cBhvr>
                                        <p:cTn id="7" dur="500"/>
                                        <p:tgtEl>
                                          <p:spTgt spid="7">
                                            <p:txEl>
                                              <p:pRg st="5" end="5"/>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ymbol zastępczy tekstu 5">
            <a:extLst>
              <a:ext uri="{FF2B5EF4-FFF2-40B4-BE49-F238E27FC236}">
                <a16:creationId xmlns:a16="http://schemas.microsoft.com/office/drawing/2014/main" id="{EC19D1F0-CA19-48E4-B6B7-FE7D3388EB92}"/>
              </a:ext>
            </a:extLst>
          </p:cNvPr>
          <p:cNvSpPr>
            <a:spLocks noGrp="1"/>
          </p:cNvSpPr>
          <p:nvPr>
            <p:ph type="body" sz="quarter" idx="11"/>
          </p:nvPr>
        </p:nvSpPr>
        <p:spPr>
          <a:xfrm>
            <a:off x="6528049" y="2191647"/>
            <a:ext cx="5187760" cy="3160282"/>
          </a:xfrm>
        </p:spPr>
        <p:txBody>
          <a:bodyPr/>
          <a:lstStyle/>
          <a:p>
            <a:r>
              <a:rPr lang="en-US" dirty="0"/>
              <a:t>What’s new in C# 7.3</a:t>
            </a:r>
            <a:br>
              <a:rPr lang="en-US" dirty="0"/>
            </a:br>
            <a:r>
              <a:rPr lang="en-US" sz="2400" dirty="0"/>
              <a:t>Extended fixed support for types</a:t>
            </a:r>
            <a:endParaRPr lang="en-US" dirty="0"/>
          </a:p>
        </p:txBody>
      </p:sp>
      <p:sp>
        <p:nvSpPr>
          <p:cNvPr id="28" name="Freeform 37">
            <a:extLst>
              <a:ext uri="{FF2B5EF4-FFF2-40B4-BE49-F238E27FC236}">
                <a16:creationId xmlns:a16="http://schemas.microsoft.com/office/drawing/2014/main" id="{C163FEF7-EB42-4298-AED9-19E8D9ACF2E4}"/>
              </a:ext>
            </a:extLst>
          </p:cNvPr>
          <p:cNvSpPr>
            <a:spLocks/>
          </p:cNvSpPr>
          <p:nvPr/>
        </p:nvSpPr>
        <p:spPr bwMode="auto">
          <a:xfrm>
            <a:off x="1703512" y="800837"/>
            <a:ext cx="844550" cy="793750"/>
          </a:xfrm>
          <a:custGeom>
            <a:avLst/>
            <a:gdLst>
              <a:gd name="T0" fmla="*/ 51 w 440"/>
              <a:gd name="T1" fmla="*/ 298 h 410"/>
              <a:gd name="T2" fmla="*/ 128 w 440"/>
              <a:gd name="T3" fmla="*/ 48 h 410"/>
              <a:gd name="T4" fmla="*/ 389 w 440"/>
              <a:gd name="T5" fmla="*/ 122 h 410"/>
              <a:gd name="T6" fmla="*/ 307 w 440"/>
              <a:gd name="T7" fmla="*/ 362 h 410"/>
              <a:gd name="T8" fmla="*/ 51 w 440"/>
              <a:gd name="T9" fmla="*/ 298 h 410"/>
            </a:gdLst>
            <a:ahLst/>
            <a:cxnLst>
              <a:cxn ang="0">
                <a:pos x="T0" y="T1"/>
              </a:cxn>
              <a:cxn ang="0">
                <a:pos x="T2" y="T3"/>
              </a:cxn>
              <a:cxn ang="0">
                <a:pos x="T4" y="T5"/>
              </a:cxn>
              <a:cxn ang="0">
                <a:pos x="T6" y="T7"/>
              </a:cxn>
              <a:cxn ang="0">
                <a:pos x="T8" y="T9"/>
              </a:cxn>
            </a:cxnLst>
            <a:rect l="0" t="0" r="r" b="b"/>
            <a:pathLst>
              <a:path w="440" h="410">
                <a:moveTo>
                  <a:pt x="51" y="298"/>
                </a:moveTo>
                <a:cubicBezTo>
                  <a:pt x="0" y="209"/>
                  <a:pt x="34" y="97"/>
                  <a:pt x="128" y="48"/>
                </a:cubicBezTo>
                <a:cubicBezTo>
                  <a:pt x="221" y="0"/>
                  <a:pt x="338" y="33"/>
                  <a:pt x="389" y="122"/>
                </a:cubicBezTo>
                <a:cubicBezTo>
                  <a:pt x="440" y="212"/>
                  <a:pt x="400" y="313"/>
                  <a:pt x="307" y="362"/>
                </a:cubicBezTo>
                <a:cubicBezTo>
                  <a:pt x="214" y="410"/>
                  <a:pt x="102" y="388"/>
                  <a:pt x="51" y="298"/>
                </a:cubicBezTo>
              </a:path>
            </a:pathLst>
          </a:custGeom>
          <a:solidFill>
            <a:srgbClr val="93E416"/>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3" name="Oval 20">
            <a:extLst>
              <a:ext uri="{FF2B5EF4-FFF2-40B4-BE49-F238E27FC236}">
                <a16:creationId xmlns:a16="http://schemas.microsoft.com/office/drawing/2014/main" id="{EE9B31FA-25FA-4CC1-863F-BB3D69944DF9}"/>
              </a:ext>
            </a:extLst>
          </p:cNvPr>
          <p:cNvSpPr/>
          <p:nvPr/>
        </p:nvSpPr>
        <p:spPr>
          <a:xfrm>
            <a:off x="499463" y="1441730"/>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42" name="Oval 20">
            <a:extLst>
              <a:ext uri="{FF2B5EF4-FFF2-40B4-BE49-F238E27FC236}">
                <a16:creationId xmlns:a16="http://schemas.microsoft.com/office/drawing/2014/main" id="{9C48F09E-5C3B-4BEA-BD8F-85A5DCB0325B}"/>
              </a:ext>
            </a:extLst>
          </p:cNvPr>
          <p:cNvSpPr/>
          <p:nvPr/>
        </p:nvSpPr>
        <p:spPr>
          <a:xfrm>
            <a:off x="2380063" y="997006"/>
            <a:ext cx="1356623" cy="128178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7" name="Group 618">
            <a:extLst>
              <a:ext uri="{FF2B5EF4-FFF2-40B4-BE49-F238E27FC236}">
                <a16:creationId xmlns:a16="http://schemas.microsoft.com/office/drawing/2014/main" id="{2F3F5196-625F-4097-A527-9F5C31BB23BD}"/>
              </a:ext>
            </a:extLst>
          </p:cNvPr>
          <p:cNvGrpSpPr/>
          <p:nvPr/>
        </p:nvGrpSpPr>
        <p:grpSpPr>
          <a:xfrm>
            <a:off x="778954" y="1689952"/>
            <a:ext cx="1586196" cy="1599637"/>
            <a:chOff x="2911476" y="2574812"/>
            <a:chExt cx="561976" cy="566738"/>
          </a:xfrm>
        </p:grpSpPr>
        <p:sp>
          <p:nvSpPr>
            <p:cNvPr id="9" name="Freeform 79">
              <a:extLst>
                <a:ext uri="{FF2B5EF4-FFF2-40B4-BE49-F238E27FC236}">
                  <a16:creationId xmlns:a16="http://schemas.microsoft.com/office/drawing/2014/main" id="{8536A78F-19BF-4E3B-8E09-CF4560B313B8}"/>
                </a:ext>
              </a:extLst>
            </p:cNvPr>
            <p:cNvSpPr>
              <a:spLocks/>
            </p:cNvSpPr>
            <p:nvPr/>
          </p:nvSpPr>
          <p:spPr bwMode="auto">
            <a:xfrm>
              <a:off x="2919414" y="2574812"/>
              <a:ext cx="554038" cy="566738"/>
            </a:xfrm>
            <a:custGeom>
              <a:avLst/>
              <a:gdLst>
                <a:gd name="T0" fmla="*/ 81 w 289"/>
                <a:gd name="T1" fmla="*/ 16 h 293"/>
                <a:gd name="T2" fmla="*/ 10 w 289"/>
                <a:gd name="T3" fmla="*/ 89 h 293"/>
                <a:gd name="T4" fmla="*/ 11 w 289"/>
                <a:gd name="T5" fmla="*/ 193 h 293"/>
                <a:gd name="T6" fmla="*/ 221 w 289"/>
                <a:gd name="T7" fmla="*/ 250 h 293"/>
                <a:gd name="T8" fmla="*/ 266 w 289"/>
                <a:gd name="T9" fmla="*/ 89 h 293"/>
                <a:gd name="T10" fmla="*/ 179 w 289"/>
                <a:gd name="T11" fmla="*/ 10 h 293"/>
                <a:gd name="T12" fmla="*/ 81 w 289"/>
                <a:gd name="T13" fmla="*/ 16 h 293"/>
              </a:gdLst>
              <a:ahLst/>
              <a:cxnLst>
                <a:cxn ang="0">
                  <a:pos x="T0" y="T1"/>
                </a:cxn>
                <a:cxn ang="0">
                  <a:pos x="T2" y="T3"/>
                </a:cxn>
                <a:cxn ang="0">
                  <a:pos x="T4" y="T5"/>
                </a:cxn>
                <a:cxn ang="0">
                  <a:pos x="T6" y="T7"/>
                </a:cxn>
                <a:cxn ang="0">
                  <a:pos x="T8" y="T9"/>
                </a:cxn>
                <a:cxn ang="0">
                  <a:pos x="T10" y="T11"/>
                </a:cxn>
                <a:cxn ang="0">
                  <a:pos x="T12" y="T13"/>
                </a:cxn>
              </a:cxnLst>
              <a:rect l="0" t="0" r="r" b="b"/>
              <a:pathLst>
                <a:path w="289" h="293">
                  <a:moveTo>
                    <a:pt x="81" y="16"/>
                  </a:moveTo>
                  <a:cubicBezTo>
                    <a:pt x="50" y="32"/>
                    <a:pt x="22" y="56"/>
                    <a:pt x="10" y="89"/>
                  </a:cubicBezTo>
                  <a:cubicBezTo>
                    <a:pt x="0" y="117"/>
                    <a:pt x="0" y="166"/>
                    <a:pt x="11" y="193"/>
                  </a:cubicBezTo>
                  <a:cubicBezTo>
                    <a:pt x="42" y="265"/>
                    <a:pt x="158" y="293"/>
                    <a:pt x="221" y="250"/>
                  </a:cubicBezTo>
                  <a:cubicBezTo>
                    <a:pt x="267" y="219"/>
                    <a:pt x="289" y="140"/>
                    <a:pt x="266" y="89"/>
                  </a:cubicBezTo>
                  <a:cubicBezTo>
                    <a:pt x="248" y="52"/>
                    <a:pt x="219" y="19"/>
                    <a:pt x="179" y="10"/>
                  </a:cubicBezTo>
                  <a:cubicBezTo>
                    <a:pt x="149" y="2"/>
                    <a:pt x="108" y="0"/>
                    <a:pt x="81" y="16"/>
                  </a:cubicBezTo>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0" name="Freeform 80">
              <a:extLst>
                <a:ext uri="{FF2B5EF4-FFF2-40B4-BE49-F238E27FC236}">
                  <a16:creationId xmlns:a16="http://schemas.microsoft.com/office/drawing/2014/main" id="{3AFB9BC9-78C9-4B3B-B77A-E3732886C372}"/>
                </a:ext>
              </a:extLst>
            </p:cNvPr>
            <p:cNvSpPr>
              <a:spLocks/>
            </p:cNvSpPr>
            <p:nvPr/>
          </p:nvSpPr>
          <p:spPr bwMode="auto">
            <a:xfrm>
              <a:off x="3048001" y="2577987"/>
              <a:ext cx="152400" cy="53975"/>
            </a:xfrm>
            <a:custGeom>
              <a:avLst/>
              <a:gdLst>
                <a:gd name="T0" fmla="*/ 79 w 79"/>
                <a:gd name="T1" fmla="*/ 3 h 28"/>
                <a:gd name="T2" fmla="*/ 50 w 79"/>
                <a:gd name="T3" fmla="*/ 17 h 28"/>
                <a:gd name="T4" fmla="*/ 0 w 79"/>
                <a:gd name="T5" fmla="*/ 22 h 28"/>
                <a:gd name="T6" fmla="*/ 79 w 79"/>
                <a:gd name="T7" fmla="*/ 3 h 28"/>
              </a:gdLst>
              <a:ahLst/>
              <a:cxnLst>
                <a:cxn ang="0">
                  <a:pos x="T0" y="T1"/>
                </a:cxn>
                <a:cxn ang="0">
                  <a:pos x="T2" y="T3"/>
                </a:cxn>
                <a:cxn ang="0">
                  <a:pos x="T4" y="T5"/>
                </a:cxn>
                <a:cxn ang="0">
                  <a:pos x="T6" y="T7"/>
                </a:cxn>
              </a:cxnLst>
              <a:rect l="0" t="0" r="r" b="b"/>
              <a:pathLst>
                <a:path w="79" h="28">
                  <a:moveTo>
                    <a:pt x="79" y="3"/>
                  </a:moveTo>
                  <a:cubicBezTo>
                    <a:pt x="72" y="10"/>
                    <a:pt x="61" y="15"/>
                    <a:pt x="50" y="17"/>
                  </a:cubicBezTo>
                  <a:cubicBezTo>
                    <a:pt x="34" y="21"/>
                    <a:pt x="20" y="28"/>
                    <a:pt x="0" y="22"/>
                  </a:cubicBezTo>
                  <a:cubicBezTo>
                    <a:pt x="20" y="10"/>
                    <a:pt x="37" y="0"/>
                    <a:pt x="79" y="3"/>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1" name="Freeform 81">
              <a:extLst>
                <a:ext uri="{FF2B5EF4-FFF2-40B4-BE49-F238E27FC236}">
                  <a16:creationId xmlns:a16="http://schemas.microsoft.com/office/drawing/2014/main" id="{FA980479-7E84-42C9-BECA-34847D986F91}"/>
                </a:ext>
              </a:extLst>
            </p:cNvPr>
            <p:cNvSpPr>
              <a:spLocks/>
            </p:cNvSpPr>
            <p:nvPr/>
          </p:nvSpPr>
          <p:spPr bwMode="auto">
            <a:xfrm>
              <a:off x="3144839" y="2604975"/>
              <a:ext cx="277813" cy="430213"/>
            </a:xfrm>
            <a:custGeom>
              <a:avLst/>
              <a:gdLst>
                <a:gd name="T0" fmla="*/ 133 w 145"/>
                <a:gd name="T1" fmla="*/ 144 h 222"/>
                <a:gd name="T2" fmla="*/ 136 w 145"/>
                <a:gd name="T3" fmla="*/ 165 h 222"/>
                <a:gd name="T4" fmla="*/ 80 w 145"/>
                <a:gd name="T5" fmla="*/ 222 h 222"/>
                <a:gd name="T6" fmla="*/ 68 w 145"/>
                <a:gd name="T7" fmla="*/ 200 h 222"/>
                <a:gd name="T8" fmla="*/ 54 w 145"/>
                <a:gd name="T9" fmla="*/ 163 h 222"/>
                <a:gd name="T10" fmla="*/ 62 w 145"/>
                <a:gd name="T11" fmla="*/ 142 h 222"/>
                <a:gd name="T12" fmla="*/ 96 w 145"/>
                <a:gd name="T13" fmla="*/ 132 h 222"/>
                <a:gd name="T14" fmla="*/ 93 w 145"/>
                <a:gd name="T15" fmla="*/ 110 h 222"/>
                <a:gd name="T16" fmla="*/ 88 w 145"/>
                <a:gd name="T17" fmla="*/ 103 h 222"/>
                <a:gd name="T18" fmla="*/ 91 w 145"/>
                <a:gd name="T19" fmla="*/ 96 h 222"/>
                <a:gd name="T20" fmla="*/ 71 w 145"/>
                <a:gd name="T21" fmla="*/ 67 h 222"/>
                <a:gd name="T22" fmla="*/ 45 w 145"/>
                <a:gd name="T23" fmla="*/ 78 h 222"/>
                <a:gd name="T24" fmla="*/ 15 w 145"/>
                <a:gd name="T25" fmla="*/ 66 h 222"/>
                <a:gd name="T26" fmla="*/ 9 w 145"/>
                <a:gd name="T27" fmla="*/ 61 h 222"/>
                <a:gd name="T28" fmla="*/ 0 w 145"/>
                <a:gd name="T29" fmla="*/ 69 h 222"/>
                <a:gd name="T30" fmla="*/ 15 w 145"/>
                <a:gd name="T31" fmla="*/ 30 h 222"/>
                <a:gd name="T32" fmla="*/ 49 w 145"/>
                <a:gd name="T33" fmla="*/ 7 h 222"/>
                <a:gd name="T34" fmla="*/ 69 w 145"/>
                <a:gd name="T35" fmla="*/ 1 h 222"/>
                <a:gd name="T36" fmla="*/ 93 w 145"/>
                <a:gd name="T37" fmla="*/ 13 h 222"/>
                <a:gd name="T38" fmla="*/ 127 w 145"/>
                <a:gd name="T39" fmla="*/ 50 h 222"/>
                <a:gd name="T40" fmla="*/ 134 w 145"/>
                <a:gd name="T41" fmla="*/ 87 h 222"/>
                <a:gd name="T42" fmla="*/ 114 w 145"/>
                <a:gd name="T43" fmla="*/ 98 h 222"/>
                <a:gd name="T44" fmla="*/ 111 w 145"/>
                <a:gd name="T45" fmla="*/ 126 h 222"/>
                <a:gd name="T46" fmla="*/ 133 w 145"/>
                <a:gd name="T47" fmla="*/ 144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45" h="222">
                  <a:moveTo>
                    <a:pt x="133" y="144"/>
                  </a:moveTo>
                  <a:cubicBezTo>
                    <a:pt x="134" y="152"/>
                    <a:pt x="132" y="159"/>
                    <a:pt x="136" y="165"/>
                  </a:cubicBezTo>
                  <a:cubicBezTo>
                    <a:pt x="122" y="189"/>
                    <a:pt x="98" y="202"/>
                    <a:pt x="80" y="222"/>
                  </a:cubicBezTo>
                  <a:cubicBezTo>
                    <a:pt x="73" y="217"/>
                    <a:pt x="72" y="210"/>
                    <a:pt x="68" y="200"/>
                  </a:cubicBezTo>
                  <a:cubicBezTo>
                    <a:pt x="64" y="188"/>
                    <a:pt x="49" y="179"/>
                    <a:pt x="54" y="163"/>
                  </a:cubicBezTo>
                  <a:cubicBezTo>
                    <a:pt x="67" y="160"/>
                    <a:pt x="71" y="152"/>
                    <a:pt x="62" y="142"/>
                  </a:cubicBezTo>
                  <a:cubicBezTo>
                    <a:pt x="70" y="135"/>
                    <a:pt x="83" y="127"/>
                    <a:pt x="96" y="132"/>
                  </a:cubicBezTo>
                  <a:cubicBezTo>
                    <a:pt x="103" y="125"/>
                    <a:pt x="97" y="115"/>
                    <a:pt x="93" y="110"/>
                  </a:cubicBezTo>
                  <a:cubicBezTo>
                    <a:pt x="93" y="108"/>
                    <a:pt x="88" y="104"/>
                    <a:pt x="88" y="103"/>
                  </a:cubicBezTo>
                  <a:cubicBezTo>
                    <a:pt x="88" y="102"/>
                    <a:pt x="91" y="99"/>
                    <a:pt x="91" y="96"/>
                  </a:cubicBezTo>
                  <a:cubicBezTo>
                    <a:pt x="91" y="90"/>
                    <a:pt x="77" y="67"/>
                    <a:pt x="71" y="67"/>
                  </a:cubicBezTo>
                  <a:cubicBezTo>
                    <a:pt x="62" y="66"/>
                    <a:pt x="55" y="78"/>
                    <a:pt x="45" y="78"/>
                  </a:cubicBezTo>
                  <a:cubicBezTo>
                    <a:pt x="33" y="77"/>
                    <a:pt x="29" y="59"/>
                    <a:pt x="15" y="66"/>
                  </a:cubicBezTo>
                  <a:cubicBezTo>
                    <a:pt x="11" y="66"/>
                    <a:pt x="12" y="61"/>
                    <a:pt x="9" y="61"/>
                  </a:cubicBezTo>
                  <a:cubicBezTo>
                    <a:pt x="4" y="61"/>
                    <a:pt x="2" y="69"/>
                    <a:pt x="0" y="69"/>
                  </a:cubicBezTo>
                  <a:cubicBezTo>
                    <a:pt x="2" y="52"/>
                    <a:pt x="15" y="47"/>
                    <a:pt x="15" y="30"/>
                  </a:cubicBezTo>
                  <a:cubicBezTo>
                    <a:pt x="26" y="22"/>
                    <a:pt x="46" y="23"/>
                    <a:pt x="49" y="7"/>
                  </a:cubicBezTo>
                  <a:cubicBezTo>
                    <a:pt x="55" y="5"/>
                    <a:pt x="62" y="0"/>
                    <a:pt x="69" y="1"/>
                  </a:cubicBezTo>
                  <a:cubicBezTo>
                    <a:pt x="77" y="1"/>
                    <a:pt x="87" y="8"/>
                    <a:pt x="93" y="13"/>
                  </a:cubicBezTo>
                  <a:cubicBezTo>
                    <a:pt x="108" y="24"/>
                    <a:pt x="117" y="33"/>
                    <a:pt x="127" y="50"/>
                  </a:cubicBezTo>
                  <a:cubicBezTo>
                    <a:pt x="134" y="61"/>
                    <a:pt x="145" y="77"/>
                    <a:pt x="134" y="87"/>
                  </a:cubicBezTo>
                  <a:cubicBezTo>
                    <a:pt x="127" y="93"/>
                    <a:pt x="118" y="90"/>
                    <a:pt x="114" y="98"/>
                  </a:cubicBezTo>
                  <a:cubicBezTo>
                    <a:pt x="111" y="104"/>
                    <a:pt x="109" y="120"/>
                    <a:pt x="111" y="126"/>
                  </a:cubicBezTo>
                  <a:cubicBezTo>
                    <a:pt x="113" y="136"/>
                    <a:pt x="128" y="138"/>
                    <a:pt x="133" y="144"/>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2" name="Freeform 82">
              <a:extLst>
                <a:ext uri="{FF2B5EF4-FFF2-40B4-BE49-F238E27FC236}">
                  <a16:creationId xmlns:a16="http://schemas.microsoft.com/office/drawing/2014/main" id="{1F99B306-F6B4-42D8-980C-E48C69E08F03}"/>
                </a:ext>
              </a:extLst>
            </p:cNvPr>
            <p:cNvSpPr>
              <a:spLocks/>
            </p:cNvSpPr>
            <p:nvPr/>
          </p:nvSpPr>
          <p:spPr bwMode="auto">
            <a:xfrm>
              <a:off x="2911476" y="2701812"/>
              <a:ext cx="147638" cy="249238"/>
            </a:xfrm>
            <a:custGeom>
              <a:avLst/>
              <a:gdLst>
                <a:gd name="T0" fmla="*/ 57 w 77"/>
                <a:gd name="T1" fmla="*/ 103 h 129"/>
                <a:gd name="T2" fmla="*/ 54 w 77"/>
                <a:gd name="T3" fmla="*/ 98 h 129"/>
                <a:gd name="T4" fmla="*/ 66 w 77"/>
                <a:gd name="T5" fmla="*/ 76 h 129"/>
                <a:gd name="T6" fmla="*/ 59 w 77"/>
                <a:gd name="T7" fmla="*/ 60 h 129"/>
                <a:gd name="T8" fmla="*/ 76 w 77"/>
                <a:gd name="T9" fmla="*/ 47 h 129"/>
                <a:gd name="T10" fmla="*/ 75 w 77"/>
                <a:gd name="T11" fmla="*/ 34 h 129"/>
                <a:gd name="T12" fmla="*/ 76 w 77"/>
                <a:gd name="T13" fmla="*/ 23 h 129"/>
                <a:gd name="T14" fmla="*/ 25 w 77"/>
                <a:gd name="T15" fmla="*/ 1 h 129"/>
                <a:gd name="T16" fmla="*/ 16 w 77"/>
                <a:gd name="T17" fmla="*/ 129 h 129"/>
                <a:gd name="T18" fmla="*/ 51 w 77"/>
                <a:gd name="T19" fmla="*/ 111 h 129"/>
                <a:gd name="T20" fmla="*/ 57 w 77"/>
                <a:gd name="T21" fmla="*/ 103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7" h="129">
                  <a:moveTo>
                    <a:pt x="57" y="103"/>
                  </a:moveTo>
                  <a:cubicBezTo>
                    <a:pt x="56" y="102"/>
                    <a:pt x="55" y="100"/>
                    <a:pt x="54" y="98"/>
                  </a:cubicBezTo>
                  <a:cubicBezTo>
                    <a:pt x="54" y="88"/>
                    <a:pt x="66" y="86"/>
                    <a:pt x="66" y="76"/>
                  </a:cubicBezTo>
                  <a:cubicBezTo>
                    <a:pt x="66" y="69"/>
                    <a:pt x="60" y="69"/>
                    <a:pt x="59" y="60"/>
                  </a:cubicBezTo>
                  <a:cubicBezTo>
                    <a:pt x="65" y="56"/>
                    <a:pt x="73" y="54"/>
                    <a:pt x="76" y="47"/>
                  </a:cubicBezTo>
                  <a:cubicBezTo>
                    <a:pt x="77" y="43"/>
                    <a:pt x="75" y="40"/>
                    <a:pt x="75" y="34"/>
                  </a:cubicBezTo>
                  <a:cubicBezTo>
                    <a:pt x="75" y="30"/>
                    <a:pt x="76" y="26"/>
                    <a:pt x="76" y="23"/>
                  </a:cubicBezTo>
                  <a:cubicBezTo>
                    <a:pt x="72" y="6"/>
                    <a:pt x="46" y="0"/>
                    <a:pt x="25" y="1"/>
                  </a:cubicBezTo>
                  <a:cubicBezTo>
                    <a:pt x="1" y="30"/>
                    <a:pt x="0" y="91"/>
                    <a:pt x="16" y="129"/>
                  </a:cubicBezTo>
                  <a:cubicBezTo>
                    <a:pt x="26" y="120"/>
                    <a:pt x="38" y="114"/>
                    <a:pt x="51" y="111"/>
                  </a:cubicBezTo>
                  <a:cubicBezTo>
                    <a:pt x="53" y="108"/>
                    <a:pt x="55" y="106"/>
                    <a:pt x="57" y="103"/>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3" name="Freeform 83">
              <a:extLst>
                <a:ext uri="{FF2B5EF4-FFF2-40B4-BE49-F238E27FC236}">
                  <a16:creationId xmlns:a16="http://schemas.microsoft.com/office/drawing/2014/main" id="{5BB2F6E1-33B4-4DFD-920E-22B307D82474}"/>
                </a:ext>
              </a:extLst>
            </p:cNvPr>
            <p:cNvSpPr>
              <a:spLocks/>
            </p:cNvSpPr>
            <p:nvPr/>
          </p:nvSpPr>
          <p:spPr bwMode="auto">
            <a:xfrm>
              <a:off x="2947989" y="2909775"/>
              <a:ext cx="295275" cy="201613"/>
            </a:xfrm>
            <a:custGeom>
              <a:avLst/>
              <a:gdLst>
                <a:gd name="T0" fmla="*/ 154 w 154"/>
                <a:gd name="T1" fmla="*/ 64 h 105"/>
                <a:gd name="T2" fmla="*/ 128 w 154"/>
                <a:gd name="T3" fmla="*/ 38 h 105"/>
                <a:gd name="T4" fmla="*/ 121 w 154"/>
                <a:gd name="T5" fmla="*/ 39 h 105"/>
                <a:gd name="T6" fmla="*/ 81 w 154"/>
                <a:gd name="T7" fmla="*/ 0 h 105"/>
                <a:gd name="T8" fmla="*/ 40 w 154"/>
                <a:gd name="T9" fmla="*/ 41 h 105"/>
                <a:gd name="T10" fmla="*/ 40 w 154"/>
                <a:gd name="T11" fmla="*/ 42 h 105"/>
                <a:gd name="T12" fmla="*/ 26 w 154"/>
                <a:gd name="T13" fmla="*/ 38 h 105"/>
                <a:gd name="T14" fmla="*/ 0 w 154"/>
                <a:gd name="T15" fmla="*/ 65 h 105"/>
                <a:gd name="T16" fmla="*/ 0 w 154"/>
                <a:gd name="T17" fmla="*/ 91 h 105"/>
                <a:gd name="T18" fmla="*/ 68 w 154"/>
                <a:gd name="T19" fmla="*/ 98 h 105"/>
                <a:gd name="T20" fmla="*/ 125 w 154"/>
                <a:gd name="T21" fmla="*/ 89 h 105"/>
                <a:gd name="T22" fmla="*/ 128 w 154"/>
                <a:gd name="T23" fmla="*/ 89 h 105"/>
                <a:gd name="T24" fmla="*/ 135 w 154"/>
                <a:gd name="T25" fmla="*/ 88 h 105"/>
                <a:gd name="T26" fmla="*/ 154 w 154"/>
                <a:gd name="T27" fmla="*/ 64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54" h="105">
                  <a:moveTo>
                    <a:pt x="154" y="64"/>
                  </a:moveTo>
                  <a:cubicBezTo>
                    <a:pt x="154" y="50"/>
                    <a:pt x="142" y="38"/>
                    <a:pt x="128" y="38"/>
                  </a:cubicBezTo>
                  <a:cubicBezTo>
                    <a:pt x="126" y="38"/>
                    <a:pt x="123" y="39"/>
                    <a:pt x="121" y="39"/>
                  </a:cubicBezTo>
                  <a:cubicBezTo>
                    <a:pt x="120" y="18"/>
                    <a:pt x="102" y="0"/>
                    <a:pt x="81" y="0"/>
                  </a:cubicBezTo>
                  <a:cubicBezTo>
                    <a:pt x="58" y="0"/>
                    <a:pt x="40" y="18"/>
                    <a:pt x="40" y="41"/>
                  </a:cubicBezTo>
                  <a:cubicBezTo>
                    <a:pt x="40" y="41"/>
                    <a:pt x="40" y="42"/>
                    <a:pt x="40" y="42"/>
                  </a:cubicBezTo>
                  <a:cubicBezTo>
                    <a:pt x="36" y="40"/>
                    <a:pt x="32" y="38"/>
                    <a:pt x="26" y="38"/>
                  </a:cubicBezTo>
                  <a:cubicBezTo>
                    <a:pt x="12" y="38"/>
                    <a:pt x="0" y="50"/>
                    <a:pt x="0" y="65"/>
                  </a:cubicBezTo>
                  <a:cubicBezTo>
                    <a:pt x="0" y="91"/>
                    <a:pt x="0" y="91"/>
                    <a:pt x="0" y="91"/>
                  </a:cubicBezTo>
                  <a:cubicBezTo>
                    <a:pt x="0" y="91"/>
                    <a:pt x="43" y="105"/>
                    <a:pt x="68" y="98"/>
                  </a:cubicBezTo>
                  <a:cubicBezTo>
                    <a:pt x="93" y="92"/>
                    <a:pt x="104" y="88"/>
                    <a:pt x="125" y="89"/>
                  </a:cubicBezTo>
                  <a:cubicBezTo>
                    <a:pt x="126" y="89"/>
                    <a:pt x="127" y="89"/>
                    <a:pt x="128" y="89"/>
                  </a:cubicBezTo>
                  <a:cubicBezTo>
                    <a:pt x="131" y="89"/>
                    <a:pt x="133" y="89"/>
                    <a:pt x="135" y="88"/>
                  </a:cubicBezTo>
                  <a:cubicBezTo>
                    <a:pt x="146" y="85"/>
                    <a:pt x="154" y="75"/>
                    <a:pt x="154" y="64"/>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2461374627"/>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ytuł 1">
            <a:extLst>
              <a:ext uri="{FF2B5EF4-FFF2-40B4-BE49-F238E27FC236}">
                <a16:creationId xmlns:a16="http://schemas.microsoft.com/office/drawing/2014/main" id="{DEA935F7-2904-40FF-A73D-3CCC59AF658E}"/>
              </a:ext>
            </a:extLst>
          </p:cNvPr>
          <p:cNvSpPr>
            <a:spLocks noGrp="1"/>
          </p:cNvSpPr>
          <p:nvPr>
            <p:ph type="title"/>
          </p:nvPr>
        </p:nvSpPr>
        <p:spPr/>
        <p:txBody>
          <a:bodyPr/>
          <a:lstStyle/>
          <a:p>
            <a:r>
              <a:rPr lang="en-US" sz="3200" dirty="0"/>
              <a:t>Extended fixed support for types</a:t>
            </a:r>
          </a:p>
        </p:txBody>
      </p:sp>
      <p:sp>
        <p:nvSpPr>
          <p:cNvPr id="5" name="Symbol zastępczy tekstu 4">
            <a:extLst>
              <a:ext uri="{FF2B5EF4-FFF2-40B4-BE49-F238E27FC236}">
                <a16:creationId xmlns:a16="http://schemas.microsoft.com/office/drawing/2014/main" id="{026454BF-D147-4265-B180-0D1A4FC7A23F}"/>
              </a:ext>
            </a:extLst>
          </p:cNvPr>
          <p:cNvSpPr>
            <a:spLocks noGrp="1"/>
          </p:cNvSpPr>
          <p:nvPr>
            <p:ph type="body" sz="quarter" idx="10"/>
          </p:nvPr>
        </p:nvSpPr>
        <p:spPr/>
        <p:txBody>
          <a:bodyPr/>
          <a:lstStyle/>
          <a:p>
            <a:endParaRPr lang="en-US" dirty="0"/>
          </a:p>
        </p:txBody>
      </p:sp>
      <p:sp>
        <p:nvSpPr>
          <p:cNvPr id="3" name="Symbol zastępczy tekstu 2">
            <a:extLst>
              <a:ext uri="{FF2B5EF4-FFF2-40B4-BE49-F238E27FC236}">
                <a16:creationId xmlns:a16="http://schemas.microsoft.com/office/drawing/2014/main" id="{D0A37E72-B711-494C-A35F-F9DF4987AC76}"/>
              </a:ext>
            </a:extLst>
          </p:cNvPr>
          <p:cNvSpPr>
            <a:spLocks noGrp="1"/>
          </p:cNvSpPr>
          <p:nvPr>
            <p:ph type="body" sz="quarter" idx="11"/>
          </p:nvPr>
        </p:nvSpPr>
        <p:spPr/>
        <p:txBody>
          <a:bodyPr/>
          <a:lstStyle/>
          <a:p>
            <a:r>
              <a:rPr lang="en-US" dirty="0"/>
              <a:t>C# 7.2</a:t>
            </a:r>
          </a:p>
        </p:txBody>
      </p:sp>
      <p:sp>
        <p:nvSpPr>
          <p:cNvPr id="6" name="Symbol zastępczy tekstu 5">
            <a:extLst>
              <a:ext uri="{FF2B5EF4-FFF2-40B4-BE49-F238E27FC236}">
                <a16:creationId xmlns:a16="http://schemas.microsoft.com/office/drawing/2014/main" id="{9B3BF7E6-792E-4E7E-A1BA-67B18F143E96}"/>
              </a:ext>
            </a:extLst>
          </p:cNvPr>
          <p:cNvSpPr>
            <a:spLocks noGrp="1"/>
          </p:cNvSpPr>
          <p:nvPr>
            <p:ph type="body" sz="quarter" idx="12"/>
          </p:nvPr>
        </p:nvSpPr>
        <p:spPr/>
        <p:txBody>
          <a:bodyPr/>
          <a:lstStyle/>
          <a:p>
            <a:r>
              <a:rPr lang="en-US" dirty="0"/>
              <a:t>1</a:t>
            </a:r>
          </a:p>
        </p:txBody>
      </p:sp>
    </p:spTree>
    <p:extLst>
      <p:ext uri="{BB962C8B-B14F-4D97-AF65-F5344CB8AC3E}">
        <p14:creationId xmlns:p14="http://schemas.microsoft.com/office/powerpoint/2010/main" val="366701982"/>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ytuł 1">
            <a:extLst>
              <a:ext uri="{FF2B5EF4-FFF2-40B4-BE49-F238E27FC236}">
                <a16:creationId xmlns:a16="http://schemas.microsoft.com/office/drawing/2014/main" id="{DEA935F7-2904-40FF-A73D-3CCC59AF658E}"/>
              </a:ext>
            </a:extLst>
          </p:cNvPr>
          <p:cNvSpPr>
            <a:spLocks noGrp="1"/>
          </p:cNvSpPr>
          <p:nvPr>
            <p:ph type="title"/>
          </p:nvPr>
        </p:nvSpPr>
        <p:spPr/>
        <p:txBody>
          <a:bodyPr/>
          <a:lstStyle/>
          <a:p>
            <a:r>
              <a:rPr lang="en-US" sz="3200" dirty="0"/>
              <a:t>Extended fixed support for types</a:t>
            </a:r>
          </a:p>
        </p:txBody>
      </p:sp>
      <p:sp>
        <p:nvSpPr>
          <p:cNvPr id="5" name="Symbol zastępczy tekstu 4">
            <a:extLst>
              <a:ext uri="{FF2B5EF4-FFF2-40B4-BE49-F238E27FC236}">
                <a16:creationId xmlns:a16="http://schemas.microsoft.com/office/drawing/2014/main" id="{026454BF-D147-4265-B180-0D1A4FC7A23F}"/>
              </a:ext>
            </a:extLst>
          </p:cNvPr>
          <p:cNvSpPr>
            <a:spLocks noGrp="1"/>
          </p:cNvSpPr>
          <p:nvPr>
            <p:ph type="body" sz="quarter" idx="10"/>
          </p:nvPr>
        </p:nvSpPr>
        <p:spPr/>
        <p:txBody>
          <a:bodyPr/>
          <a:lstStyle/>
          <a:p>
            <a:endParaRPr lang="en-US" dirty="0"/>
          </a:p>
        </p:txBody>
      </p:sp>
      <p:sp>
        <p:nvSpPr>
          <p:cNvPr id="3" name="Symbol zastępczy tekstu 2">
            <a:extLst>
              <a:ext uri="{FF2B5EF4-FFF2-40B4-BE49-F238E27FC236}">
                <a16:creationId xmlns:a16="http://schemas.microsoft.com/office/drawing/2014/main" id="{D0A37E72-B711-494C-A35F-F9DF4987AC76}"/>
              </a:ext>
            </a:extLst>
          </p:cNvPr>
          <p:cNvSpPr>
            <a:spLocks noGrp="1"/>
          </p:cNvSpPr>
          <p:nvPr>
            <p:ph type="body" sz="quarter" idx="11"/>
          </p:nvPr>
        </p:nvSpPr>
        <p:spPr/>
        <p:txBody>
          <a:bodyPr/>
          <a:lstStyle/>
          <a:p>
            <a:r>
              <a:rPr lang="en-US" dirty="0"/>
              <a:t>C# 7.3</a:t>
            </a:r>
          </a:p>
        </p:txBody>
      </p:sp>
      <p:sp>
        <p:nvSpPr>
          <p:cNvPr id="6" name="Symbol zastępczy tekstu 5">
            <a:extLst>
              <a:ext uri="{FF2B5EF4-FFF2-40B4-BE49-F238E27FC236}">
                <a16:creationId xmlns:a16="http://schemas.microsoft.com/office/drawing/2014/main" id="{9B3BF7E6-792E-4E7E-A1BA-67B18F143E96}"/>
              </a:ext>
            </a:extLst>
          </p:cNvPr>
          <p:cNvSpPr>
            <a:spLocks noGrp="1"/>
          </p:cNvSpPr>
          <p:nvPr>
            <p:ph type="body" sz="quarter" idx="12"/>
          </p:nvPr>
        </p:nvSpPr>
        <p:spPr/>
        <p:txBody>
          <a:bodyPr/>
          <a:lstStyle/>
          <a:p>
            <a:r>
              <a:rPr lang="en-US" dirty="0"/>
              <a:t>2</a:t>
            </a:r>
          </a:p>
        </p:txBody>
      </p:sp>
    </p:spTree>
    <p:extLst>
      <p:ext uri="{BB962C8B-B14F-4D97-AF65-F5344CB8AC3E}">
        <p14:creationId xmlns:p14="http://schemas.microsoft.com/office/powerpoint/2010/main" val="3459085065"/>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pl-PL" dirty="0"/>
              <a:t>Agenda</a:t>
            </a:r>
            <a:endParaRPr lang="en-GB" dirty="0"/>
          </a:p>
        </p:txBody>
      </p:sp>
      <p:sp>
        <p:nvSpPr>
          <p:cNvPr id="5" name="Text Placeholder 4"/>
          <p:cNvSpPr>
            <a:spLocks noGrp="1"/>
          </p:cNvSpPr>
          <p:nvPr>
            <p:ph type="body" sz="quarter" idx="10"/>
          </p:nvPr>
        </p:nvSpPr>
        <p:spPr/>
        <p:txBody>
          <a:bodyPr/>
          <a:lstStyle/>
          <a:p>
            <a:pPr lvl="1"/>
            <a:r>
              <a:rPr lang="en-US" dirty="0">
                <a:solidFill>
                  <a:schemeClr val="bg1">
                    <a:lumMod val="95000"/>
                  </a:schemeClr>
                </a:solidFill>
              </a:rPr>
              <a:t>What’s new in C# 7.3</a:t>
            </a:r>
          </a:p>
          <a:p>
            <a:pPr lvl="2"/>
            <a:r>
              <a:rPr lang="en-US" dirty="0">
                <a:solidFill>
                  <a:schemeClr val="bg1">
                    <a:lumMod val="95000"/>
                  </a:schemeClr>
                </a:solidFill>
              </a:rPr>
              <a:t>Enabling more efficient safe code,</a:t>
            </a:r>
          </a:p>
          <a:p>
            <a:pPr lvl="3"/>
            <a:r>
              <a:rPr lang="en-US" dirty="0">
                <a:solidFill>
                  <a:schemeClr val="bg1">
                    <a:lumMod val="95000"/>
                  </a:schemeClr>
                </a:solidFill>
              </a:rPr>
              <a:t>fixed fields without pinning access,</a:t>
            </a:r>
          </a:p>
          <a:p>
            <a:pPr lvl="3"/>
            <a:r>
              <a:rPr lang="en-US" dirty="0">
                <a:solidFill>
                  <a:schemeClr val="bg1">
                    <a:lumMod val="95000"/>
                  </a:schemeClr>
                </a:solidFill>
              </a:rPr>
              <a:t>local ref variables reassignment,</a:t>
            </a:r>
          </a:p>
          <a:p>
            <a:pPr lvl="3"/>
            <a:r>
              <a:rPr lang="en-US" dirty="0">
                <a:solidFill>
                  <a:schemeClr val="bg1">
                    <a:lumMod val="95000"/>
                  </a:schemeClr>
                </a:solidFill>
              </a:rPr>
              <a:t>array initializers with </a:t>
            </a:r>
            <a:r>
              <a:rPr lang="en-US" dirty="0" err="1">
                <a:solidFill>
                  <a:schemeClr val="bg1">
                    <a:lumMod val="95000"/>
                  </a:schemeClr>
                </a:solidFill>
              </a:rPr>
              <a:t>stackalloc</a:t>
            </a:r>
            <a:r>
              <a:rPr lang="en-US" dirty="0">
                <a:solidFill>
                  <a:schemeClr val="bg1">
                    <a:lumMod val="95000"/>
                  </a:schemeClr>
                </a:solidFill>
              </a:rPr>
              <a:t>,</a:t>
            </a:r>
          </a:p>
          <a:p>
            <a:pPr lvl="3"/>
            <a:r>
              <a:rPr lang="en-US" dirty="0">
                <a:solidFill>
                  <a:schemeClr val="bg1">
                    <a:lumMod val="95000"/>
                  </a:schemeClr>
                </a:solidFill>
              </a:rPr>
              <a:t>extended fixed support for types,</a:t>
            </a:r>
          </a:p>
          <a:p>
            <a:pPr lvl="3"/>
            <a:r>
              <a:rPr lang="en-US" dirty="0">
                <a:solidFill>
                  <a:schemeClr val="bg1">
                    <a:lumMod val="95000"/>
                  </a:schemeClr>
                </a:solidFill>
              </a:rPr>
              <a:t>enhanced generic constraints.</a:t>
            </a:r>
          </a:p>
          <a:p>
            <a:pPr lvl="2"/>
            <a:r>
              <a:rPr lang="en-US" dirty="0">
                <a:solidFill>
                  <a:schemeClr val="bg1">
                    <a:lumMod val="95000"/>
                  </a:schemeClr>
                </a:solidFill>
              </a:rPr>
              <a:t>Make existing features better</a:t>
            </a:r>
          </a:p>
          <a:p>
            <a:pPr lvl="3"/>
            <a:r>
              <a:rPr lang="en-US" dirty="0">
                <a:solidFill>
                  <a:schemeClr val="bg1">
                    <a:lumMod val="95000"/>
                  </a:schemeClr>
                </a:solidFill>
              </a:rPr>
              <a:t>equality comparator tuple support,</a:t>
            </a:r>
          </a:p>
          <a:p>
            <a:pPr lvl="3"/>
            <a:r>
              <a:rPr lang="en-US" dirty="0">
                <a:solidFill>
                  <a:schemeClr val="bg1">
                    <a:lumMod val="95000"/>
                  </a:schemeClr>
                </a:solidFill>
              </a:rPr>
              <a:t>field attributes for auto-implemented properties,</a:t>
            </a:r>
          </a:p>
          <a:p>
            <a:pPr lvl="3"/>
            <a:r>
              <a:rPr lang="en-US" dirty="0">
                <a:solidFill>
                  <a:schemeClr val="bg1">
                    <a:lumMod val="95000"/>
                  </a:schemeClr>
                </a:solidFill>
              </a:rPr>
              <a:t>in method overload,</a:t>
            </a:r>
          </a:p>
          <a:p>
            <a:pPr lvl="3"/>
            <a:r>
              <a:rPr lang="en-US" dirty="0">
                <a:solidFill>
                  <a:schemeClr val="bg1">
                    <a:lumMod val="95000"/>
                  </a:schemeClr>
                </a:solidFill>
              </a:rPr>
              <a:t>extend expression variables in initializers.</a:t>
            </a:r>
            <a:endParaRPr lang="en-GB" dirty="0">
              <a:solidFill>
                <a:schemeClr val="bg1">
                  <a:lumMod val="95000"/>
                </a:schemeClr>
              </a:solidFill>
            </a:endParaRPr>
          </a:p>
        </p:txBody>
      </p:sp>
      <p:sp>
        <p:nvSpPr>
          <p:cNvPr id="6" name="Text Placeholder 5"/>
          <p:cNvSpPr>
            <a:spLocks noGrp="1"/>
          </p:cNvSpPr>
          <p:nvPr>
            <p:ph type="body" sz="quarter" idx="11"/>
          </p:nvPr>
        </p:nvSpPr>
        <p:spPr/>
        <p:txBody>
          <a:bodyPr/>
          <a:lstStyle/>
          <a:p>
            <a:r>
              <a:rPr lang="en-US" dirty="0"/>
              <a:t>We are going to talk about…</a:t>
            </a:r>
          </a:p>
        </p:txBody>
      </p:sp>
      <p:sp>
        <p:nvSpPr>
          <p:cNvPr id="7" name="Text Placeholder 4">
            <a:extLst>
              <a:ext uri="{FF2B5EF4-FFF2-40B4-BE49-F238E27FC236}">
                <a16:creationId xmlns:a16="http://schemas.microsoft.com/office/drawing/2014/main" id="{ED73704D-A765-4676-B99A-0282F156294F}"/>
              </a:ext>
            </a:extLst>
          </p:cNvPr>
          <p:cNvSpPr txBox="1">
            <a:spLocks/>
          </p:cNvSpPr>
          <p:nvPr/>
        </p:nvSpPr>
        <p:spPr>
          <a:xfrm>
            <a:off x="227348" y="1815351"/>
            <a:ext cx="11700000" cy="4466201"/>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buClr>
                <a:srgbClr val="00C37B"/>
              </a:buClr>
            </a:pPr>
            <a:r>
              <a:rPr lang="en-US" dirty="0"/>
              <a:t>What’s new in C# 7.3</a:t>
            </a:r>
          </a:p>
          <a:p>
            <a:pPr lvl="2">
              <a:buClr>
                <a:srgbClr val="93E416"/>
              </a:buClr>
            </a:pPr>
            <a:r>
              <a:rPr lang="en-US" dirty="0"/>
              <a:t>Enabling more efficient safe code,</a:t>
            </a:r>
          </a:p>
          <a:p>
            <a:pPr lvl="3"/>
            <a:r>
              <a:rPr lang="en-US" dirty="0"/>
              <a:t>fixed fields without pinning access,</a:t>
            </a:r>
          </a:p>
          <a:p>
            <a:pPr lvl="3"/>
            <a:r>
              <a:rPr lang="en-US" dirty="0"/>
              <a:t>local ref variables reassignment,</a:t>
            </a:r>
          </a:p>
          <a:p>
            <a:pPr lvl="3"/>
            <a:r>
              <a:rPr lang="en-US" dirty="0"/>
              <a:t>array initializers with stackalloc,</a:t>
            </a:r>
          </a:p>
          <a:p>
            <a:pPr lvl="3"/>
            <a:r>
              <a:rPr lang="en-US" dirty="0"/>
              <a:t>extended fixed support for types,</a:t>
            </a:r>
          </a:p>
          <a:p>
            <a:pPr lvl="3"/>
            <a:r>
              <a:rPr lang="en-US" dirty="0"/>
              <a:t>enhanced generic constraints.</a:t>
            </a:r>
            <a:endParaRPr lang="en-GB" dirty="0"/>
          </a:p>
        </p:txBody>
      </p:sp>
    </p:spTree>
    <p:extLst>
      <p:ext uri="{BB962C8B-B14F-4D97-AF65-F5344CB8AC3E}">
        <p14:creationId xmlns:p14="http://schemas.microsoft.com/office/powerpoint/2010/main" val="199015658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
                                            <p:txEl>
                                              <p:pRg st="6" end="6"/>
                                            </p:txEl>
                                          </p:spTgt>
                                        </p:tgtEl>
                                        <p:attrNameLst>
                                          <p:attrName>style.visibility</p:attrName>
                                        </p:attrNameLst>
                                      </p:cBhvr>
                                      <p:to>
                                        <p:strVal val="visible"/>
                                      </p:to>
                                    </p:set>
                                    <p:animEffect transition="in" filter="fade">
                                      <p:cBhvr>
                                        <p:cTn id="7" dur="500"/>
                                        <p:tgtEl>
                                          <p:spTgt spid="7">
                                            <p:txEl>
                                              <p:pRg st="6" end="6"/>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ymbol zastępczy tekstu 5">
            <a:extLst>
              <a:ext uri="{FF2B5EF4-FFF2-40B4-BE49-F238E27FC236}">
                <a16:creationId xmlns:a16="http://schemas.microsoft.com/office/drawing/2014/main" id="{EC19D1F0-CA19-48E4-B6B7-FE7D3388EB92}"/>
              </a:ext>
            </a:extLst>
          </p:cNvPr>
          <p:cNvSpPr>
            <a:spLocks noGrp="1"/>
          </p:cNvSpPr>
          <p:nvPr>
            <p:ph type="body" sz="quarter" idx="11"/>
          </p:nvPr>
        </p:nvSpPr>
        <p:spPr>
          <a:xfrm>
            <a:off x="6528049" y="2191647"/>
            <a:ext cx="5187760" cy="3160282"/>
          </a:xfrm>
        </p:spPr>
        <p:txBody>
          <a:bodyPr/>
          <a:lstStyle/>
          <a:p>
            <a:r>
              <a:rPr lang="en-US" dirty="0"/>
              <a:t>What’s new in C# 7.3</a:t>
            </a:r>
            <a:br>
              <a:rPr lang="en-US" dirty="0"/>
            </a:br>
            <a:r>
              <a:rPr lang="en-US" sz="2400" dirty="0"/>
              <a:t>Enhanced generic constraints</a:t>
            </a:r>
            <a:endParaRPr lang="en-US" dirty="0"/>
          </a:p>
        </p:txBody>
      </p:sp>
      <p:sp>
        <p:nvSpPr>
          <p:cNvPr id="28" name="Freeform 37">
            <a:extLst>
              <a:ext uri="{FF2B5EF4-FFF2-40B4-BE49-F238E27FC236}">
                <a16:creationId xmlns:a16="http://schemas.microsoft.com/office/drawing/2014/main" id="{C163FEF7-EB42-4298-AED9-19E8D9ACF2E4}"/>
              </a:ext>
            </a:extLst>
          </p:cNvPr>
          <p:cNvSpPr>
            <a:spLocks/>
          </p:cNvSpPr>
          <p:nvPr/>
        </p:nvSpPr>
        <p:spPr bwMode="auto">
          <a:xfrm>
            <a:off x="1703512" y="800837"/>
            <a:ext cx="844550" cy="793750"/>
          </a:xfrm>
          <a:custGeom>
            <a:avLst/>
            <a:gdLst>
              <a:gd name="T0" fmla="*/ 51 w 440"/>
              <a:gd name="T1" fmla="*/ 298 h 410"/>
              <a:gd name="T2" fmla="*/ 128 w 440"/>
              <a:gd name="T3" fmla="*/ 48 h 410"/>
              <a:gd name="T4" fmla="*/ 389 w 440"/>
              <a:gd name="T5" fmla="*/ 122 h 410"/>
              <a:gd name="T6" fmla="*/ 307 w 440"/>
              <a:gd name="T7" fmla="*/ 362 h 410"/>
              <a:gd name="T8" fmla="*/ 51 w 440"/>
              <a:gd name="T9" fmla="*/ 298 h 410"/>
            </a:gdLst>
            <a:ahLst/>
            <a:cxnLst>
              <a:cxn ang="0">
                <a:pos x="T0" y="T1"/>
              </a:cxn>
              <a:cxn ang="0">
                <a:pos x="T2" y="T3"/>
              </a:cxn>
              <a:cxn ang="0">
                <a:pos x="T4" y="T5"/>
              </a:cxn>
              <a:cxn ang="0">
                <a:pos x="T6" y="T7"/>
              </a:cxn>
              <a:cxn ang="0">
                <a:pos x="T8" y="T9"/>
              </a:cxn>
            </a:cxnLst>
            <a:rect l="0" t="0" r="r" b="b"/>
            <a:pathLst>
              <a:path w="440" h="410">
                <a:moveTo>
                  <a:pt x="51" y="298"/>
                </a:moveTo>
                <a:cubicBezTo>
                  <a:pt x="0" y="209"/>
                  <a:pt x="34" y="97"/>
                  <a:pt x="128" y="48"/>
                </a:cubicBezTo>
                <a:cubicBezTo>
                  <a:pt x="221" y="0"/>
                  <a:pt x="338" y="33"/>
                  <a:pt x="389" y="122"/>
                </a:cubicBezTo>
                <a:cubicBezTo>
                  <a:pt x="440" y="212"/>
                  <a:pt x="400" y="313"/>
                  <a:pt x="307" y="362"/>
                </a:cubicBezTo>
                <a:cubicBezTo>
                  <a:pt x="214" y="410"/>
                  <a:pt x="102" y="388"/>
                  <a:pt x="51" y="298"/>
                </a:cubicBezTo>
              </a:path>
            </a:pathLst>
          </a:custGeom>
          <a:solidFill>
            <a:srgbClr val="93E416"/>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3" name="Oval 20">
            <a:extLst>
              <a:ext uri="{FF2B5EF4-FFF2-40B4-BE49-F238E27FC236}">
                <a16:creationId xmlns:a16="http://schemas.microsoft.com/office/drawing/2014/main" id="{EE9B31FA-25FA-4CC1-863F-BB3D69944DF9}"/>
              </a:ext>
            </a:extLst>
          </p:cNvPr>
          <p:cNvSpPr/>
          <p:nvPr/>
        </p:nvSpPr>
        <p:spPr>
          <a:xfrm>
            <a:off x="499463" y="1441730"/>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42" name="Oval 20">
            <a:extLst>
              <a:ext uri="{FF2B5EF4-FFF2-40B4-BE49-F238E27FC236}">
                <a16:creationId xmlns:a16="http://schemas.microsoft.com/office/drawing/2014/main" id="{9C48F09E-5C3B-4BEA-BD8F-85A5DCB0325B}"/>
              </a:ext>
            </a:extLst>
          </p:cNvPr>
          <p:cNvSpPr/>
          <p:nvPr/>
        </p:nvSpPr>
        <p:spPr>
          <a:xfrm>
            <a:off x="2380063" y="997006"/>
            <a:ext cx="1356623" cy="128178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7" name="Group 572">
            <a:extLst>
              <a:ext uri="{FF2B5EF4-FFF2-40B4-BE49-F238E27FC236}">
                <a16:creationId xmlns:a16="http://schemas.microsoft.com/office/drawing/2014/main" id="{2E012980-BF50-40E4-96A2-6A7738DD186A}"/>
              </a:ext>
            </a:extLst>
          </p:cNvPr>
          <p:cNvGrpSpPr/>
          <p:nvPr/>
        </p:nvGrpSpPr>
        <p:grpSpPr>
          <a:xfrm>
            <a:off x="953168" y="1844657"/>
            <a:ext cx="1104175" cy="1134848"/>
            <a:chOff x="7797801" y="3738563"/>
            <a:chExt cx="400049" cy="411162"/>
          </a:xfrm>
        </p:grpSpPr>
        <p:sp>
          <p:nvSpPr>
            <p:cNvPr id="9" name="Freeform 121">
              <a:extLst>
                <a:ext uri="{FF2B5EF4-FFF2-40B4-BE49-F238E27FC236}">
                  <a16:creationId xmlns:a16="http://schemas.microsoft.com/office/drawing/2014/main" id="{2C8EC6A8-7117-4FAE-9F00-14D4EAE55C58}"/>
                </a:ext>
              </a:extLst>
            </p:cNvPr>
            <p:cNvSpPr>
              <a:spLocks/>
            </p:cNvSpPr>
            <p:nvPr/>
          </p:nvSpPr>
          <p:spPr bwMode="auto">
            <a:xfrm>
              <a:off x="7812088" y="3794125"/>
              <a:ext cx="385762" cy="355600"/>
            </a:xfrm>
            <a:custGeom>
              <a:avLst/>
              <a:gdLst>
                <a:gd name="T0" fmla="*/ 133 w 200"/>
                <a:gd name="T1" fmla="*/ 2 h 184"/>
                <a:gd name="T2" fmla="*/ 9 w 200"/>
                <a:gd name="T3" fmla="*/ 2 h 184"/>
                <a:gd name="T4" fmla="*/ 0 w 200"/>
                <a:gd name="T5" fmla="*/ 44 h 184"/>
                <a:gd name="T6" fmla="*/ 7 w 200"/>
                <a:gd name="T7" fmla="*/ 170 h 184"/>
                <a:gd name="T8" fmla="*/ 180 w 200"/>
                <a:gd name="T9" fmla="*/ 165 h 184"/>
                <a:gd name="T10" fmla="*/ 177 w 200"/>
                <a:gd name="T11" fmla="*/ 61 h 184"/>
                <a:gd name="T12" fmla="*/ 174 w 200"/>
                <a:gd name="T13" fmla="*/ 15 h 184"/>
                <a:gd name="T14" fmla="*/ 171 w 200"/>
                <a:gd name="T15" fmla="*/ 0 h 184"/>
                <a:gd name="T16" fmla="*/ 133 w 200"/>
                <a:gd name="T17" fmla="*/ 2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0" h="184">
                  <a:moveTo>
                    <a:pt x="133" y="2"/>
                  </a:moveTo>
                  <a:cubicBezTo>
                    <a:pt x="133" y="2"/>
                    <a:pt x="39" y="21"/>
                    <a:pt x="9" y="2"/>
                  </a:cubicBezTo>
                  <a:cubicBezTo>
                    <a:pt x="0" y="44"/>
                    <a:pt x="0" y="44"/>
                    <a:pt x="0" y="44"/>
                  </a:cubicBezTo>
                  <a:cubicBezTo>
                    <a:pt x="7" y="170"/>
                    <a:pt x="7" y="170"/>
                    <a:pt x="7" y="170"/>
                  </a:cubicBezTo>
                  <a:cubicBezTo>
                    <a:pt x="7" y="170"/>
                    <a:pt x="161" y="184"/>
                    <a:pt x="180" y="165"/>
                  </a:cubicBezTo>
                  <a:cubicBezTo>
                    <a:pt x="200" y="145"/>
                    <a:pt x="177" y="61"/>
                    <a:pt x="177" y="61"/>
                  </a:cubicBezTo>
                  <a:cubicBezTo>
                    <a:pt x="174" y="15"/>
                    <a:pt x="174" y="15"/>
                    <a:pt x="174" y="15"/>
                  </a:cubicBezTo>
                  <a:cubicBezTo>
                    <a:pt x="171" y="0"/>
                    <a:pt x="171" y="0"/>
                    <a:pt x="171" y="0"/>
                  </a:cubicBezTo>
                  <a:lnTo>
                    <a:pt x="133" y="2"/>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0" name="Freeform 122">
              <a:extLst>
                <a:ext uri="{FF2B5EF4-FFF2-40B4-BE49-F238E27FC236}">
                  <a16:creationId xmlns:a16="http://schemas.microsoft.com/office/drawing/2014/main" id="{91F7F109-F4DB-408E-ACDB-5674A8FA84EA}"/>
                </a:ext>
              </a:extLst>
            </p:cNvPr>
            <p:cNvSpPr>
              <a:spLocks/>
            </p:cNvSpPr>
            <p:nvPr/>
          </p:nvSpPr>
          <p:spPr bwMode="auto">
            <a:xfrm>
              <a:off x="7893051" y="3738563"/>
              <a:ext cx="303212" cy="341313"/>
            </a:xfrm>
            <a:custGeom>
              <a:avLst/>
              <a:gdLst>
                <a:gd name="T0" fmla="*/ 152 w 157"/>
                <a:gd name="T1" fmla="*/ 4 h 176"/>
                <a:gd name="T2" fmla="*/ 149 w 157"/>
                <a:gd name="T3" fmla="*/ 2 h 176"/>
                <a:gd name="T4" fmla="*/ 139 w 157"/>
                <a:gd name="T5" fmla="*/ 4 h 176"/>
                <a:gd name="T6" fmla="*/ 62 w 157"/>
                <a:gd name="T7" fmla="*/ 112 h 176"/>
                <a:gd name="T8" fmla="*/ 45 w 157"/>
                <a:gd name="T9" fmla="*/ 81 h 176"/>
                <a:gd name="T10" fmla="*/ 45 w 157"/>
                <a:gd name="T11" fmla="*/ 81 h 176"/>
                <a:gd name="T12" fmla="*/ 34 w 157"/>
                <a:gd name="T13" fmla="*/ 75 h 176"/>
                <a:gd name="T14" fmla="*/ 17 w 157"/>
                <a:gd name="T15" fmla="*/ 81 h 176"/>
                <a:gd name="T16" fmla="*/ 5 w 157"/>
                <a:gd name="T17" fmla="*/ 107 h 176"/>
                <a:gd name="T18" fmla="*/ 5 w 157"/>
                <a:gd name="T19" fmla="*/ 107 h 176"/>
                <a:gd name="T20" fmla="*/ 54 w 157"/>
                <a:gd name="T21" fmla="*/ 173 h 176"/>
                <a:gd name="T22" fmla="*/ 60 w 157"/>
                <a:gd name="T23" fmla="*/ 176 h 176"/>
                <a:gd name="T24" fmla="*/ 60 w 157"/>
                <a:gd name="T25" fmla="*/ 176 h 176"/>
                <a:gd name="T26" fmla="*/ 67 w 157"/>
                <a:gd name="T27" fmla="*/ 173 h 176"/>
                <a:gd name="T28" fmla="*/ 155 w 157"/>
                <a:gd name="T29" fmla="*/ 14 h 176"/>
                <a:gd name="T30" fmla="*/ 152 w 157"/>
                <a:gd name="T31" fmla="*/ 4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57" h="176">
                  <a:moveTo>
                    <a:pt x="152" y="4"/>
                  </a:moveTo>
                  <a:cubicBezTo>
                    <a:pt x="149" y="2"/>
                    <a:pt x="149" y="2"/>
                    <a:pt x="149" y="2"/>
                  </a:cubicBezTo>
                  <a:cubicBezTo>
                    <a:pt x="146" y="0"/>
                    <a:pt x="141" y="1"/>
                    <a:pt x="139" y="4"/>
                  </a:cubicBezTo>
                  <a:cubicBezTo>
                    <a:pt x="62" y="112"/>
                    <a:pt x="62" y="112"/>
                    <a:pt x="62" y="112"/>
                  </a:cubicBezTo>
                  <a:cubicBezTo>
                    <a:pt x="45" y="81"/>
                    <a:pt x="45" y="81"/>
                    <a:pt x="45" y="81"/>
                  </a:cubicBezTo>
                  <a:cubicBezTo>
                    <a:pt x="45" y="81"/>
                    <a:pt x="45" y="81"/>
                    <a:pt x="45" y="81"/>
                  </a:cubicBezTo>
                  <a:cubicBezTo>
                    <a:pt x="44" y="79"/>
                    <a:pt x="41" y="75"/>
                    <a:pt x="34" y="75"/>
                  </a:cubicBezTo>
                  <a:cubicBezTo>
                    <a:pt x="29" y="75"/>
                    <a:pt x="22" y="77"/>
                    <a:pt x="17" y="81"/>
                  </a:cubicBezTo>
                  <a:cubicBezTo>
                    <a:pt x="5" y="88"/>
                    <a:pt x="0" y="99"/>
                    <a:pt x="5" y="107"/>
                  </a:cubicBezTo>
                  <a:cubicBezTo>
                    <a:pt x="5" y="107"/>
                    <a:pt x="5" y="107"/>
                    <a:pt x="5" y="107"/>
                  </a:cubicBezTo>
                  <a:cubicBezTo>
                    <a:pt x="54" y="173"/>
                    <a:pt x="54" y="173"/>
                    <a:pt x="54" y="173"/>
                  </a:cubicBezTo>
                  <a:cubicBezTo>
                    <a:pt x="55" y="175"/>
                    <a:pt x="57" y="176"/>
                    <a:pt x="60" y="176"/>
                  </a:cubicBezTo>
                  <a:cubicBezTo>
                    <a:pt x="60" y="176"/>
                    <a:pt x="60" y="176"/>
                    <a:pt x="60" y="176"/>
                  </a:cubicBezTo>
                  <a:cubicBezTo>
                    <a:pt x="63" y="176"/>
                    <a:pt x="65" y="175"/>
                    <a:pt x="67" y="173"/>
                  </a:cubicBezTo>
                  <a:cubicBezTo>
                    <a:pt x="155" y="14"/>
                    <a:pt x="155" y="14"/>
                    <a:pt x="155" y="14"/>
                  </a:cubicBezTo>
                  <a:cubicBezTo>
                    <a:pt x="157" y="11"/>
                    <a:pt x="155" y="6"/>
                    <a:pt x="152" y="4"/>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1" name="Freeform 123">
              <a:extLst>
                <a:ext uri="{FF2B5EF4-FFF2-40B4-BE49-F238E27FC236}">
                  <a16:creationId xmlns:a16="http://schemas.microsoft.com/office/drawing/2014/main" id="{B89F4E0A-C899-4498-97A2-98F3C99F0E72}"/>
                </a:ext>
              </a:extLst>
            </p:cNvPr>
            <p:cNvSpPr>
              <a:spLocks/>
            </p:cNvSpPr>
            <p:nvPr/>
          </p:nvSpPr>
          <p:spPr bwMode="auto">
            <a:xfrm>
              <a:off x="7797801" y="3781425"/>
              <a:ext cx="381000" cy="365125"/>
            </a:xfrm>
            <a:custGeom>
              <a:avLst/>
              <a:gdLst>
                <a:gd name="T0" fmla="*/ 77 w 198"/>
                <a:gd name="T1" fmla="*/ 188 h 188"/>
                <a:gd name="T2" fmla="*/ 16 w 198"/>
                <a:gd name="T3" fmla="*/ 187 h 188"/>
                <a:gd name="T4" fmla="*/ 9 w 198"/>
                <a:gd name="T5" fmla="*/ 187 h 188"/>
                <a:gd name="T6" fmla="*/ 8 w 198"/>
                <a:gd name="T7" fmla="*/ 180 h 188"/>
                <a:gd name="T8" fmla="*/ 3 w 198"/>
                <a:gd name="T9" fmla="*/ 98 h 188"/>
                <a:gd name="T10" fmla="*/ 13 w 198"/>
                <a:gd name="T11" fmla="*/ 4 h 188"/>
                <a:gd name="T12" fmla="*/ 25 w 198"/>
                <a:gd name="T13" fmla="*/ 5 h 188"/>
                <a:gd name="T14" fmla="*/ 177 w 198"/>
                <a:gd name="T15" fmla="*/ 0 h 188"/>
                <a:gd name="T16" fmla="*/ 163 w 198"/>
                <a:gd name="T17" fmla="*/ 19 h 188"/>
                <a:gd name="T18" fmla="*/ 21 w 198"/>
                <a:gd name="T19" fmla="*/ 21 h 188"/>
                <a:gd name="T20" fmla="*/ 24 w 198"/>
                <a:gd name="T21" fmla="*/ 171 h 188"/>
                <a:gd name="T22" fmla="*/ 181 w 198"/>
                <a:gd name="T23" fmla="*/ 165 h 188"/>
                <a:gd name="T24" fmla="*/ 176 w 198"/>
                <a:gd name="T25" fmla="*/ 44 h 188"/>
                <a:gd name="T26" fmla="*/ 192 w 198"/>
                <a:gd name="T27" fmla="*/ 16 h 188"/>
                <a:gd name="T28" fmla="*/ 198 w 198"/>
                <a:gd name="T29" fmla="*/ 176 h 188"/>
                <a:gd name="T30" fmla="*/ 192 w 198"/>
                <a:gd name="T31" fmla="*/ 178 h 188"/>
                <a:gd name="T32" fmla="*/ 77 w 198"/>
                <a:gd name="T33" fmla="*/ 188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98" h="188">
                  <a:moveTo>
                    <a:pt x="77" y="188"/>
                  </a:moveTo>
                  <a:cubicBezTo>
                    <a:pt x="45" y="188"/>
                    <a:pt x="19" y="187"/>
                    <a:pt x="16" y="187"/>
                  </a:cubicBezTo>
                  <a:cubicBezTo>
                    <a:pt x="9" y="187"/>
                    <a:pt x="9" y="187"/>
                    <a:pt x="9" y="187"/>
                  </a:cubicBezTo>
                  <a:cubicBezTo>
                    <a:pt x="8" y="180"/>
                    <a:pt x="8" y="180"/>
                    <a:pt x="8" y="180"/>
                  </a:cubicBezTo>
                  <a:cubicBezTo>
                    <a:pt x="8" y="179"/>
                    <a:pt x="5" y="139"/>
                    <a:pt x="3" y="98"/>
                  </a:cubicBezTo>
                  <a:cubicBezTo>
                    <a:pt x="0" y="11"/>
                    <a:pt x="7" y="7"/>
                    <a:pt x="13" y="4"/>
                  </a:cubicBezTo>
                  <a:cubicBezTo>
                    <a:pt x="17" y="2"/>
                    <a:pt x="21" y="2"/>
                    <a:pt x="25" y="5"/>
                  </a:cubicBezTo>
                  <a:cubicBezTo>
                    <a:pt x="36" y="14"/>
                    <a:pt x="140" y="5"/>
                    <a:pt x="177" y="0"/>
                  </a:cubicBezTo>
                  <a:cubicBezTo>
                    <a:pt x="163" y="19"/>
                    <a:pt x="163" y="19"/>
                    <a:pt x="163" y="19"/>
                  </a:cubicBezTo>
                  <a:cubicBezTo>
                    <a:pt x="148" y="21"/>
                    <a:pt x="48" y="32"/>
                    <a:pt x="21" y="21"/>
                  </a:cubicBezTo>
                  <a:cubicBezTo>
                    <a:pt x="17" y="41"/>
                    <a:pt x="19" y="109"/>
                    <a:pt x="24" y="171"/>
                  </a:cubicBezTo>
                  <a:cubicBezTo>
                    <a:pt x="64" y="172"/>
                    <a:pt x="150" y="173"/>
                    <a:pt x="181" y="165"/>
                  </a:cubicBezTo>
                  <a:cubicBezTo>
                    <a:pt x="176" y="44"/>
                    <a:pt x="176" y="44"/>
                    <a:pt x="176" y="44"/>
                  </a:cubicBezTo>
                  <a:cubicBezTo>
                    <a:pt x="192" y="16"/>
                    <a:pt x="192" y="16"/>
                    <a:pt x="192" y="16"/>
                  </a:cubicBezTo>
                  <a:cubicBezTo>
                    <a:pt x="198" y="176"/>
                    <a:pt x="198" y="176"/>
                    <a:pt x="198" y="176"/>
                  </a:cubicBezTo>
                  <a:cubicBezTo>
                    <a:pt x="192" y="178"/>
                    <a:pt x="192" y="178"/>
                    <a:pt x="192" y="178"/>
                  </a:cubicBezTo>
                  <a:cubicBezTo>
                    <a:pt x="173" y="186"/>
                    <a:pt x="120" y="188"/>
                    <a:pt x="77" y="188"/>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145565999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r>
              <a:rPr lang="en-US" sz="3200" dirty="0"/>
              <a:t>The recent C# versions timeline</a:t>
            </a:r>
            <a:br>
              <a:rPr lang="en-US" sz="3200" dirty="0"/>
            </a:br>
            <a:r>
              <a:rPr lang="en-US" sz="2400" dirty="0"/>
              <a:t>C# 8.0 pre-requirements</a:t>
            </a:r>
            <a:endParaRPr lang="en-US" sz="3200" dirty="0"/>
          </a:p>
        </p:txBody>
      </p:sp>
      <p:sp>
        <p:nvSpPr>
          <p:cNvPr id="10" name="Text Placeholder 9"/>
          <p:cNvSpPr>
            <a:spLocks noGrp="1"/>
          </p:cNvSpPr>
          <p:nvPr>
            <p:ph type="body" sz="quarter" idx="11"/>
          </p:nvPr>
        </p:nvSpPr>
        <p:spPr/>
        <p:txBody>
          <a:bodyPr/>
          <a:lstStyle/>
          <a:p>
            <a:r>
              <a:rPr lang="en-GB" dirty="0"/>
              <a:t>Overlook to the few past releases</a:t>
            </a:r>
          </a:p>
        </p:txBody>
      </p:sp>
      <p:sp>
        <p:nvSpPr>
          <p:cNvPr id="11" name="Text Placeholder 10"/>
          <p:cNvSpPr>
            <a:spLocks noGrp="1"/>
          </p:cNvSpPr>
          <p:nvPr>
            <p:ph type="body" sz="quarter" idx="12"/>
          </p:nvPr>
        </p:nvSpPr>
        <p:spPr/>
        <p:txBody>
          <a:bodyPr/>
          <a:lstStyle/>
          <a:p>
            <a:r>
              <a:rPr lang="en-GB" dirty="0"/>
              <a:t>1</a:t>
            </a:r>
          </a:p>
        </p:txBody>
      </p:sp>
      <p:sp>
        <p:nvSpPr>
          <p:cNvPr id="6" name="Rectangle: Rounded Corners 7">
            <a:extLst>
              <a:ext uri="{FF2B5EF4-FFF2-40B4-BE49-F238E27FC236}">
                <a16:creationId xmlns:a16="http://schemas.microsoft.com/office/drawing/2014/main" id="{138D5B75-435E-4E5B-BB10-0F50118C0ADB}"/>
              </a:ext>
            </a:extLst>
          </p:cNvPr>
          <p:cNvSpPr/>
          <p:nvPr/>
        </p:nvSpPr>
        <p:spPr>
          <a:xfrm>
            <a:off x="2135560" y="1910357"/>
            <a:ext cx="9073008" cy="1128258"/>
          </a:xfrm>
          <a:prstGeom prst="roundRect">
            <a:avLst>
              <a:gd name="adj" fmla="val 33616"/>
            </a:avLst>
          </a:pr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srgbClr val="FFFFFF"/>
              </a:solidFill>
              <a:effectLst/>
              <a:uLnTx/>
              <a:uFillTx/>
              <a:latin typeface="Arial"/>
              <a:ea typeface="+mn-ea"/>
              <a:cs typeface="+mn-cs"/>
            </a:endParaRPr>
          </a:p>
        </p:txBody>
      </p:sp>
      <p:graphicFrame>
        <p:nvGraphicFramePr>
          <p:cNvPr id="7" name="Table Placeholder 4">
            <a:extLst>
              <a:ext uri="{FF2B5EF4-FFF2-40B4-BE49-F238E27FC236}">
                <a16:creationId xmlns:a16="http://schemas.microsoft.com/office/drawing/2014/main" id="{06023993-9078-470E-80B8-AF177564FBDC}"/>
              </a:ext>
            </a:extLst>
          </p:cNvPr>
          <p:cNvGraphicFramePr>
            <a:graphicFrameLocks/>
          </p:cNvGraphicFramePr>
          <p:nvPr>
            <p:extLst>
              <p:ext uri="{D42A27DB-BD31-4B8C-83A1-F6EECF244321}">
                <p14:modId xmlns:p14="http://schemas.microsoft.com/office/powerpoint/2010/main" val="2230520634"/>
              </p:ext>
            </p:extLst>
          </p:nvPr>
        </p:nvGraphicFramePr>
        <p:xfrm>
          <a:off x="798396" y="2060848"/>
          <a:ext cx="10423597" cy="4374009"/>
        </p:xfrm>
        <a:graphic>
          <a:graphicData uri="http://schemas.openxmlformats.org/drawingml/2006/table">
            <a:tbl>
              <a:tblPr firstRow="1" bandRow="1">
                <a:tableStyleId>{5C22544A-7EE6-4342-B048-85BDC9FD1C3A}</a:tableStyleId>
              </a:tblPr>
              <a:tblGrid>
                <a:gridCol w="1337164">
                  <a:extLst>
                    <a:ext uri="{9D8B030D-6E8A-4147-A177-3AD203B41FA5}">
                      <a16:colId xmlns:a16="http://schemas.microsoft.com/office/drawing/2014/main" val="2607851620"/>
                    </a:ext>
                  </a:extLst>
                </a:gridCol>
                <a:gridCol w="1833277">
                  <a:extLst>
                    <a:ext uri="{9D8B030D-6E8A-4147-A177-3AD203B41FA5}">
                      <a16:colId xmlns:a16="http://schemas.microsoft.com/office/drawing/2014/main" val="1243403413"/>
                    </a:ext>
                  </a:extLst>
                </a:gridCol>
                <a:gridCol w="1813289">
                  <a:extLst>
                    <a:ext uri="{9D8B030D-6E8A-4147-A177-3AD203B41FA5}">
                      <a16:colId xmlns:a16="http://schemas.microsoft.com/office/drawing/2014/main" val="1389503925"/>
                    </a:ext>
                  </a:extLst>
                </a:gridCol>
                <a:gridCol w="1813289">
                  <a:extLst>
                    <a:ext uri="{9D8B030D-6E8A-4147-A177-3AD203B41FA5}">
                      <a16:colId xmlns:a16="http://schemas.microsoft.com/office/drawing/2014/main" val="3631262642"/>
                    </a:ext>
                  </a:extLst>
                </a:gridCol>
                <a:gridCol w="1813289">
                  <a:extLst>
                    <a:ext uri="{9D8B030D-6E8A-4147-A177-3AD203B41FA5}">
                      <a16:colId xmlns:a16="http://schemas.microsoft.com/office/drawing/2014/main" val="2121792064"/>
                    </a:ext>
                  </a:extLst>
                </a:gridCol>
                <a:gridCol w="1813289">
                  <a:extLst>
                    <a:ext uri="{9D8B030D-6E8A-4147-A177-3AD203B41FA5}">
                      <a16:colId xmlns:a16="http://schemas.microsoft.com/office/drawing/2014/main" val="2163038458"/>
                    </a:ext>
                  </a:extLst>
                </a:gridCol>
              </a:tblGrid>
              <a:tr h="510726">
                <a:tc>
                  <a:txBody>
                    <a:bodyPr/>
                    <a:lstStyle/>
                    <a:p>
                      <a:pPr algn="ctr"/>
                      <a:endParaRPr lang="en-US" sz="1200" noProof="0" dirty="0">
                        <a:latin typeface="+mj-lt"/>
                      </a:endParaRPr>
                    </a:p>
                  </a:txBody>
                  <a:tcPr marL="110322" marR="110322" marT="0" marB="0"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b="1" noProof="0" dirty="0">
                          <a:solidFill>
                            <a:schemeClr val="bg1"/>
                          </a:solidFill>
                          <a:latin typeface="+mj-lt"/>
                        </a:rPr>
                        <a:t>C# 7.0</a:t>
                      </a:r>
                    </a:p>
                  </a:txBody>
                  <a:tcPr marL="110322" marR="110322" marT="0" marB="0">
                    <a:lnL w="12700" cmpd="sng">
                      <a:noFill/>
                    </a:lnL>
                    <a:lnR w="1270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b="1" noProof="0" dirty="0">
                          <a:solidFill>
                            <a:schemeClr val="bg1"/>
                          </a:solidFill>
                          <a:latin typeface="+mj-lt"/>
                        </a:rPr>
                        <a:t>C# 7.1</a:t>
                      </a:r>
                    </a:p>
                  </a:txBody>
                  <a:tcPr marL="110322" marR="110322"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b="1" noProof="0" dirty="0">
                          <a:solidFill>
                            <a:schemeClr val="bg1"/>
                          </a:solidFill>
                          <a:latin typeface="+mj-lt"/>
                        </a:rPr>
                        <a:t>C# 7.2</a:t>
                      </a:r>
                    </a:p>
                  </a:txBody>
                  <a:tcPr marL="110322" marR="110322"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b="1" noProof="0" dirty="0">
                          <a:solidFill>
                            <a:schemeClr val="bg1"/>
                          </a:solidFill>
                          <a:latin typeface="+mj-lt"/>
                        </a:rPr>
                        <a:t>C# 7.3</a:t>
                      </a:r>
                    </a:p>
                  </a:txBody>
                  <a:tcPr marL="110322" marR="110322"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1" noProof="0" dirty="0">
                          <a:solidFill>
                            <a:schemeClr val="bg1"/>
                          </a:solidFill>
                          <a:latin typeface="+mj-lt"/>
                        </a:rPr>
                        <a:t>C# 8.0</a:t>
                      </a:r>
                    </a:p>
                  </a:txBody>
                  <a:tcPr marL="110322" marR="110322"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81481475"/>
                  </a:ext>
                </a:extLst>
              </a:tr>
              <a:tr h="792882">
                <a:tc>
                  <a:txBody>
                    <a:bodyPr/>
                    <a:lstStyle/>
                    <a:p>
                      <a:pPr algn="l"/>
                      <a:endParaRPr lang="en-US" sz="1200" b="1" noProof="0" dirty="0">
                        <a:solidFill>
                          <a:srgbClr val="434343"/>
                        </a:solidFill>
                        <a:latin typeface="+mj-lt"/>
                      </a:endParaRPr>
                    </a:p>
                  </a:txBody>
                  <a:tcPr marL="183941" marR="110365" marT="0" marB="0" anchor="ctr">
                    <a:lnL w="12700" cmpd="sng">
                      <a:noFill/>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85000"/>
                      </a:schemeClr>
                    </a:solidFill>
                  </a:tcPr>
                </a:tc>
                <a:tc>
                  <a:txBody>
                    <a:bodyPr/>
                    <a:lstStyle/>
                    <a:p>
                      <a:pPr algn="l"/>
                      <a:r>
                        <a:rPr lang="en-US" sz="1200" noProof="0" dirty="0">
                          <a:solidFill>
                            <a:schemeClr val="tx1"/>
                          </a:solidFill>
                          <a:latin typeface="+mj-lt"/>
                        </a:rPr>
                        <a:t>March, 2017</a:t>
                      </a:r>
                    </a:p>
                  </a:txBody>
                  <a:tcPr marL="110322" marR="110322" marT="0" marB="0"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mj-lt"/>
                          <a:ea typeface="+mn-ea"/>
                          <a:cs typeface="+mn-cs"/>
                        </a:rPr>
                        <a:t>August,  2017</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mj-lt"/>
                          <a:ea typeface="+mn-ea"/>
                          <a:cs typeface="+mn-cs"/>
                        </a:rPr>
                        <a:t>November, 2017</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mj-lt"/>
                          <a:ea typeface="+mn-ea"/>
                          <a:cs typeface="+mn-cs"/>
                        </a:rPr>
                        <a:t>May, 2018</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mj-lt"/>
                        <a:ea typeface="+mn-ea"/>
                        <a:cs typeface="+mn-cs"/>
                      </a:endParaRP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5F5F5"/>
                    </a:solidFill>
                  </a:tcPr>
                </a:tc>
                <a:extLst>
                  <a:ext uri="{0D108BD9-81ED-4DB2-BD59-A6C34878D82A}">
                    <a16:rowId xmlns:a16="http://schemas.microsoft.com/office/drawing/2014/main" val="3590348787"/>
                  </a:ext>
                </a:extLst>
              </a:tr>
              <a:tr h="792882">
                <a:tc>
                  <a:txBody>
                    <a:bodyPr/>
                    <a:lstStyle/>
                    <a:p>
                      <a:pPr algn="l"/>
                      <a:endParaRPr lang="en-US" sz="1200" b="1" noProof="0" dirty="0">
                        <a:solidFill>
                          <a:srgbClr val="434343"/>
                        </a:solidFill>
                        <a:latin typeface="+mj-lt"/>
                      </a:endParaRPr>
                    </a:p>
                  </a:txBody>
                  <a:tcPr marL="183941" marR="110365"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8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mj-lt"/>
                          <a:ea typeface="+mn-ea"/>
                          <a:cs typeface="+mn-cs"/>
                        </a:rPr>
                        <a:t>.NET Framework 4.6.2</a:t>
                      </a:r>
                    </a:p>
                  </a:txBody>
                  <a:tcPr marL="110322" marR="110322" marT="0" marB="0"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6E7E7"/>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NET Framework 4.7</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mn-lt"/>
                        <a:ea typeface="+mn-ea"/>
                        <a:cs typeface="+mn-cs"/>
                      </a:endParaRP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6E7E7"/>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NET Framework 4.7.1</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6E7E7"/>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NET Framework 4.7.2</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6E7E7"/>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NET Framework 4.8</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mn-lt"/>
                        <a:ea typeface="+mn-ea"/>
                        <a:cs typeface="+mn-cs"/>
                      </a:endParaRP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6E7E7"/>
                    </a:solidFill>
                  </a:tcPr>
                </a:tc>
                <a:extLst>
                  <a:ext uri="{0D108BD9-81ED-4DB2-BD59-A6C34878D82A}">
                    <a16:rowId xmlns:a16="http://schemas.microsoft.com/office/drawing/2014/main" val="874772154"/>
                  </a:ext>
                </a:extLst>
              </a:tr>
              <a:tr h="759173">
                <a:tc>
                  <a:txBody>
                    <a:bodyPr/>
                    <a:lstStyle/>
                    <a:p>
                      <a:pPr algn="l"/>
                      <a:endParaRPr lang="en-US" sz="1200" b="1" noProof="0" dirty="0">
                        <a:solidFill>
                          <a:srgbClr val="434343"/>
                        </a:solidFill>
                        <a:latin typeface="+mj-lt"/>
                      </a:endParaRPr>
                    </a:p>
                  </a:txBody>
                  <a:tcPr marL="183941" marR="110365"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8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mj-lt"/>
                          <a:ea typeface="+mn-ea"/>
                          <a:cs typeface="+mn-cs"/>
                        </a:rPr>
                        <a:t>.NET Core 2.0</a:t>
                      </a:r>
                    </a:p>
                  </a:txBody>
                  <a:tcPr marL="110322" marR="110322" marT="0" marB="0"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NET Core 2.0</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NET Core 2.0</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NET Core 2.1</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NET Core 3.0</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5F5F5"/>
                    </a:solidFill>
                  </a:tcPr>
                </a:tc>
                <a:extLst>
                  <a:ext uri="{0D108BD9-81ED-4DB2-BD59-A6C34878D82A}">
                    <a16:rowId xmlns:a16="http://schemas.microsoft.com/office/drawing/2014/main" val="1267503373"/>
                  </a:ext>
                </a:extLst>
              </a:tr>
              <a:tr h="759173">
                <a:tc>
                  <a:txBody>
                    <a:bodyPr/>
                    <a:lstStyle/>
                    <a:p>
                      <a:pPr algn="l"/>
                      <a:endParaRPr lang="en-US" sz="1200" b="1" noProof="0" dirty="0">
                        <a:solidFill>
                          <a:srgbClr val="434343"/>
                        </a:solidFill>
                        <a:latin typeface="+mj-lt"/>
                      </a:endParaRPr>
                    </a:p>
                  </a:txBody>
                  <a:tcPr marL="183941" marR="110365"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8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l-PL" sz="1200" b="0" i="0" u="none" strike="noStrike" kern="1200" cap="none" spc="0" normalizeH="0" baseline="0" noProof="0" dirty="0">
                          <a:ln>
                            <a:noFill/>
                          </a:ln>
                          <a:solidFill>
                            <a:prstClr val="black"/>
                          </a:solidFill>
                          <a:effectLst/>
                          <a:uLnTx/>
                          <a:uFillTx/>
                          <a:latin typeface="+mj-lt"/>
                          <a:ea typeface="+mn-ea"/>
                          <a:cs typeface="+mn-cs"/>
                        </a:rPr>
                        <a:t>.NET Standard 2.0</a:t>
                      </a:r>
                      <a:endParaRPr kumimoji="0" lang="en-US" sz="1200" b="0" i="0" u="none" strike="noStrike" kern="1200" cap="none" spc="0" normalizeH="0" baseline="0" noProof="0" dirty="0">
                        <a:ln>
                          <a:noFill/>
                        </a:ln>
                        <a:solidFill>
                          <a:prstClr val="black"/>
                        </a:solidFill>
                        <a:effectLst/>
                        <a:uLnTx/>
                        <a:uFillTx/>
                        <a:latin typeface="+mj-lt"/>
                        <a:ea typeface="+mn-ea"/>
                        <a:cs typeface="+mn-cs"/>
                      </a:endParaRPr>
                    </a:p>
                  </a:txBody>
                  <a:tcPr marL="110322" marR="110322" marT="0" marB="0"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6E7E7"/>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l-PL" sz="1200" b="0" i="0" u="none" strike="noStrike" kern="1200" cap="none" spc="0" normalizeH="0" baseline="0" noProof="0" dirty="0">
                          <a:ln>
                            <a:noFill/>
                          </a:ln>
                          <a:solidFill>
                            <a:prstClr val="black"/>
                          </a:solidFill>
                          <a:effectLst/>
                          <a:uLnTx/>
                          <a:uFillTx/>
                          <a:latin typeface="+mn-lt"/>
                          <a:ea typeface="+mn-ea"/>
                          <a:cs typeface="+mn-cs"/>
                        </a:rPr>
                        <a:t>.NET Standard 2.0</a:t>
                      </a:r>
                      <a:endParaRPr kumimoji="0" lang="en-US" sz="1200" b="0" i="0" u="none" strike="noStrike" kern="1200" cap="none" spc="0" normalizeH="0" baseline="0" noProof="0" dirty="0">
                        <a:ln>
                          <a:noFill/>
                        </a:ln>
                        <a:solidFill>
                          <a:prstClr val="black"/>
                        </a:solidFill>
                        <a:effectLst/>
                        <a:uLnTx/>
                        <a:uFillTx/>
                        <a:latin typeface="+mn-lt"/>
                        <a:ea typeface="+mn-ea"/>
                        <a:cs typeface="+mn-cs"/>
                      </a:endParaRP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6E7E7"/>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l-PL" sz="1200" b="0" i="0" u="none" strike="noStrike" kern="1200" cap="none" spc="0" normalizeH="0" baseline="0" noProof="0" dirty="0">
                          <a:ln>
                            <a:noFill/>
                          </a:ln>
                          <a:solidFill>
                            <a:prstClr val="black"/>
                          </a:solidFill>
                          <a:effectLst/>
                          <a:uLnTx/>
                          <a:uFillTx/>
                          <a:latin typeface="+mn-lt"/>
                          <a:ea typeface="+mn-ea"/>
                          <a:cs typeface="+mn-cs"/>
                        </a:rPr>
                        <a:t>.NET Standard 2.0</a:t>
                      </a:r>
                      <a:endParaRPr kumimoji="0" lang="en-US" sz="1200" b="0" i="0" u="none" strike="noStrike" kern="1200" cap="none" spc="0" normalizeH="0" baseline="0" noProof="0" dirty="0">
                        <a:ln>
                          <a:noFill/>
                        </a:ln>
                        <a:solidFill>
                          <a:prstClr val="black"/>
                        </a:solidFill>
                        <a:effectLst/>
                        <a:uLnTx/>
                        <a:uFillTx/>
                        <a:latin typeface="+mn-lt"/>
                        <a:ea typeface="+mn-ea"/>
                        <a:cs typeface="+mn-cs"/>
                      </a:endParaRP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6E7E7"/>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l-PL" sz="1200" b="0" i="0" u="none" strike="noStrike" kern="1200" cap="none" spc="0" normalizeH="0" baseline="0" noProof="0" dirty="0">
                          <a:ln>
                            <a:noFill/>
                          </a:ln>
                          <a:solidFill>
                            <a:prstClr val="black"/>
                          </a:solidFill>
                          <a:effectLst/>
                          <a:uLnTx/>
                          <a:uFillTx/>
                          <a:latin typeface="+mn-lt"/>
                          <a:ea typeface="+mn-ea"/>
                          <a:cs typeface="+mn-cs"/>
                        </a:rPr>
                        <a:t>.NET Standard 2.0</a:t>
                      </a:r>
                      <a:endParaRPr kumimoji="0" lang="en-US" sz="1200" b="0" i="0" u="none" strike="noStrike" kern="1200" cap="none" spc="0" normalizeH="0" baseline="0" noProof="0" dirty="0">
                        <a:ln>
                          <a:noFill/>
                        </a:ln>
                        <a:solidFill>
                          <a:prstClr val="black"/>
                        </a:solidFill>
                        <a:effectLst/>
                        <a:uLnTx/>
                        <a:uFillTx/>
                        <a:latin typeface="+mn-lt"/>
                        <a:ea typeface="+mn-ea"/>
                        <a:cs typeface="+mn-cs"/>
                      </a:endParaRP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6E7E7"/>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l-PL" sz="1200" b="0" i="0" u="none" strike="noStrike" kern="1200" cap="none" spc="0" normalizeH="0" baseline="0" noProof="0" dirty="0">
                          <a:ln>
                            <a:noFill/>
                          </a:ln>
                          <a:solidFill>
                            <a:prstClr val="black"/>
                          </a:solidFill>
                          <a:effectLst/>
                          <a:uLnTx/>
                          <a:uFillTx/>
                          <a:latin typeface="+mn-lt"/>
                          <a:ea typeface="+mn-ea"/>
                          <a:cs typeface="+mn-cs"/>
                        </a:rPr>
                        <a:t>.NET Standard 2.0/</a:t>
                      </a:r>
                      <a:endParaRPr kumimoji="0" lang="en-US" sz="1200" b="0" i="0" u="none" strike="noStrike" kern="1200" cap="none" spc="0" normalizeH="0" baseline="0" noProof="0" dirty="0">
                        <a:ln>
                          <a:noFill/>
                        </a:ln>
                        <a:solidFill>
                          <a:prstClr val="black"/>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pl-PL" sz="1200" b="0" i="0" u="none" strike="noStrike" kern="1200" cap="none" spc="0" normalizeH="0" baseline="0" noProof="0" dirty="0">
                          <a:ln>
                            <a:noFill/>
                          </a:ln>
                          <a:solidFill>
                            <a:prstClr val="black"/>
                          </a:solidFill>
                          <a:effectLst/>
                          <a:uLnTx/>
                          <a:uFillTx/>
                          <a:latin typeface="+mn-lt"/>
                          <a:ea typeface="+mn-ea"/>
                          <a:cs typeface="+mn-cs"/>
                        </a:rPr>
                        <a:t>.NET Standard 2.1</a:t>
                      </a:r>
                      <a:endParaRPr kumimoji="0" lang="en-US" sz="1200" b="0" i="0" u="none" strike="noStrike" kern="1200" cap="none" spc="0" normalizeH="0" baseline="0" noProof="0" dirty="0">
                        <a:ln>
                          <a:noFill/>
                        </a:ln>
                        <a:solidFill>
                          <a:prstClr val="black"/>
                        </a:solidFill>
                        <a:effectLst/>
                        <a:uLnTx/>
                        <a:uFillTx/>
                        <a:latin typeface="+mn-lt"/>
                        <a:ea typeface="+mn-ea"/>
                        <a:cs typeface="+mn-cs"/>
                      </a:endParaRP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6E7E7"/>
                    </a:solidFill>
                  </a:tcPr>
                </a:tc>
                <a:extLst>
                  <a:ext uri="{0D108BD9-81ED-4DB2-BD59-A6C34878D82A}">
                    <a16:rowId xmlns:a16="http://schemas.microsoft.com/office/drawing/2014/main" val="4126365749"/>
                  </a:ext>
                </a:extLst>
              </a:tr>
              <a:tr h="759173">
                <a:tc>
                  <a:txBody>
                    <a:bodyPr/>
                    <a:lstStyle/>
                    <a:p>
                      <a:pPr algn="l"/>
                      <a:endParaRPr lang="en-US" sz="1200" b="1" noProof="0" dirty="0">
                        <a:solidFill>
                          <a:srgbClr val="434343"/>
                        </a:solidFill>
                        <a:latin typeface="+mj-lt"/>
                      </a:endParaRPr>
                    </a:p>
                  </a:txBody>
                  <a:tcPr marL="183941" marR="110365"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8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mj-lt"/>
                          <a:ea typeface="+mn-ea"/>
                          <a:cs typeface="+mn-cs"/>
                        </a:rPr>
                        <a:t>Visual Studio 2017</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mj-lt"/>
                        <a:ea typeface="+mn-ea"/>
                        <a:cs typeface="+mn-cs"/>
                      </a:endParaRPr>
                    </a:p>
                  </a:txBody>
                  <a:tcPr marL="110322" marR="110322" marT="0" marB="0"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Visual Studio 2017</a:t>
                      </a:r>
                      <a:r>
                        <a:rPr kumimoji="0" lang="en-US" sz="1200" b="0" i="0" u="none" strike="noStrike" kern="1200" cap="none" spc="0" normalizeH="0" baseline="0" noProof="0" dirty="0">
                          <a:ln>
                            <a:noFill/>
                          </a:ln>
                          <a:solidFill>
                            <a:prstClr val="black"/>
                          </a:solidFill>
                          <a:effectLst/>
                          <a:uLnTx/>
                          <a:uFillTx/>
                          <a:latin typeface="+mj-lt"/>
                          <a:ea typeface="+mn-ea"/>
                          <a:cs typeface="+mn-cs"/>
                        </a:rPr>
                        <a:t> v15.3</a:t>
                      </a:r>
                      <a:endParaRPr kumimoji="0" lang="en-US" sz="1200" b="0" i="0" u="none" strike="noStrike" kern="1200" cap="none" spc="0" normalizeH="0" baseline="0" noProof="0" dirty="0">
                        <a:ln>
                          <a:noFill/>
                        </a:ln>
                        <a:solidFill>
                          <a:prstClr val="black"/>
                        </a:solidFill>
                        <a:effectLst/>
                        <a:uLnTx/>
                        <a:uFillTx/>
                        <a:latin typeface="+mn-lt"/>
                        <a:ea typeface="+mn-ea"/>
                        <a:cs typeface="+mn-cs"/>
                      </a:endParaRP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Visual Studio 2017 v15.5</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Visual Studio 2017 v15.7</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Visual Studio 2019</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mn-lt"/>
                        <a:ea typeface="+mn-ea"/>
                        <a:cs typeface="+mn-cs"/>
                      </a:endParaRP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5F5F5"/>
                    </a:solidFill>
                  </a:tcPr>
                </a:tc>
                <a:extLst>
                  <a:ext uri="{0D108BD9-81ED-4DB2-BD59-A6C34878D82A}">
                    <a16:rowId xmlns:a16="http://schemas.microsoft.com/office/drawing/2014/main" val="4195966028"/>
                  </a:ext>
                </a:extLst>
              </a:tr>
            </a:tbl>
          </a:graphicData>
        </a:graphic>
      </p:graphicFrame>
      <p:sp>
        <p:nvSpPr>
          <p:cNvPr id="9" name="Prostokąt 8">
            <a:extLst>
              <a:ext uri="{FF2B5EF4-FFF2-40B4-BE49-F238E27FC236}">
                <a16:creationId xmlns:a16="http://schemas.microsoft.com/office/drawing/2014/main" id="{4153C28A-2AC5-4869-A064-C7B0CDE609D1}"/>
              </a:ext>
            </a:extLst>
          </p:cNvPr>
          <p:cNvSpPr/>
          <p:nvPr/>
        </p:nvSpPr>
        <p:spPr>
          <a:xfrm>
            <a:off x="1199456" y="5805264"/>
            <a:ext cx="460260" cy="460260"/>
          </a:xfrm>
          <a:prstGeom prst="rect">
            <a:avLst/>
          </a:prstGeom>
          <a:solidFill>
            <a:srgbClr val="865FC5"/>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2" name="Group 593">
            <a:extLst>
              <a:ext uri="{FF2B5EF4-FFF2-40B4-BE49-F238E27FC236}">
                <a16:creationId xmlns:a16="http://schemas.microsoft.com/office/drawing/2014/main" id="{B20D7230-5BCF-445B-B361-2564CAF7BD36}"/>
              </a:ext>
            </a:extLst>
          </p:cNvPr>
          <p:cNvGrpSpPr/>
          <p:nvPr/>
        </p:nvGrpSpPr>
        <p:grpSpPr>
          <a:xfrm>
            <a:off x="1244154" y="2780928"/>
            <a:ext cx="387350" cy="385763"/>
            <a:chOff x="8977313" y="4814890"/>
            <a:chExt cx="387350" cy="385763"/>
          </a:xfrm>
        </p:grpSpPr>
        <p:sp>
          <p:nvSpPr>
            <p:cNvPr id="14" name="Freeform 139">
              <a:extLst>
                <a:ext uri="{FF2B5EF4-FFF2-40B4-BE49-F238E27FC236}">
                  <a16:creationId xmlns:a16="http://schemas.microsoft.com/office/drawing/2014/main" id="{4FF2C4FA-9D61-4E1A-96CE-8064D5A2FF10}"/>
                </a:ext>
              </a:extLst>
            </p:cNvPr>
            <p:cNvSpPr>
              <a:spLocks/>
            </p:cNvSpPr>
            <p:nvPr/>
          </p:nvSpPr>
          <p:spPr bwMode="auto">
            <a:xfrm>
              <a:off x="9261475" y="4814890"/>
              <a:ext cx="39687" cy="101600"/>
            </a:xfrm>
            <a:custGeom>
              <a:avLst/>
              <a:gdLst>
                <a:gd name="T0" fmla="*/ 10 w 21"/>
                <a:gd name="T1" fmla="*/ 53 h 53"/>
                <a:gd name="T2" fmla="*/ 21 w 21"/>
                <a:gd name="T3" fmla="*/ 43 h 53"/>
                <a:gd name="T4" fmla="*/ 21 w 21"/>
                <a:gd name="T5" fmla="*/ 10 h 53"/>
                <a:gd name="T6" fmla="*/ 10 w 21"/>
                <a:gd name="T7" fmla="*/ 0 h 53"/>
                <a:gd name="T8" fmla="*/ 0 w 21"/>
                <a:gd name="T9" fmla="*/ 10 h 53"/>
                <a:gd name="T10" fmla="*/ 0 w 21"/>
                <a:gd name="T11" fmla="*/ 43 h 53"/>
                <a:gd name="T12" fmla="*/ 10 w 21"/>
                <a:gd name="T13" fmla="*/ 53 h 53"/>
              </a:gdLst>
              <a:ahLst/>
              <a:cxnLst>
                <a:cxn ang="0">
                  <a:pos x="T0" y="T1"/>
                </a:cxn>
                <a:cxn ang="0">
                  <a:pos x="T2" y="T3"/>
                </a:cxn>
                <a:cxn ang="0">
                  <a:pos x="T4" y="T5"/>
                </a:cxn>
                <a:cxn ang="0">
                  <a:pos x="T6" y="T7"/>
                </a:cxn>
                <a:cxn ang="0">
                  <a:pos x="T8" y="T9"/>
                </a:cxn>
                <a:cxn ang="0">
                  <a:pos x="T10" y="T11"/>
                </a:cxn>
                <a:cxn ang="0">
                  <a:pos x="T12" y="T13"/>
                </a:cxn>
              </a:cxnLst>
              <a:rect l="0" t="0" r="r" b="b"/>
              <a:pathLst>
                <a:path w="21" h="53">
                  <a:moveTo>
                    <a:pt x="10" y="53"/>
                  </a:moveTo>
                  <a:cubicBezTo>
                    <a:pt x="16" y="53"/>
                    <a:pt x="21" y="49"/>
                    <a:pt x="21" y="43"/>
                  </a:cubicBezTo>
                  <a:cubicBezTo>
                    <a:pt x="21" y="10"/>
                    <a:pt x="21" y="10"/>
                    <a:pt x="21" y="10"/>
                  </a:cubicBezTo>
                  <a:cubicBezTo>
                    <a:pt x="21" y="4"/>
                    <a:pt x="16" y="0"/>
                    <a:pt x="10" y="0"/>
                  </a:cubicBezTo>
                  <a:cubicBezTo>
                    <a:pt x="5" y="0"/>
                    <a:pt x="0" y="4"/>
                    <a:pt x="0" y="10"/>
                  </a:cubicBezTo>
                  <a:cubicBezTo>
                    <a:pt x="0" y="43"/>
                    <a:pt x="0" y="43"/>
                    <a:pt x="0" y="43"/>
                  </a:cubicBezTo>
                  <a:cubicBezTo>
                    <a:pt x="0" y="49"/>
                    <a:pt x="5" y="53"/>
                    <a:pt x="10" y="53"/>
                  </a:cubicBezTo>
                  <a:close/>
                </a:path>
              </a:pathLst>
            </a:custGeom>
            <a:solidFill>
              <a:srgbClr val="15636B"/>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5" name="Freeform 140">
              <a:extLst>
                <a:ext uri="{FF2B5EF4-FFF2-40B4-BE49-F238E27FC236}">
                  <a16:creationId xmlns:a16="http://schemas.microsoft.com/office/drawing/2014/main" id="{94FD8DA0-3466-4B96-930A-AD9D2601F8F8}"/>
                </a:ext>
              </a:extLst>
            </p:cNvPr>
            <p:cNvSpPr>
              <a:spLocks/>
            </p:cNvSpPr>
            <p:nvPr/>
          </p:nvSpPr>
          <p:spPr bwMode="auto">
            <a:xfrm>
              <a:off x="9040813" y="4814890"/>
              <a:ext cx="39687" cy="101600"/>
            </a:xfrm>
            <a:custGeom>
              <a:avLst/>
              <a:gdLst>
                <a:gd name="T0" fmla="*/ 10 w 21"/>
                <a:gd name="T1" fmla="*/ 53 h 53"/>
                <a:gd name="T2" fmla="*/ 21 w 21"/>
                <a:gd name="T3" fmla="*/ 43 h 53"/>
                <a:gd name="T4" fmla="*/ 21 w 21"/>
                <a:gd name="T5" fmla="*/ 10 h 53"/>
                <a:gd name="T6" fmla="*/ 10 w 21"/>
                <a:gd name="T7" fmla="*/ 0 h 53"/>
                <a:gd name="T8" fmla="*/ 0 w 21"/>
                <a:gd name="T9" fmla="*/ 10 h 53"/>
                <a:gd name="T10" fmla="*/ 0 w 21"/>
                <a:gd name="T11" fmla="*/ 43 h 53"/>
                <a:gd name="T12" fmla="*/ 10 w 21"/>
                <a:gd name="T13" fmla="*/ 53 h 53"/>
              </a:gdLst>
              <a:ahLst/>
              <a:cxnLst>
                <a:cxn ang="0">
                  <a:pos x="T0" y="T1"/>
                </a:cxn>
                <a:cxn ang="0">
                  <a:pos x="T2" y="T3"/>
                </a:cxn>
                <a:cxn ang="0">
                  <a:pos x="T4" y="T5"/>
                </a:cxn>
                <a:cxn ang="0">
                  <a:pos x="T6" y="T7"/>
                </a:cxn>
                <a:cxn ang="0">
                  <a:pos x="T8" y="T9"/>
                </a:cxn>
                <a:cxn ang="0">
                  <a:pos x="T10" y="T11"/>
                </a:cxn>
                <a:cxn ang="0">
                  <a:pos x="T12" y="T13"/>
                </a:cxn>
              </a:cxnLst>
              <a:rect l="0" t="0" r="r" b="b"/>
              <a:pathLst>
                <a:path w="21" h="53">
                  <a:moveTo>
                    <a:pt x="10" y="53"/>
                  </a:moveTo>
                  <a:cubicBezTo>
                    <a:pt x="16" y="53"/>
                    <a:pt x="21" y="49"/>
                    <a:pt x="21" y="43"/>
                  </a:cubicBezTo>
                  <a:cubicBezTo>
                    <a:pt x="21" y="10"/>
                    <a:pt x="21" y="10"/>
                    <a:pt x="21" y="10"/>
                  </a:cubicBezTo>
                  <a:cubicBezTo>
                    <a:pt x="21" y="4"/>
                    <a:pt x="16" y="0"/>
                    <a:pt x="10" y="0"/>
                  </a:cubicBezTo>
                  <a:cubicBezTo>
                    <a:pt x="5" y="0"/>
                    <a:pt x="0" y="4"/>
                    <a:pt x="0" y="10"/>
                  </a:cubicBezTo>
                  <a:cubicBezTo>
                    <a:pt x="0" y="43"/>
                    <a:pt x="0" y="43"/>
                    <a:pt x="0" y="43"/>
                  </a:cubicBezTo>
                  <a:cubicBezTo>
                    <a:pt x="0" y="49"/>
                    <a:pt x="5" y="53"/>
                    <a:pt x="10" y="53"/>
                  </a:cubicBezTo>
                  <a:close/>
                </a:path>
              </a:pathLst>
            </a:custGeom>
            <a:solidFill>
              <a:srgbClr val="15636B"/>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6" name="Freeform 141">
              <a:extLst>
                <a:ext uri="{FF2B5EF4-FFF2-40B4-BE49-F238E27FC236}">
                  <a16:creationId xmlns:a16="http://schemas.microsoft.com/office/drawing/2014/main" id="{1FF2D186-64A5-4B99-AF60-34CD3B7A08DA}"/>
                </a:ext>
              </a:extLst>
            </p:cNvPr>
            <p:cNvSpPr>
              <a:spLocks/>
            </p:cNvSpPr>
            <p:nvPr/>
          </p:nvSpPr>
          <p:spPr bwMode="auto">
            <a:xfrm>
              <a:off x="8977313" y="4851403"/>
              <a:ext cx="387350" cy="349250"/>
            </a:xfrm>
            <a:custGeom>
              <a:avLst/>
              <a:gdLst>
                <a:gd name="T0" fmla="*/ 183 w 202"/>
                <a:gd name="T1" fmla="*/ 0 h 181"/>
                <a:gd name="T2" fmla="*/ 171 w 202"/>
                <a:gd name="T3" fmla="*/ 0 h 181"/>
                <a:gd name="T4" fmla="*/ 171 w 202"/>
                <a:gd name="T5" fmla="*/ 12 h 181"/>
                <a:gd name="T6" fmla="*/ 175 w 202"/>
                <a:gd name="T7" fmla="*/ 23 h 181"/>
                <a:gd name="T8" fmla="*/ 158 w 202"/>
                <a:gd name="T9" fmla="*/ 39 h 181"/>
                <a:gd name="T10" fmla="*/ 142 w 202"/>
                <a:gd name="T11" fmla="*/ 23 h 181"/>
                <a:gd name="T12" fmla="*/ 146 w 202"/>
                <a:gd name="T13" fmla="*/ 12 h 181"/>
                <a:gd name="T14" fmla="*/ 146 w 202"/>
                <a:gd name="T15" fmla="*/ 0 h 181"/>
                <a:gd name="T16" fmla="*/ 56 w 202"/>
                <a:gd name="T17" fmla="*/ 0 h 181"/>
                <a:gd name="T18" fmla="*/ 56 w 202"/>
                <a:gd name="T19" fmla="*/ 12 h 181"/>
                <a:gd name="T20" fmla="*/ 60 w 202"/>
                <a:gd name="T21" fmla="*/ 23 h 181"/>
                <a:gd name="T22" fmla="*/ 43 w 202"/>
                <a:gd name="T23" fmla="*/ 39 h 181"/>
                <a:gd name="T24" fmla="*/ 27 w 202"/>
                <a:gd name="T25" fmla="*/ 23 h 181"/>
                <a:gd name="T26" fmla="*/ 31 w 202"/>
                <a:gd name="T27" fmla="*/ 12 h 181"/>
                <a:gd name="T28" fmla="*/ 31 w 202"/>
                <a:gd name="T29" fmla="*/ 0 h 181"/>
                <a:gd name="T30" fmla="*/ 18 w 202"/>
                <a:gd name="T31" fmla="*/ 0 h 181"/>
                <a:gd name="T32" fmla="*/ 0 w 202"/>
                <a:gd name="T33" fmla="*/ 19 h 181"/>
                <a:gd name="T34" fmla="*/ 0 w 202"/>
                <a:gd name="T35" fmla="*/ 163 h 181"/>
                <a:gd name="T36" fmla="*/ 18 w 202"/>
                <a:gd name="T37" fmla="*/ 181 h 181"/>
                <a:gd name="T38" fmla="*/ 183 w 202"/>
                <a:gd name="T39" fmla="*/ 181 h 181"/>
                <a:gd name="T40" fmla="*/ 202 w 202"/>
                <a:gd name="T41" fmla="*/ 163 h 181"/>
                <a:gd name="T42" fmla="*/ 202 w 202"/>
                <a:gd name="T43" fmla="*/ 19 h 181"/>
                <a:gd name="T44" fmla="*/ 183 w 202"/>
                <a:gd name="T45" fmla="*/ 0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02" h="181">
                  <a:moveTo>
                    <a:pt x="183" y="0"/>
                  </a:moveTo>
                  <a:cubicBezTo>
                    <a:pt x="171" y="0"/>
                    <a:pt x="171" y="0"/>
                    <a:pt x="171" y="0"/>
                  </a:cubicBezTo>
                  <a:cubicBezTo>
                    <a:pt x="171" y="12"/>
                    <a:pt x="171" y="12"/>
                    <a:pt x="171" y="12"/>
                  </a:cubicBezTo>
                  <a:cubicBezTo>
                    <a:pt x="173" y="15"/>
                    <a:pt x="175" y="19"/>
                    <a:pt x="175" y="23"/>
                  </a:cubicBezTo>
                  <a:cubicBezTo>
                    <a:pt x="175" y="32"/>
                    <a:pt x="167" y="39"/>
                    <a:pt x="158" y="39"/>
                  </a:cubicBezTo>
                  <a:cubicBezTo>
                    <a:pt x="149" y="39"/>
                    <a:pt x="142" y="32"/>
                    <a:pt x="142" y="23"/>
                  </a:cubicBezTo>
                  <a:cubicBezTo>
                    <a:pt x="142" y="19"/>
                    <a:pt x="143" y="15"/>
                    <a:pt x="146" y="12"/>
                  </a:cubicBezTo>
                  <a:cubicBezTo>
                    <a:pt x="146" y="0"/>
                    <a:pt x="146" y="0"/>
                    <a:pt x="146" y="0"/>
                  </a:cubicBezTo>
                  <a:cubicBezTo>
                    <a:pt x="56" y="0"/>
                    <a:pt x="56" y="0"/>
                    <a:pt x="56" y="0"/>
                  </a:cubicBezTo>
                  <a:cubicBezTo>
                    <a:pt x="56" y="12"/>
                    <a:pt x="56" y="12"/>
                    <a:pt x="56" y="12"/>
                  </a:cubicBezTo>
                  <a:cubicBezTo>
                    <a:pt x="58" y="15"/>
                    <a:pt x="60" y="19"/>
                    <a:pt x="60" y="23"/>
                  </a:cubicBezTo>
                  <a:cubicBezTo>
                    <a:pt x="60" y="32"/>
                    <a:pt x="52" y="39"/>
                    <a:pt x="43" y="39"/>
                  </a:cubicBezTo>
                  <a:cubicBezTo>
                    <a:pt x="34" y="39"/>
                    <a:pt x="27" y="32"/>
                    <a:pt x="27" y="23"/>
                  </a:cubicBezTo>
                  <a:cubicBezTo>
                    <a:pt x="27" y="19"/>
                    <a:pt x="28" y="15"/>
                    <a:pt x="31" y="12"/>
                  </a:cubicBezTo>
                  <a:cubicBezTo>
                    <a:pt x="31" y="0"/>
                    <a:pt x="31" y="0"/>
                    <a:pt x="31" y="0"/>
                  </a:cubicBezTo>
                  <a:cubicBezTo>
                    <a:pt x="18" y="0"/>
                    <a:pt x="18" y="0"/>
                    <a:pt x="18" y="0"/>
                  </a:cubicBezTo>
                  <a:cubicBezTo>
                    <a:pt x="8" y="0"/>
                    <a:pt x="0" y="9"/>
                    <a:pt x="0" y="19"/>
                  </a:cubicBezTo>
                  <a:cubicBezTo>
                    <a:pt x="0" y="163"/>
                    <a:pt x="0" y="163"/>
                    <a:pt x="0" y="163"/>
                  </a:cubicBezTo>
                  <a:cubicBezTo>
                    <a:pt x="0" y="173"/>
                    <a:pt x="8" y="181"/>
                    <a:pt x="18" y="181"/>
                  </a:cubicBezTo>
                  <a:cubicBezTo>
                    <a:pt x="183" y="181"/>
                    <a:pt x="183" y="181"/>
                    <a:pt x="183" y="181"/>
                  </a:cubicBezTo>
                  <a:cubicBezTo>
                    <a:pt x="193" y="181"/>
                    <a:pt x="202" y="173"/>
                    <a:pt x="202" y="163"/>
                  </a:cubicBezTo>
                  <a:cubicBezTo>
                    <a:pt x="202" y="19"/>
                    <a:pt x="202" y="19"/>
                    <a:pt x="202" y="19"/>
                  </a:cubicBezTo>
                  <a:cubicBezTo>
                    <a:pt x="202" y="9"/>
                    <a:pt x="193" y="0"/>
                    <a:pt x="183" y="0"/>
                  </a:cubicBezTo>
                  <a:close/>
                </a:path>
              </a:pathLst>
            </a:custGeom>
            <a:solidFill>
              <a:srgbClr val="6D64CC"/>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7" name="Freeform 142">
              <a:extLst>
                <a:ext uri="{FF2B5EF4-FFF2-40B4-BE49-F238E27FC236}">
                  <a16:creationId xmlns:a16="http://schemas.microsoft.com/office/drawing/2014/main" id="{E7E93F2B-2463-4D5D-8A88-ECF390B3DFCE}"/>
                </a:ext>
              </a:extLst>
            </p:cNvPr>
            <p:cNvSpPr>
              <a:spLocks/>
            </p:cNvSpPr>
            <p:nvPr/>
          </p:nvSpPr>
          <p:spPr bwMode="auto">
            <a:xfrm>
              <a:off x="8999538" y="4954590"/>
              <a:ext cx="341312" cy="223838"/>
            </a:xfrm>
            <a:custGeom>
              <a:avLst/>
              <a:gdLst>
                <a:gd name="T0" fmla="*/ 177 w 177"/>
                <a:gd name="T1" fmla="*/ 97 h 115"/>
                <a:gd name="T2" fmla="*/ 159 w 177"/>
                <a:gd name="T3" fmla="*/ 115 h 115"/>
                <a:gd name="T4" fmla="*/ 19 w 177"/>
                <a:gd name="T5" fmla="*/ 115 h 115"/>
                <a:gd name="T6" fmla="*/ 0 w 177"/>
                <a:gd name="T7" fmla="*/ 97 h 115"/>
                <a:gd name="T8" fmla="*/ 0 w 177"/>
                <a:gd name="T9" fmla="*/ 0 h 115"/>
                <a:gd name="T10" fmla="*/ 177 w 177"/>
                <a:gd name="T11" fmla="*/ 0 h 115"/>
                <a:gd name="T12" fmla="*/ 177 w 177"/>
                <a:gd name="T13" fmla="*/ 97 h 115"/>
              </a:gdLst>
              <a:ahLst/>
              <a:cxnLst>
                <a:cxn ang="0">
                  <a:pos x="T0" y="T1"/>
                </a:cxn>
                <a:cxn ang="0">
                  <a:pos x="T2" y="T3"/>
                </a:cxn>
                <a:cxn ang="0">
                  <a:pos x="T4" y="T5"/>
                </a:cxn>
                <a:cxn ang="0">
                  <a:pos x="T6" y="T7"/>
                </a:cxn>
                <a:cxn ang="0">
                  <a:pos x="T8" y="T9"/>
                </a:cxn>
                <a:cxn ang="0">
                  <a:pos x="T10" y="T11"/>
                </a:cxn>
                <a:cxn ang="0">
                  <a:pos x="T12" y="T13"/>
                </a:cxn>
              </a:cxnLst>
              <a:rect l="0" t="0" r="r" b="b"/>
              <a:pathLst>
                <a:path w="177" h="115">
                  <a:moveTo>
                    <a:pt x="177" y="97"/>
                  </a:moveTo>
                  <a:cubicBezTo>
                    <a:pt x="177" y="107"/>
                    <a:pt x="169" y="115"/>
                    <a:pt x="159" y="115"/>
                  </a:cubicBezTo>
                  <a:cubicBezTo>
                    <a:pt x="19" y="115"/>
                    <a:pt x="19" y="115"/>
                    <a:pt x="19" y="115"/>
                  </a:cubicBezTo>
                  <a:cubicBezTo>
                    <a:pt x="9" y="115"/>
                    <a:pt x="0" y="107"/>
                    <a:pt x="0" y="97"/>
                  </a:cubicBezTo>
                  <a:cubicBezTo>
                    <a:pt x="0" y="0"/>
                    <a:pt x="0" y="0"/>
                    <a:pt x="0" y="0"/>
                  </a:cubicBezTo>
                  <a:cubicBezTo>
                    <a:pt x="177" y="0"/>
                    <a:pt x="177" y="0"/>
                    <a:pt x="177" y="0"/>
                  </a:cubicBezTo>
                  <a:lnTo>
                    <a:pt x="177" y="97"/>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 name="Rectangle 143">
              <a:extLst>
                <a:ext uri="{FF2B5EF4-FFF2-40B4-BE49-F238E27FC236}">
                  <a16:creationId xmlns:a16="http://schemas.microsoft.com/office/drawing/2014/main" id="{7C349DDD-BFD6-4655-B08B-33649B00672F}"/>
                </a:ext>
              </a:extLst>
            </p:cNvPr>
            <p:cNvSpPr>
              <a:spLocks noChangeArrowheads="1"/>
            </p:cNvSpPr>
            <p:nvPr/>
          </p:nvSpPr>
          <p:spPr bwMode="auto">
            <a:xfrm>
              <a:off x="9209088" y="5106991"/>
              <a:ext cx="41275" cy="38100"/>
            </a:xfrm>
            <a:prstGeom prst="rect">
              <a:avLst/>
            </a:prstGeom>
            <a:solidFill>
              <a:srgbClr val="7E39BA"/>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9" name="Rectangle 144">
              <a:extLst>
                <a:ext uri="{FF2B5EF4-FFF2-40B4-BE49-F238E27FC236}">
                  <a16:creationId xmlns:a16="http://schemas.microsoft.com/office/drawing/2014/main" id="{46F4C6E1-3C69-4588-A42E-1608925CABFD}"/>
                </a:ext>
              </a:extLst>
            </p:cNvPr>
            <p:cNvSpPr>
              <a:spLocks noChangeArrowheads="1"/>
            </p:cNvSpPr>
            <p:nvPr/>
          </p:nvSpPr>
          <p:spPr bwMode="auto">
            <a:xfrm>
              <a:off x="9209088" y="5046666"/>
              <a:ext cx="41275" cy="39688"/>
            </a:xfrm>
            <a:prstGeom prst="rect">
              <a:avLst/>
            </a:prstGeom>
            <a:solidFill>
              <a:srgbClr val="7E39BA"/>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0" name="Rectangle 145">
              <a:extLst>
                <a:ext uri="{FF2B5EF4-FFF2-40B4-BE49-F238E27FC236}">
                  <a16:creationId xmlns:a16="http://schemas.microsoft.com/office/drawing/2014/main" id="{E9CFA729-9C84-4F9A-8887-ECD0D6267FFE}"/>
                </a:ext>
              </a:extLst>
            </p:cNvPr>
            <p:cNvSpPr>
              <a:spLocks noChangeArrowheads="1"/>
            </p:cNvSpPr>
            <p:nvPr/>
          </p:nvSpPr>
          <p:spPr bwMode="auto">
            <a:xfrm>
              <a:off x="9269413" y="5046666"/>
              <a:ext cx="39687" cy="39688"/>
            </a:xfrm>
            <a:prstGeom prst="rect">
              <a:avLst/>
            </a:prstGeom>
            <a:solidFill>
              <a:srgbClr val="7E39BA"/>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1" name="Rectangle 146">
              <a:extLst>
                <a:ext uri="{FF2B5EF4-FFF2-40B4-BE49-F238E27FC236}">
                  <a16:creationId xmlns:a16="http://schemas.microsoft.com/office/drawing/2014/main" id="{435C37CE-10B4-40F7-A732-BDC36043D43A}"/>
                </a:ext>
              </a:extLst>
            </p:cNvPr>
            <p:cNvSpPr>
              <a:spLocks noChangeArrowheads="1"/>
            </p:cNvSpPr>
            <p:nvPr/>
          </p:nvSpPr>
          <p:spPr bwMode="auto">
            <a:xfrm>
              <a:off x="9209088" y="4986340"/>
              <a:ext cx="41275" cy="41275"/>
            </a:xfrm>
            <a:prstGeom prst="rect">
              <a:avLst/>
            </a:prstGeom>
            <a:solidFill>
              <a:srgbClr val="7E39BA"/>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2" name="Rectangle 147">
              <a:extLst>
                <a:ext uri="{FF2B5EF4-FFF2-40B4-BE49-F238E27FC236}">
                  <a16:creationId xmlns:a16="http://schemas.microsoft.com/office/drawing/2014/main" id="{6919E5B1-2B43-4BB7-BFF9-651A1229892E}"/>
                </a:ext>
              </a:extLst>
            </p:cNvPr>
            <p:cNvSpPr>
              <a:spLocks noChangeArrowheads="1"/>
            </p:cNvSpPr>
            <p:nvPr/>
          </p:nvSpPr>
          <p:spPr bwMode="auto">
            <a:xfrm>
              <a:off x="9269413" y="4986340"/>
              <a:ext cx="39687" cy="41275"/>
            </a:xfrm>
            <a:prstGeom prst="rect">
              <a:avLst/>
            </a:prstGeom>
            <a:solidFill>
              <a:srgbClr val="7E39BA"/>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3" name="Rectangle 148">
              <a:extLst>
                <a:ext uri="{FF2B5EF4-FFF2-40B4-BE49-F238E27FC236}">
                  <a16:creationId xmlns:a16="http://schemas.microsoft.com/office/drawing/2014/main" id="{ECAE4503-0AB1-42A1-9395-AAE84211EA3C}"/>
                </a:ext>
              </a:extLst>
            </p:cNvPr>
            <p:cNvSpPr>
              <a:spLocks noChangeArrowheads="1"/>
            </p:cNvSpPr>
            <p:nvPr/>
          </p:nvSpPr>
          <p:spPr bwMode="auto">
            <a:xfrm>
              <a:off x="9032875" y="5106991"/>
              <a:ext cx="38100" cy="38100"/>
            </a:xfrm>
            <a:prstGeom prst="rect">
              <a:avLst/>
            </a:prstGeom>
            <a:solidFill>
              <a:srgbClr val="7E39BA"/>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4" name="Rectangle 149">
              <a:extLst>
                <a:ext uri="{FF2B5EF4-FFF2-40B4-BE49-F238E27FC236}">
                  <a16:creationId xmlns:a16="http://schemas.microsoft.com/office/drawing/2014/main" id="{7A39F6F3-D359-4F48-A451-533DA886D219}"/>
                </a:ext>
              </a:extLst>
            </p:cNvPr>
            <p:cNvSpPr>
              <a:spLocks noChangeArrowheads="1"/>
            </p:cNvSpPr>
            <p:nvPr/>
          </p:nvSpPr>
          <p:spPr bwMode="auto">
            <a:xfrm>
              <a:off x="9032875" y="5046666"/>
              <a:ext cx="38100" cy="39688"/>
            </a:xfrm>
            <a:prstGeom prst="rect">
              <a:avLst/>
            </a:prstGeom>
            <a:solidFill>
              <a:srgbClr val="7E39BA"/>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5" name="Rectangle 150">
              <a:extLst>
                <a:ext uri="{FF2B5EF4-FFF2-40B4-BE49-F238E27FC236}">
                  <a16:creationId xmlns:a16="http://schemas.microsoft.com/office/drawing/2014/main" id="{DD8CF90A-B019-4277-AAA8-2B529CE2A2B8}"/>
                </a:ext>
              </a:extLst>
            </p:cNvPr>
            <p:cNvSpPr>
              <a:spLocks noChangeArrowheads="1"/>
            </p:cNvSpPr>
            <p:nvPr/>
          </p:nvSpPr>
          <p:spPr bwMode="auto">
            <a:xfrm>
              <a:off x="9093200" y="5106991"/>
              <a:ext cx="38100" cy="38100"/>
            </a:xfrm>
            <a:prstGeom prst="rect">
              <a:avLst/>
            </a:prstGeom>
            <a:solidFill>
              <a:srgbClr val="7E39BA"/>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6" name="Rectangle 151">
              <a:extLst>
                <a:ext uri="{FF2B5EF4-FFF2-40B4-BE49-F238E27FC236}">
                  <a16:creationId xmlns:a16="http://schemas.microsoft.com/office/drawing/2014/main" id="{9B1C0E9B-1358-4185-A2B6-D4D50DC78D82}"/>
                </a:ext>
              </a:extLst>
            </p:cNvPr>
            <p:cNvSpPr>
              <a:spLocks noChangeArrowheads="1"/>
            </p:cNvSpPr>
            <p:nvPr/>
          </p:nvSpPr>
          <p:spPr bwMode="auto">
            <a:xfrm>
              <a:off x="9093200" y="5046666"/>
              <a:ext cx="38100" cy="39688"/>
            </a:xfrm>
            <a:prstGeom prst="rect">
              <a:avLst/>
            </a:prstGeom>
            <a:solidFill>
              <a:srgbClr val="7E39BA"/>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7" name="Rectangle 152">
              <a:extLst>
                <a:ext uri="{FF2B5EF4-FFF2-40B4-BE49-F238E27FC236}">
                  <a16:creationId xmlns:a16="http://schemas.microsoft.com/office/drawing/2014/main" id="{E3D7EE1E-CCD8-431C-96EA-464BF77D9EEA}"/>
                </a:ext>
              </a:extLst>
            </p:cNvPr>
            <p:cNvSpPr>
              <a:spLocks noChangeArrowheads="1"/>
            </p:cNvSpPr>
            <p:nvPr/>
          </p:nvSpPr>
          <p:spPr bwMode="auto">
            <a:xfrm>
              <a:off x="9151938" y="5046666"/>
              <a:ext cx="38100" cy="39688"/>
            </a:xfrm>
            <a:prstGeom prst="rect">
              <a:avLst/>
            </a:prstGeom>
            <a:solidFill>
              <a:srgbClr val="7E39BA"/>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8" name="Rectangle 153">
              <a:extLst>
                <a:ext uri="{FF2B5EF4-FFF2-40B4-BE49-F238E27FC236}">
                  <a16:creationId xmlns:a16="http://schemas.microsoft.com/office/drawing/2014/main" id="{16AE36D2-954F-4EE1-B382-A4396CA55324}"/>
                </a:ext>
              </a:extLst>
            </p:cNvPr>
            <p:cNvSpPr>
              <a:spLocks noChangeArrowheads="1"/>
            </p:cNvSpPr>
            <p:nvPr/>
          </p:nvSpPr>
          <p:spPr bwMode="auto">
            <a:xfrm>
              <a:off x="9151938" y="5106991"/>
              <a:ext cx="38100" cy="38100"/>
            </a:xfrm>
            <a:prstGeom prst="rect">
              <a:avLst/>
            </a:prstGeom>
            <a:solidFill>
              <a:srgbClr val="7E39BA"/>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9" name="Rectangle 154">
              <a:extLst>
                <a:ext uri="{FF2B5EF4-FFF2-40B4-BE49-F238E27FC236}">
                  <a16:creationId xmlns:a16="http://schemas.microsoft.com/office/drawing/2014/main" id="{ADBEDC20-7B31-4A65-9C76-747CEAFD6D5A}"/>
                </a:ext>
              </a:extLst>
            </p:cNvPr>
            <p:cNvSpPr>
              <a:spLocks noChangeArrowheads="1"/>
            </p:cNvSpPr>
            <p:nvPr/>
          </p:nvSpPr>
          <p:spPr bwMode="auto">
            <a:xfrm>
              <a:off x="9151938" y="4986340"/>
              <a:ext cx="38100" cy="41275"/>
            </a:xfrm>
            <a:prstGeom prst="rect">
              <a:avLst/>
            </a:prstGeom>
            <a:solidFill>
              <a:srgbClr val="7E39BA"/>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0" name="Freeform 155">
              <a:extLst>
                <a:ext uri="{FF2B5EF4-FFF2-40B4-BE49-F238E27FC236}">
                  <a16:creationId xmlns:a16="http://schemas.microsoft.com/office/drawing/2014/main" id="{FE55A75E-5B45-497E-8DCE-177F3EC1301D}"/>
                </a:ext>
              </a:extLst>
            </p:cNvPr>
            <p:cNvSpPr>
              <a:spLocks/>
            </p:cNvSpPr>
            <p:nvPr/>
          </p:nvSpPr>
          <p:spPr bwMode="auto">
            <a:xfrm>
              <a:off x="9305925" y="4851403"/>
              <a:ext cx="58737" cy="80963"/>
            </a:xfrm>
            <a:custGeom>
              <a:avLst/>
              <a:gdLst>
                <a:gd name="T0" fmla="*/ 0 w 37"/>
                <a:gd name="T1" fmla="*/ 0 h 51"/>
                <a:gd name="T2" fmla="*/ 37 w 37"/>
                <a:gd name="T3" fmla="*/ 0 h 51"/>
                <a:gd name="T4" fmla="*/ 37 w 37"/>
                <a:gd name="T5" fmla="*/ 51 h 51"/>
                <a:gd name="T6" fmla="*/ 0 w 37"/>
                <a:gd name="T7" fmla="*/ 0 h 51"/>
              </a:gdLst>
              <a:ahLst/>
              <a:cxnLst>
                <a:cxn ang="0">
                  <a:pos x="T0" y="T1"/>
                </a:cxn>
                <a:cxn ang="0">
                  <a:pos x="T2" y="T3"/>
                </a:cxn>
                <a:cxn ang="0">
                  <a:pos x="T4" y="T5"/>
                </a:cxn>
                <a:cxn ang="0">
                  <a:pos x="T6" y="T7"/>
                </a:cxn>
              </a:cxnLst>
              <a:rect l="0" t="0" r="r" b="b"/>
              <a:pathLst>
                <a:path w="37" h="51">
                  <a:moveTo>
                    <a:pt x="0" y="0"/>
                  </a:moveTo>
                  <a:lnTo>
                    <a:pt x="37" y="0"/>
                  </a:lnTo>
                  <a:lnTo>
                    <a:pt x="37" y="51"/>
                  </a:lnTo>
                  <a:lnTo>
                    <a:pt x="0" y="0"/>
                  </a:lnTo>
                  <a:close/>
                </a:path>
              </a:pathLst>
            </a:custGeom>
            <a:solidFill>
              <a:srgbClr val="EF395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 name="Freeform 156">
              <a:extLst>
                <a:ext uri="{FF2B5EF4-FFF2-40B4-BE49-F238E27FC236}">
                  <a16:creationId xmlns:a16="http://schemas.microsoft.com/office/drawing/2014/main" id="{9D14BD9E-3150-4B3F-B2D5-471C925C7C7E}"/>
                </a:ext>
              </a:extLst>
            </p:cNvPr>
            <p:cNvSpPr>
              <a:spLocks/>
            </p:cNvSpPr>
            <p:nvPr/>
          </p:nvSpPr>
          <p:spPr bwMode="auto">
            <a:xfrm>
              <a:off x="9305925" y="4851403"/>
              <a:ext cx="58737" cy="80963"/>
            </a:xfrm>
            <a:custGeom>
              <a:avLst/>
              <a:gdLst>
                <a:gd name="T0" fmla="*/ 0 w 37"/>
                <a:gd name="T1" fmla="*/ 0 h 51"/>
                <a:gd name="T2" fmla="*/ 37 w 37"/>
                <a:gd name="T3" fmla="*/ 0 h 51"/>
                <a:gd name="T4" fmla="*/ 37 w 37"/>
                <a:gd name="T5" fmla="*/ 51 h 51"/>
              </a:gdLst>
              <a:ahLst/>
              <a:cxnLst>
                <a:cxn ang="0">
                  <a:pos x="T0" y="T1"/>
                </a:cxn>
                <a:cxn ang="0">
                  <a:pos x="T2" y="T3"/>
                </a:cxn>
                <a:cxn ang="0">
                  <a:pos x="T4" y="T5"/>
                </a:cxn>
              </a:cxnLst>
              <a:rect l="0" t="0" r="r" b="b"/>
              <a:pathLst>
                <a:path w="37" h="51">
                  <a:moveTo>
                    <a:pt x="0" y="0"/>
                  </a:moveTo>
                  <a:lnTo>
                    <a:pt x="37" y="0"/>
                  </a:lnTo>
                  <a:lnTo>
                    <a:pt x="37" y="51"/>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pic>
        <p:nvPicPr>
          <p:cNvPr id="3" name="Grafika 2">
            <a:extLst>
              <a:ext uri="{FF2B5EF4-FFF2-40B4-BE49-F238E27FC236}">
                <a16:creationId xmlns:a16="http://schemas.microsoft.com/office/drawing/2014/main" id="{9B4B8F6F-9E19-4368-8AD5-276C548F2820}"/>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129558" y="3621217"/>
            <a:ext cx="645962" cy="378835"/>
          </a:xfrm>
          <a:prstGeom prst="rect">
            <a:avLst/>
          </a:prstGeom>
        </p:spPr>
      </p:pic>
      <p:pic>
        <p:nvPicPr>
          <p:cNvPr id="32" name="Grafika 31">
            <a:extLst>
              <a:ext uri="{FF2B5EF4-FFF2-40B4-BE49-F238E27FC236}">
                <a16:creationId xmlns:a16="http://schemas.microsoft.com/office/drawing/2014/main" id="{4B744191-44D0-4531-9BA8-0B31B3F4EF75}"/>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129558" y="4376358"/>
            <a:ext cx="645962" cy="403080"/>
          </a:xfrm>
          <a:prstGeom prst="rect">
            <a:avLst/>
          </a:prstGeom>
        </p:spPr>
      </p:pic>
      <p:pic>
        <p:nvPicPr>
          <p:cNvPr id="34" name="Grafika 33">
            <a:extLst>
              <a:ext uri="{FF2B5EF4-FFF2-40B4-BE49-F238E27FC236}">
                <a16:creationId xmlns:a16="http://schemas.microsoft.com/office/drawing/2014/main" id="{063E1A5F-1B73-485B-BE4B-11A2EEA945AC}"/>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254961" y="5866291"/>
            <a:ext cx="331441" cy="338205"/>
          </a:xfrm>
          <a:prstGeom prst="rect">
            <a:avLst/>
          </a:prstGeom>
        </p:spPr>
      </p:pic>
      <p:pic>
        <p:nvPicPr>
          <p:cNvPr id="4" name="Obraz 3">
            <a:extLst>
              <a:ext uri="{FF2B5EF4-FFF2-40B4-BE49-F238E27FC236}">
                <a16:creationId xmlns:a16="http://schemas.microsoft.com/office/drawing/2014/main" id="{E3FBD40A-DA55-4B63-B8B1-E3E6313C2C7A}"/>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1125933" y="5136271"/>
            <a:ext cx="649587" cy="380961"/>
          </a:xfrm>
          <a:prstGeom prst="rect">
            <a:avLst/>
          </a:prstGeom>
        </p:spPr>
      </p:pic>
    </p:spTree>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ytuł 1">
            <a:extLst>
              <a:ext uri="{FF2B5EF4-FFF2-40B4-BE49-F238E27FC236}">
                <a16:creationId xmlns:a16="http://schemas.microsoft.com/office/drawing/2014/main" id="{DEA935F7-2904-40FF-A73D-3CCC59AF658E}"/>
              </a:ext>
            </a:extLst>
          </p:cNvPr>
          <p:cNvSpPr>
            <a:spLocks noGrp="1"/>
          </p:cNvSpPr>
          <p:nvPr>
            <p:ph type="title"/>
          </p:nvPr>
        </p:nvSpPr>
        <p:spPr/>
        <p:txBody>
          <a:bodyPr/>
          <a:lstStyle/>
          <a:p>
            <a:r>
              <a:rPr lang="en-US" sz="3200" dirty="0"/>
              <a:t>Enhanced generic constraints</a:t>
            </a:r>
          </a:p>
        </p:txBody>
      </p:sp>
      <p:sp>
        <p:nvSpPr>
          <p:cNvPr id="5" name="Symbol zastępczy tekstu 4">
            <a:extLst>
              <a:ext uri="{FF2B5EF4-FFF2-40B4-BE49-F238E27FC236}">
                <a16:creationId xmlns:a16="http://schemas.microsoft.com/office/drawing/2014/main" id="{026454BF-D147-4265-B180-0D1A4FC7A23F}"/>
              </a:ext>
            </a:extLst>
          </p:cNvPr>
          <p:cNvSpPr>
            <a:spLocks noGrp="1"/>
          </p:cNvSpPr>
          <p:nvPr>
            <p:ph type="body" sz="quarter" idx="10"/>
          </p:nvPr>
        </p:nvSpPr>
        <p:spPr/>
        <p:txBody>
          <a:bodyPr/>
          <a:lstStyle/>
          <a:p>
            <a:endParaRPr lang="en-US" dirty="0"/>
          </a:p>
        </p:txBody>
      </p:sp>
      <p:sp>
        <p:nvSpPr>
          <p:cNvPr id="3" name="Symbol zastępczy tekstu 2">
            <a:extLst>
              <a:ext uri="{FF2B5EF4-FFF2-40B4-BE49-F238E27FC236}">
                <a16:creationId xmlns:a16="http://schemas.microsoft.com/office/drawing/2014/main" id="{D0A37E72-B711-494C-A35F-F9DF4987AC76}"/>
              </a:ext>
            </a:extLst>
          </p:cNvPr>
          <p:cNvSpPr>
            <a:spLocks noGrp="1"/>
          </p:cNvSpPr>
          <p:nvPr>
            <p:ph type="body" sz="quarter" idx="11"/>
          </p:nvPr>
        </p:nvSpPr>
        <p:spPr/>
        <p:txBody>
          <a:bodyPr/>
          <a:lstStyle/>
          <a:p>
            <a:r>
              <a:rPr lang="en-US" dirty="0"/>
              <a:t>C# 7.2</a:t>
            </a:r>
          </a:p>
        </p:txBody>
      </p:sp>
      <p:sp>
        <p:nvSpPr>
          <p:cNvPr id="6" name="Symbol zastępczy tekstu 5">
            <a:extLst>
              <a:ext uri="{FF2B5EF4-FFF2-40B4-BE49-F238E27FC236}">
                <a16:creationId xmlns:a16="http://schemas.microsoft.com/office/drawing/2014/main" id="{9B3BF7E6-792E-4E7E-A1BA-67B18F143E96}"/>
              </a:ext>
            </a:extLst>
          </p:cNvPr>
          <p:cNvSpPr>
            <a:spLocks noGrp="1"/>
          </p:cNvSpPr>
          <p:nvPr>
            <p:ph type="body" sz="quarter" idx="12"/>
          </p:nvPr>
        </p:nvSpPr>
        <p:spPr/>
        <p:txBody>
          <a:bodyPr/>
          <a:lstStyle/>
          <a:p>
            <a:r>
              <a:rPr lang="en-US" dirty="0"/>
              <a:t>1</a:t>
            </a:r>
          </a:p>
        </p:txBody>
      </p:sp>
    </p:spTree>
    <p:extLst>
      <p:ext uri="{BB962C8B-B14F-4D97-AF65-F5344CB8AC3E}">
        <p14:creationId xmlns:p14="http://schemas.microsoft.com/office/powerpoint/2010/main" val="3119860518"/>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ytuł 1">
            <a:extLst>
              <a:ext uri="{FF2B5EF4-FFF2-40B4-BE49-F238E27FC236}">
                <a16:creationId xmlns:a16="http://schemas.microsoft.com/office/drawing/2014/main" id="{DEA935F7-2904-40FF-A73D-3CCC59AF658E}"/>
              </a:ext>
            </a:extLst>
          </p:cNvPr>
          <p:cNvSpPr>
            <a:spLocks noGrp="1"/>
          </p:cNvSpPr>
          <p:nvPr>
            <p:ph type="title"/>
          </p:nvPr>
        </p:nvSpPr>
        <p:spPr/>
        <p:txBody>
          <a:bodyPr/>
          <a:lstStyle/>
          <a:p>
            <a:r>
              <a:rPr lang="en-US" sz="3200" dirty="0"/>
              <a:t>Enhanced generic constraints</a:t>
            </a:r>
          </a:p>
        </p:txBody>
      </p:sp>
      <p:sp>
        <p:nvSpPr>
          <p:cNvPr id="5" name="Symbol zastępczy tekstu 4">
            <a:extLst>
              <a:ext uri="{FF2B5EF4-FFF2-40B4-BE49-F238E27FC236}">
                <a16:creationId xmlns:a16="http://schemas.microsoft.com/office/drawing/2014/main" id="{026454BF-D147-4265-B180-0D1A4FC7A23F}"/>
              </a:ext>
            </a:extLst>
          </p:cNvPr>
          <p:cNvSpPr>
            <a:spLocks noGrp="1"/>
          </p:cNvSpPr>
          <p:nvPr>
            <p:ph type="body" sz="quarter" idx="10"/>
          </p:nvPr>
        </p:nvSpPr>
        <p:spPr/>
        <p:txBody>
          <a:bodyPr/>
          <a:lstStyle/>
          <a:p>
            <a:endParaRPr lang="en-US" dirty="0"/>
          </a:p>
        </p:txBody>
      </p:sp>
      <p:sp>
        <p:nvSpPr>
          <p:cNvPr id="3" name="Symbol zastępczy tekstu 2">
            <a:extLst>
              <a:ext uri="{FF2B5EF4-FFF2-40B4-BE49-F238E27FC236}">
                <a16:creationId xmlns:a16="http://schemas.microsoft.com/office/drawing/2014/main" id="{D0A37E72-B711-494C-A35F-F9DF4987AC76}"/>
              </a:ext>
            </a:extLst>
          </p:cNvPr>
          <p:cNvSpPr>
            <a:spLocks noGrp="1"/>
          </p:cNvSpPr>
          <p:nvPr>
            <p:ph type="body" sz="quarter" idx="11"/>
          </p:nvPr>
        </p:nvSpPr>
        <p:spPr/>
        <p:txBody>
          <a:bodyPr/>
          <a:lstStyle/>
          <a:p>
            <a:r>
              <a:rPr lang="en-US" dirty="0"/>
              <a:t>C# 7.3</a:t>
            </a:r>
          </a:p>
        </p:txBody>
      </p:sp>
      <p:sp>
        <p:nvSpPr>
          <p:cNvPr id="6" name="Symbol zastępczy tekstu 5">
            <a:extLst>
              <a:ext uri="{FF2B5EF4-FFF2-40B4-BE49-F238E27FC236}">
                <a16:creationId xmlns:a16="http://schemas.microsoft.com/office/drawing/2014/main" id="{9B3BF7E6-792E-4E7E-A1BA-67B18F143E96}"/>
              </a:ext>
            </a:extLst>
          </p:cNvPr>
          <p:cNvSpPr>
            <a:spLocks noGrp="1"/>
          </p:cNvSpPr>
          <p:nvPr>
            <p:ph type="body" sz="quarter" idx="12"/>
          </p:nvPr>
        </p:nvSpPr>
        <p:spPr/>
        <p:txBody>
          <a:bodyPr/>
          <a:lstStyle/>
          <a:p>
            <a:r>
              <a:rPr lang="en-US" dirty="0"/>
              <a:t>2</a:t>
            </a:r>
          </a:p>
        </p:txBody>
      </p:sp>
    </p:spTree>
    <p:extLst>
      <p:ext uri="{BB962C8B-B14F-4D97-AF65-F5344CB8AC3E}">
        <p14:creationId xmlns:p14="http://schemas.microsoft.com/office/powerpoint/2010/main" val="2824926573"/>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pl-PL" dirty="0"/>
              <a:t>Agenda</a:t>
            </a:r>
            <a:endParaRPr lang="en-GB" dirty="0"/>
          </a:p>
        </p:txBody>
      </p:sp>
      <p:sp>
        <p:nvSpPr>
          <p:cNvPr id="5" name="Text Placeholder 4"/>
          <p:cNvSpPr>
            <a:spLocks noGrp="1"/>
          </p:cNvSpPr>
          <p:nvPr>
            <p:ph type="body" sz="quarter" idx="10"/>
          </p:nvPr>
        </p:nvSpPr>
        <p:spPr/>
        <p:txBody>
          <a:bodyPr/>
          <a:lstStyle/>
          <a:p>
            <a:pPr lvl="1"/>
            <a:r>
              <a:rPr lang="en-US" dirty="0">
                <a:solidFill>
                  <a:schemeClr val="bg1">
                    <a:lumMod val="95000"/>
                  </a:schemeClr>
                </a:solidFill>
              </a:rPr>
              <a:t>What’s new in C# 7.3</a:t>
            </a:r>
          </a:p>
          <a:p>
            <a:pPr lvl="2"/>
            <a:r>
              <a:rPr lang="en-US" dirty="0">
                <a:solidFill>
                  <a:schemeClr val="bg1">
                    <a:lumMod val="95000"/>
                  </a:schemeClr>
                </a:solidFill>
              </a:rPr>
              <a:t>Enabling more efficient safe code,</a:t>
            </a:r>
          </a:p>
          <a:p>
            <a:pPr lvl="3"/>
            <a:r>
              <a:rPr lang="en-US" dirty="0">
                <a:solidFill>
                  <a:schemeClr val="bg1">
                    <a:lumMod val="95000"/>
                  </a:schemeClr>
                </a:solidFill>
              </a:rPr>
              <a:t>fixed fields without pinning access,</a:t>
            </a:r>
          </a:p>
          <a:p>
            <a:pPr lvl="3"/>
            <a:r>
              <a:rPr lang="en-US" dirty="0">
                <a:solidFill>
                  <a:schemeClr val="bg1">
                    <a:lumMod val="95000"/>
                  </a:schemeClr>
                </a:solidFill>
              </a:rPr>
              <a:t>local ref variables reassignment,</a:t>
            </a:r>
          </a:p>
          <a:p>
            <a:pPr lvl="3"/>
            <a:r>
              <a:rPr lang="en-US" dirty="0">
                <a:solidFill>
                  <a:schemeClr val="bg1">
                    <a:lumMod val="95000"/>
                  </a:schemeClr>
                </a:solidFill>
              </a:rPr>
              <a:t>array initializers with </a:t>
            </a:r>
            <a:r>
              <a:rPr lang="en-US" dirty="0" err="1">
                <a:solidFill>
                  <a:schemeClr val="bg1">
                    <a:lumMod val="95000"/>
                  </a:schemeClr>
                </a:solidFill>
              </a:rPr>
              <a:t>stackalloc</a:t>
            </a:r>
            <a:r>
              <a:rPr lang="en-US" dirty="0">
                <a:solidFill>
                  <a:schemeClr val="bg1">
                    <a:lumMod val="95000"/>
                  </a:schemeClr>
                </a:solidFill>
              </a:rPr>
              <a:t>,</a:t>
            </a:r>
          </a:p>
          <a:p>
            <a:pPr lvl="3"/>
            <a:r>
              <a:rPr lang="en-US" dirty="0">
                <a:solidFill>
                  <a:schemeClr val="bg1">
                    <a:lumMod val="95000"/>
                  </a:schemeClr>
                </a:solidFill>
              </a:rPr>
              <a:t>extended fixed support for types,</a:t>
            </a:r>
          </a:p>
          <a:p>
            <a:pPr lvl="3"/>
            <a:r>
              <a:rPr lang="en-US" dirty="0">
                <a:solidFill>
                  <a:schemeClr val="bg1">
                    <a:lumMod val="95000"/>
                  </a:schemeClr>
                </a:solidFill>
              </a:rPr>
              <a:t>enhanced generic constraints.</a:t>
            </a:r>
          </a:p>
          <a:p>
            <a:pPr lvl="2"/>
            <a:r>
              <a:rPr lang="en-US" dirty="0">
                <a:solidFill>
                  <a:schemeClr val="bg1">
                    <a:lumMod val="95000"/>
                  </a:schemeClr>
                </a:solidFill>
              </a:rPr>
              <a:t>Make existing features better</a:t>
            </a:r>
          </a:p>
          <a:p>
            <a:pPr lvl="3"/>
            <a:r>
              <a:rPr lang="en-US" dirty="0">
                <a:solidFill>
                  <a:schemeClr val="bg1">
                    <a:lumMod val="95000"/>
                  </a:schemeClr>
                </a:solidFill>
              </a:rPr>
              <a:t>equality comparator tuple support,</a:t>
            </a:r>
          </a:p>
          <a:p>
            <a:pPr lvl="3"/>
            <a:r>
              <a:rPr lang="en-US" dirty="0">
                <a:solidFill>
                  <a:schemeClr val="bg1">
                    <a:lumMod val="95000"/>
                  </a:schemeClr>
                </a:solidFill>
              </a:rPr>
              <a:t>field attributes for auto-implemented properties,</a:t>
            </a:r>
          </a:p>
          <a:p>
            <a:pPr lvl="3"/>
            <a:r>
              <a:rPr lang="en-US" dirty="0">
                <a:solidFill>
                  <a:schemeClr val="bg1">
                    <a:lumMod val="95000"/>
                  </a:schemeClr>
                </a:solidFill>
              </a:rPr>
              <a:t>in method overload,</a:t>
            </a:r>
          </a:p>
          <a:p>
            <a:pPr lvl="3"/>
            <a:r>
              <a:rPr lang="en-US" dirty="0">
                <a:solidFill>
                  <a:schemeClr val="bg1">
                    <a:lumMod val="95000"/>
                  </a:schemeClr>
                </a:solidFill>
              </a:rPr>
              <a:t>extend expression variables in initializers.</a:t>
            </a:r>
            <a:endParaRPr lang="en-GB" dirty="0">
              <a:solidFill>
                <a:schemeClr val="bg1">
                  <a:lumMod val="95000"/>
                </a:schemeClr>
              </a:solidFill>
            </a:endParaRPr>
          </a:p>
        </p:txBody>
      </p:sp>
      <p:sp>
        <p:nvSpPr>
          <p:cNvPr id="6" name="Text Placeholder 5"/>
          <p:cNvSpPr>
            <a:spLocks noGrp="1"/>
          </p:cNvSpPr>
          <p:nvPr>
            <p:ph type="body" sz="quarter" idx="11"/>
          </p:nvPr>
        </p:nvSpPr>
        <p:spPr/>
        <p:txBody>
          <a:bodyPr/>
          <a:lstStyle/>
          <a:p>
            <a:r>
              <a:rPr lang="en-US" dirty="0"/>
              <a:t>We are going to talk about…</a:t>
            </a:r>
          </a:p>
        </p:txBody>
      </p:sp>
      <p:sp>
        <p:nvSpPr>
          <p:cNvPr id="7" name="Text Placeholder 4">
            <a:extLst>
              <a:ext uri="{FF2B5EF4-FFF2-40B4-BE49-F238E27FC236}">
                <a16:creationId xmlns:a16="http://schemas.microsoft.com/office/drawing/2014/main" id="{ED73704D-A765-4676-B99A-0282F156294F}"/>
              </a:ext>
            </a:extLst>
          </p:cNvPr>
          <p:cNvSpPr txBox="1">
            <a:spLocks/>
          </p:cNvSpPr>
          <p:nvPr/>
        </p:nvSpPr>
        <p:spPr>
          <a:xfrm>
            <a:off x="227348" y="1815351"/>
            <a:ext cx="11700000" cy="4466201"/>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buClr>
                <a:srgbClr val="00C37B"/>
              </a:buClr>
            </a:pPr>
            <a:r>
              <a:rPr lang="en-US" dirty="0"/>
              <a:t>What’s new in C# 7.3</a:t>
            </a:r>
          </a:p>
          <a:p>
            <a:pPr lvl="2">
              <a:buClr>
                <a:srgbClr val="93E416"/>
              </a:buClr>
            </a:pPr>
            <a:r>
              <a:rPr lang="en-US" dirty="0"/>
              <a:t>Enabling more efficient safe code,</a:t>
            </a:r>
          </a:p>
          <a:p>
            <a:pPr lvl="3"/>
            <a:r>
              <a:rPr lang="en-US" dirty="0"/>
              <a:t>fixed fields without pinning access,</a:t>
            </a:r>
          </a:p>
          <a:p>
            <a:pPr lvl="3"/>
            <a:r>
              <a:rPr lang="en-US" dirty="0"/>
              <a:t>local ref variables reassignment,</a:t>
            </a:r>
          </a:p>
          <a:p>
            <a:pPr lvl="3"/>
            <a:r>
              <a:rPr lang="en-US" dirty="0"/>
              <a:t>array initializers with stackalloc,</a:t>
            </a:r>
          </a:p>
          <a:p>
            <a:pPr lvl="3"/>
            <a:r>
              <a:rPr lang="en-US" dirty="0"/>
              <a:t>extended fixed support for types,</a:t>
            </a:r>
          </a:p>
          <a:p>
            <a:pPr lvl="3"/>
            <a:r>
              <a:rPr lang="en-US" dirty="0"/>
              <a:t>enhanced generic constraints.</a:t>
            </a:r>
          </a:p>
          <a:p>
            <a:pPr lvl="2">
              <a:buClr>
                <a:srgbClr val="93E416"/>
              </a:buClr>
            </a:pPr>
            <a:r>
              <a:rPr lang="en-US" dirty="0"/>
              <a:t>Make existing features better</a:t>
            </a:r>
          </a:p>
          <a:p>
            <a:pPr lvl="3"/>
            <a:r>
              <a:rPr lang="en-US" dirty="0"/>
              <a:t>equality comparator tuple support,</a:t>
            </a:r>
            <a:endParaRPr lang="en-GB" dirty="0"/>
          </a:p>
        </p:txBody>
      </p:sp>
    </p:spTree>
    <p:extLst>
      <p:ext uri="{BB962C8B-B14F-4D97-AF65-F5344CB8AC3E}">
        <p14:creationId xmlns:p14="http://schemas.microsoft.com/office/powerpoint/2010/main" val="245962909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
                                            <p:txEl>
                                              <p:pRg st="8" end="8"/>
                                            </p:txEl>
                                          </p:spTgt>
                                        </p:tgtEl>
                                        <p:attrNameLst>
                                          <p:attrName>style.visibility</p:attrName>
                                        </p:attrNameLst>
                                      </p:cBhvr>
                                      <p:to>
                                        <p:strVal val="visible"/>
                                      </p:to>
                                    </p:set>
                                    <p:animEffect transition="in" filter="fade">
                                      <p:cBhvr>
                                        <p:cTn id="7" dur="500"/>
                                        <p:tgtEl>
                                          <p:spTgt spid="7">
                                            <p:txEl>
                                              <p:pRg st="8" end="8"/>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ymbol zastępczy tekstu 5">
            <a:extLst>
              <a:ext uri="{FF2B5EF4-FFF2-40B4-BE49-F238E27FC236}">
                <a16:creationId xmlns:a16="http://schemas.microsoft.com/office/drawing/2014/main" id="{EC19D1F0-CA19-48E4-B6B7-FE7D3388EB92}"/>
              </a:ext>
            </a:extLst>
          </p:cNvPr>
          <p:cNvSpPr>
            <a:spLocks noGrp="1"/>
          </p:cNvSpPr>
          <p:nvPr>
            <p:ph type="body" sz="quarter" idx="11"/>
          </p:nvPr>
        </p:nvSpPr>
        <p:spPr>
          <a:xfrm>
            <a:off x="6528049" y="2191647"/>
            <a:ext cx="5187760" cy="3160282"/>
          </a:xfrm>
        </p:spPr>
        <p:txBody>
          <a:bodyPr/>
          <a:lstStyle/>
          <a:p>
            <a:r>
              <a:rPr lang="en-US" dirty="0"/>
              <a:t>What’s new in C# 7.3</a:t>
            </a:r>
            <a:br>
              <a:rPr lang="en-US" dirty="0"/>
            </a:br>
            <a:r>
              <a:rPr lang="en-US" sz="2400" dirty="0"/>
              <a:t>Equality comparator tuple support</a:t>
            </a:r>
            <a:endParaRPr lang="en-US" dirty="0"/>
          </a:p>
        </p:txBody>
      </p:sp>
      <p:sp>
        <p:nvSpPr>
          <p:cNvPr id="28" name="Freeform 37">
            <a:extLst>
              <a:ext uri="{FF2B5EF4-FFF2-40B4-BE49-F238E27FC236}">
                <a16:creationId xmlns:a16="http://schemas.microsoft.com/office/drawing/2014/main" id="{C163FEF7-EB42-4298-AED9-19E8D9ACF2E4}"/>
              </a:ext>
            </a:extLst>
          </p:cNvPr>
          <p:cNvSpPr>
            <a:spLocks/>
          </p:cNvSpPr>
          <p:nvPr/>
        </p:nvSpPr>
        <p:spPr bwMode="auto">
          <a:xfrm>
            <a:off x="1703512" y="800837"/>
            <a:ext cx="844550" cy="793750"/>
          </a:xfrm>
          <a:custGeom>
            <a:avLst/>
            <a:gdLst>
              <a:gd name="T0" fmla="*/ 51 w 440"/>
              <a:gd name="T1" fmla="*/ 298 h 410"/>
              <a:gd name="T2" fmla="*/ 128 w 440"/>
              <a:gd name="T3" fmla="*/ 48 h 410"/>
              <a:gd name="T4" fmla="*/ 389 w 440"/>
              <a:gd name="T5" fmla="*/ 122 h 410"/>
              <a:gd name="T6" fmla="*/ 307 w 440"/>
              <a:gd name="T7" fmla="*/ 362 h 410"/>
              <a:gd name="T8" fmla="*/ 51 w 440"/>
              <a:gd name="T9" fmla="*/ 298 h 410"/>
            </a:gdLst>
            <a:ahLst/>
            <a:cxnLst>
              <a:cxn ang="0">
                <a:pos x="T0" y="T1"/>
              </a:cxn>
              <a:cxn ang="0">
                <a:pos x="T2" y="T3"/>
              </a:cxn>
              <a:cxn ang="0">
                <a:pos x="T4" y="T5"/>
              </a:cxn>
              <a:cxn ang="0">
                <a:pos x="T6" y="T7"/>
              </a:cxn>
              <a:cxn ang="0">
                <a:pos x="T8" y="T9"/>
              </a:cxn>
            </a:cxnLst>
            <a:rect l="0" t="0" r="r" b="b"/>
            <a:pathLst>
              <a:path w="440" h="410">
                <a:moveTo>
                  <a:pt x="51" y="298"/>
                </a:moveTo>
                <a:cubicBezTo>
                  <a:pt x="0" y="209"/>
                  <a:pt x="34" y="97"/>
                  <a:pt x="128" y="48"/>
                </a:cubicBezTo>
                <a:cubicBezTo>
                  <a:pt x="221" y="0"/>
                  <a:pt x="338" y="33"/>
                  <a:pt x="389" y="122"/>
                </a:cubicBezTo>
                <a:cubicBezTo>
                  <a:pt x="440" y="212"/>
                  <a:pt x="400" y="313"/>
                  <a:pt x="307" y="362"/>
                </a:cubicBezTo>
                <a:cubicBezTo>
                  <a:pt x="214" y="410"/>
                  <a:pt x="102" y="388"/>
                  <a:pt x="51" y="298"/>
                </a:cubicBezTo>
              </a:path>
            </a:pathLst>
          </a:custGeom>
          <a:solidFill>
            <a:srgbClr val="93E416"/>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3" name="Oval 20">
            <a:extLst>
              <a:ext uri="{FF2B5EF4-FFF2-40B4-BE49-F238E27FC236}">
                <a16:creationId xmlns:a16="http://schemas.microsoft.com/office/drawing/2014/main" id="{EE9B31FA-25FA-4CC1-863F-BB3D69944DF9}"/>
              </a:ext>
            </a:extLst>
          </p:cNvPr>
          <p:cNvSpPr/>
          <p:nvPr/>
        </p:nvSpPr>
        <p:spPr>
          <a:xfrm>
            <a:off x="499463" y="1441730"/>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42" name="Oval 20">
            <a:extLst>
              <a:ext uri="{FF2B5EF4-FFF2-40B4-BE49-F238E27FC236}">
                <a16:creationId xmlns:a16="http://schemas.microsoft.com/office/drawing/2014/main" id="{9C48F09E-5C3B-4BEA-BD8F-85A5DCB0325B}"/>
              </a:ext>
            </a:extLst>
          </p:cNvPr>
          <p:cNvSpPr/>
          <p:nvPr/>
        </p:nvSpPr>
        <p:spPr>
          <a:xfrm>
            <a:off x="2380063" y="997006"/>
            <a:ext cx="1356623" cy="128178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7" name="Group 567">
            <a:extLst>
              <a:ext uri="{FF2B5EF4-FFF2-40B4-BE49-F238E27FC236}">
                <a16:creationId xmlns:a16="http://schemas.microsoft.com/office/drawing/2014/main" id="{0318F212-5743-4888-B2AF-51A17E9CE6F5}"/>
              </a:ext>
            </a:extLst>
          </p:cNvPr>
          <p:cNvGrpSpPr/>
          <p:nvPr/>
        </p:nvGrpSpPr>
        <p:grpSpPr>
          <a:xfrm>
            <a:off x="632704" y="2033609"/>
            <a:ext cx="1669928" cy="1108758"/>
            <a:chOff x="1665288" y="3821113"/>
            <a:chExt cx="585788" cy="388937"/>
          </a:xfrm>
        </p:grpSpPr>
        <p:sp>
          <p:nvSpPr>
            <p:cNvPr id="9" name="Freeform 90">
              <a:extLst>
                <a:ext uri="{FF2B5EF4-FFF2-40B4-BE49-F238E27FC236}">
                  <a16:creationId xmlns:a16="http://schemas.microsoft.com/office/drawing/2014/main" id="{A5A67D4A-1EF6-44DB-9543-8E31BB21CA79}"/>
                </a:ext>
              </a:extLst>
            </p:cNvPr>
            <p:cNvSpPr>
              <a:spLocks/>
            </p:cNvSpPr>
            <p:nvPr/>
          </p:nvSpPr>
          <p:spPr bwMode="auto">
            <a:xfrm>
              <a:off x="1712913" y="3821113"/>
              <a:ext cx="125412" cy="134938"/>
            </a:xfrm>
            <a:custGeom>
              <a:avLst/>
              <a:gdLst>
                <a:gd name="T0" fmla="*/ 26 w 65"/>
                <a:gd name="T1" fmla="*/ 67 h 70"/>
                <a:gd name="T2" fmla="*/ 3 w 65"/>
                <a:gd name="T3" fmla="*/ 29 h 70"/>
                <a:gd name="T4" fmla="*/ 37 w 65"/>
                <a:gd name="T5" fmla="*/ 3 h 70"/>
                <a:gd name="T6" fmla="*/ 62 w 65"/>
                <a:gd name="T7" fmla="*/ 41 h 70"/>
                <a:gd name="T8" fmla="*/ 26 w 65"/>
                <a:gd name="T9" fmla="*/ 67 h 70"/>
              </a:gdLst>
              <a:ahLst/>
              <a:cxnLst>
                <a:cxn ang="0">
                  <a:pos x="T0" y="T1"/>
                </a:cxn>
                <a:cxn ang="0">
                  <a:pos x="T2" y="T3"/>
                </a:cxn>
                <a:cxn ang="0">
                  <a:pos x="T4" y="T5"/>
                </a:cxn>
                <a:cxn ang="0">
                  <a:pos x="T6" y="T7"/>
                </a:cxn>
                <a:cxn ang="0">
                  <a:pos x="T8" y="T9"/>
                </a:cxn>
              </a:cxnLst>
              <a:rect l="0" t="0" r="r" b="b"/>
              <a:pathLst>
                <a:path w="65" h="70">
                  <a:moveTo>
                    <a:pt x="26" y="67"/>
                  </a:moveTo>
                  <a:cubicBezTo>
                    <a:pt x="9" y="63"/>
                    <a:pt x="0" y="47"/>
                    <a:pt x="3" y="29"/>
                  </a:cubicBezTo>
                  <a:cubicBezTo>
                    <a:pt x="5" y="11"/>
                    <a:pt x="20" y="0"/>
                    <a:pt x="37" y="3"/>
                  </a:cubicBezTo>
                  <a:cubicBezTo>
                    <a:pt x="54" y="6"/>
                    <a:pt x="65" y="23"/>
                    <a:pt x="62" y="41"/>
                  </a:cubicBezTo>
                  <a:cubicBezTo>
                    <a:pt x="60" y="59"/>
                    <a:pt x="43" y="70"/>
                    <a:pt x="26" y="67"/>
                  </a:cubicBezTo>
                </a:path>
              </a:pathLst>
            </a:custGeom>
            <a:solidFill>
              <a:srgbClr val="88D5ED"/>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0" name="Freeform 91">
              <a:extLst>
                <a:ext uri="{FF2B5EF4-FFF2-40B4-BE49-F238E27FC236}">
                  <a16:creationId xmlns:a16="http://schemas.microsoft.com/office/drawing/2014/main" id="{EEFE07E6-3BF1-4E6B-AB1F-F6A47C6F7546}"/>
                </a:ext>
              </a:extLst>
            </p:cNvPr>
            <p:cNvSpPr>
              <a:spLocks/>
            </p:cNvSpPr>
            <p:nvPr/>
          </p:nvSpPr>
          <p:spPr bwMode="auto">
            <a:xfrm>
              <a:off x="1665288" y="3956050"/>
              <a:ext cx="222250" cy="147638"/>
            </a:xfrm>
            <a:custGeom>
              <a:avLst/>
              <a:gdLst>
                <a:gd name="T0" fmla="*/ 18 w 116"/>
                <a:gd name="T1" fmla="*/ 69 h 76"/>
                <a:gd name="T2" fmla="*/ 3 w 116"/>
                <a:gd name="T3" fmla="*/ 44 h 76"/>
                <a:gd name="T4" fmla="*/ 72 w 116"/>
                <a:gd name="T5" fmla="*/ 8 h 76"/>
                <a:gd name="T6" fmla="*/ 114 w 116"/>
                <a:gd name="T7" fmla="*/ 51 h 76"/>
                <a:gd name="T8" fmla="*/ 115 w 116"/>
                <a:gd name="T9" fmla="*/ 65 h 76"/>
                <a:gd name="T10" fmla="*/ 18 w 116"/>
                <a:gd name="T11" fmla="*/ 69 h 76"/>
              </a:gdLst>
              <a:ahLst/>
              <a:cxnLst>
                <a:cxn ang="0">
                  <a:pos x="T0" y="T1"/>
                </a:cxn>
                <a:cxn ang="0">
                  <a:pos x="T2" y="T3"/>
                </a:cxn>
                <a:cxn ang="0">
                  <a:pos x="T4" y="T5"/>
                </a:cxn>
                <a:cxn ang="0">
                  <a:pos x="T6" y="T7"/>
                </a:cxn>
                <a:cxn ang="0">
                  <a:pos x="T8" y="T9"/>
                </a:cxn>
                <a:cxn ang="0">
                  <a:pos x="T10" y="T11"/>
                </a:cxn>
              </a:cxnLst>
              <a:rect l="0" t="0" r="r" b="b"/>
              <a:pathLst>
                <a:path w="116" h="76">
                  <a:moveTo>
                    <a:pt x="18" y="69"/>
                  </a:moveTo>
                  <a:cubicBezTo>
                    <a:pt x="7" y="67"/>
                    <a:pt x="0" y="55"/>
                    <a:pt x="3" y="44"/>
                  </a:cubicBezTo>
                  <a:cubicBezTo>
                    <a:pt x="9" y="22"/>
                    <a:pt x="32" y="0"/>
                    <a:pt x="72" y="8"/>
                  </a:cubicBezTo>
                  <a:cubicBezTo>
                    <a:pt x="93" y="13"/>
                    <a:pt x="109" y="30"/>
                    <a:pt x="114" y="51"/>
                  </a:cubicBezTo>
                  <a:cubicBezTo>
                    <a:pt x="115" y="55"/>
                    <a:pt x="116" y="60"/>
                    <a:pt x="115" y="65"/>
                  </a:cubicBezTo>
                  <a:cubicBezTo>
                    <a:pt x="89" y="63"/>
                    <a:pt x="63" y="76"/>
                    <a:pt x="18" y="69"/>
                  </a:cubicBezTo>
                </a:path>
              </a:pathLst>
            </a:custGeom>
            <a:solidFill>
              <a:srgbClr val="88D5ED"/>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1" name="Freeform 92">
              <a:extLst>
                <a:ext uri="{FF2B5EF4-FFF2-40B4-BE49-F238E27FC236}">
                  <a16:creationId xmlns:a16="http://schemas.microsoft.com/office/drawing/2014/main" id="{5DEFABDC-3516-4C65-BA92-5CB386251CB2}"/>
                </a:ext>
              </a:extLst>
            </p:cNvPr>
            <p:cNvSpPr>
              <a:spLocks/>
            </p:cNvSpPr>
            <p:nvPr/>
          </p:nvSpPr>
          <p:spPr bwMode="auto">
            <a:xfrm>
              <a:off x="2090738" y="3860800"/>
              <a:ext cx="115887" cy="127000"/>
            </a:xfrm>
            <a:custGeom>
              <a:avLst/>
              <a:gdLst>
                <a:gd name="T0" fmla="*/ 24 w 60"/>
                <a:gd name="T1" fmla="*/ 62 h 65"/>
                <a:gd name="T2" fmla="*/ 2 w 60"/>
                <a:gd name="T3" fmla="*/ 27 h 65"/>
                <a:gd name="T4" fmla="*/ 34 w 60"/>
                <a:gd name="T5" fmla="*/ 3 h 65"/>
                <a:gd name="T6" fmla="*/ 57 w 60"/>
                <a:gd name="T7" fmla="*/ 38 h 65"/>
                <a:gd name="T8" fmla="*/ 24 w 60"/>
                <a:gd name="T9" fmla="*/ 62 h 65"/>
              </a:gdLst>
              <a:ahLst/>
              <a:cxnLst>
                <a:cxn ang="0">
                  <a:pos x="T0" y="T1"/>
                </a:cxn>
                <a:cxn ang="0">
                  <a:pos x="T2" y="T3"/>
                </a:cxn>
                <a:cxn ang="0">
                  <a:pos x="T4" y="T5"/>
                </a:cxn>
                <a:cxn ang="0">
                  <a:pos x="T6" y="T7"/>
                </a:cxn>
                <a:cxn ang="0">
                  <a:pos x="T8" y="T9"/>
                </a:cxn>
              </a:cxnLst>
              <a:rect l="0" t="0" r="r" b="b"/>
              <a:pathLst>
                <a:path w="60" h="65">
                  <a:moveTo>
                    <a:pt x="24" y="62"/>
                  </a:moveTo>
                  <a:cubicBezTo>
                    <a:pt x="8" y="59"/>
                    <a:pt x="0" y="44"/>
                    <a:pt x="2" y="27"/>
                  </a:cubicBezTo>
                  <a:cubicBezTo>
                    <a:pt x="5" y="11"/>
                    <a:pt x="18" y="0"/>
                    <a:pt x="34" y="3"/>
                  </a:cubicBezTo>
                  <a:cubicBezTo>
                    <a:pt x="49" y="7"/>
                    <a:pt x="60" y="22"/>
                    <a:pt x="57" y="38"/>
                  </a:cubicBezTo>
                  <a:cubicBezTo>
                    <a:pt x="55" y="55"/>
                    <a:pt x="40" y="65"/>
                    <a:pt x="24" y="62"/>
                  </a:cubicBezTo>
                </a:path>
              </a:pathLst>
            </a:custGeom>
            <a:solidFill>
              <a:srgbClr val="88D5ED"/>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2" name="Freeform 93">
              <a:extLst>
                <a:ext uri="{FF2B5EF4-FFF2-40B4-BE49-F238E27FC236}">
                  <a16:creationId xmlns:a16="http://schemas.microsoft.com/office/drawing/2014/main" id="{AED8DA1B-1FB9-4A7C-8515-23E309500434}"/>
                </a:ext>
              </a:extLst>
            </p:cNvPr>
            <p:cNvSpPr>
              <a:spLocks/>
            </p:cNvSpPr>
            <p:nvPr/>
          </p:nvSpPr>
          <p:spPr bwMode="auto">
            <a:xfrm>
              <a:off x="2044701" y="3990975"/>
              <a:ext cx="206375" cy="138113"/>
            </a:xfrm>
            <a:custGeom>
              <a:avLst/>
              <a:gdLst>
                <a:gd name="T0" fmla="*/ 18 w 107"/>
                <a:gd name="T1" fmla="*/ 64 h 71"/>
                <a:gd name="T2" fmla="*/ 3 w 107"/>
                <a:gd name="T3" fmla="*/ 42 h 71"/>
                <a:gd name="T4" fmla="*/ 67 w 107"/>
                <a:gd name="T5" fmla="*/ 8 h 71"/>
                <a:gd name="T6" fmla="*/ 106 w 107"/>
                <a:gd name="T7" fmla="*/ 47 h 71"/>
                <a:gd name="T8" fmla="*/ 107 w 107"/>
                <a:gd name="T9" fmla="*/ 60 h 71"/>
                <a:gd name="T10" fmla="*/ 18 w 107"/>
                <a:gd name="T11" fmla="*/ 64 h 71"/>
              </a:gdLst>
              <a:ahLst/>
              <a:cxnLst>
                <a:cxn ang="0">
                  <a:pos x="T0" y="T1"/>
                </a:cxn>
                <a:cxn ang="0">
                  <a:pos x="T2" y="T3"/>
                </a:cxn>
                <a:cxn ang="0">
                  <a:pos x="T4" y="T5"/>
                </a:cxn>
                <a:cxn ang="0">
                  <a:pos x="T6" y="T7"/>
                </a:cxn>
                <a:cxn ang="0">
                  <a:pos x="T8" y="T9"/>
                </a:cxn>
                <a:cxn ang="0">
                  <a:pos x="T10" y="T11"/>
                </a:cxn>
              </a:cxnLst>
              <a:rect l="0" t="0" r="r" b="b"/>
              <a:pathLst>
                <a:path w="107" h="71">
                  <a:moveTo>
                    <a:pt x="18" y="64"/>
                  </a:moveTo>
                  <a:cubicBezTo>
                    <a:pt x="7" y="62"/>
                    <a:pt x="0" y="52"/>
                    <a:pt x="3" y="42"/>
                  </a:cubicBezTo>
                  <a:cubicBezTo>
                    <a:pt x="9" y="21"/>
                    <a:pt x="30" y="0"/>
                    <a:pt x="67" y="8"/>
                  </a:cubicBezTo>
                  <a:cubicBezTo>
                    <a:pt x="86" y="13"/>
                    <a:pt x="102" y="28"/>
                    <a:pt x="106" y="47"/>
                  </a:cubicBezTo>
                  <a:cubicBezTo>
                    <a:pt x="107" y="52"/>
                    <a:pt x="107" y="56"/>
                    <a:pt x="107" y="60"/>
                  </a:cubicBezTo>
                  <a:cubicBezTo>
                    <a:pt x="82" y="59"/>
                    <a:pt x="59" y="71"/>
                    <a:pt x="18" y="64"/>
                  </a:cubicBezTo>
                </a:path>
              </a:pathLst>
            </a:custGeom>
            <a:solidFill>
              <a:srgbClr val="88D5ED"/>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3" name="Freeform 94">
              <a:extLst>
                <a:ext uri="{FF2B5EF4-FFF2-40B4-BE49-F238E27FC236}">
                  <a16:creationId xmlns:a16="http://schemas.microsoft.com/office/drawing/2014/main" id="{EFD5BC5C-8E87-441B-8D99-2C18D43F151C}"/>
                </a:ext>
              </a:extLst>
            </p:cNvPr>
            <p:cNvSpPr>
              <a:spLocks/>
            </p:cNvSpPr>
            <p:nvPr/>
          </p:nvSpPr>
          <p:spPr bwMode="auto">
            <a:xfrm>
              <a:off x="1885951" y="3821113"/>
              <a:ext cx="163512" cy="177800"/>
            </a:xfrm>
            <a:custGeom>
              <a:avLst/>
              <a:gdLst>
                <a:gd name="T0" fmla="*/ 45 w 85"/>
                <a:gd name="T1" fmla="*/ 90 h 92"/>
                <a:gd name="T2" fmla="*/ 85 w 85"/>
                <a:gd name="T3" fmla="*/ 43 h 92"/>
                <a:gd name="T4" fmla="*/ 43 w 85"/>
                <a:gd name="T5" fmla="*/ 2 h 92"/>
                <a:gd name="T6" fmla="*/ 1 w 85"/>
                <a:gd name="T7" fmla="*/ 49 h 92"/>
                <a:gd name="T8" fmla="*/ 45 w 85"/>
                <a:gd name="T9" fmla="*/ 90 h 92"/>
              </a:gdLst>
              <a:ahLst/>
              <a:cxnLst>
                <a:cxn ang="0">
                  <a:pos x="T0" y="T1"/>
                </a:cxn>
                <a:cxn ang="0">
                  <a:pos x="T2" y="T3"/>
                </a:cxn>
                <a:cxn ang="0">
                  <a:pos x="T4" y="T5"/>
                </a:cxn>
                <a:cxn ang="0">
                  <a:pos x="T6" y="T7"/>
                </a:cxn>
                <a:cxn ang="0">
                  <a:pos x="T8" y="T9"/>
                </a:cxn>
              </a:cxnLst>
              <a:rect l="0" t="0" r="r" b="b"/>
              <a:pathLst>
                <a:path w="85" h="92">
                  <a:moveTo>
                    <a:pt x="45" y="90"/>
                  </a:moveTo>
                  <a:cubicBezTo>
                    <a:pt x="69" y="89"/>
                    <a:pt x="85" y="68"/>
                    <a:pt x="85" y="43"/>
                  </a:cubicBezTo>
                  <a:cubicBezTo>
                    <a:pt x="84" y="19"/>
                    <a:pt x="67" y="0"/>
                    <a:pt x="43" y="2"/>
                  </a:cubicBezTo>
                  <a:cubicBezTo>
                    <a:pt x="19" y="3"/>
                    <a:pt x="0" y="24"/>
                    <a:pt x="1" y="49"/>
                  </a:cubicBezTo>
                  <a:cubicBezTo>
                    <a:pt x="2" y="73"/>
                    <a:pt x="21" y="92"/>
                    <a:pt x="45" y="90"/>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 name="Freeform 95">
              <a:extLst>
                <a:ext uri="{FF2B5EF4-FFF2-40B4-BE49-F238E27FC236}">
                  <a16:creationId xmlns:a16="http://schemas.microsoft.com/office/drawing/2014/main" id="{8D4493BF-17E2-4E73-971E-5DC48DD2D57C}"/>
                </a:ext>
              </a:extLst>
            </p:cNvPr>
            <p:cNvSpPr>
              <a:spLocks/>
            </p:cNvSpPr>
            <p:nvPr/>
          </p:nvSpPr>
          <p:spPr bwMode="auto">
            <a:xfrm>
              <a:off x="1814513" y="4006850"/>
              <a:ext cx="306387" cy="203200"/>
            </a:xfrm>
            <a:custGeom>
              <a:avLst/>
              <a:gdLst>
                <a:gd name="T0" fmla="*/ 0 w 159"/>
                <a:gd name="T1" fmla="*/ 90 h 105"/>
                <a:gd name="T2" fmla="*/ 2 w 159"/>
                <a:gd name="T3" fmla="*/ 71 h 105"/>
                <a:gd name="T4" fmla="*/ 59 w 159"/>
                <a:gd name="T5" fmla="*/ 12 h 105"/>
                <a:gd name="T6" fmla="*/ 153 w 159"/>
                <a:gd name="T7" fmla="*/ 57 h 105"/>
                <a:gd name="T8" fmla="*/ 131 w 159"/>
                <a:gd name="T9" fmla="*/ 95 h 105"/>
                <a:gd name="T10" fmla="*/ 0 w 159"/>
                <a:gd name="T11" fmla="*/ 90 h 105"/>
              </a:gdLst>
              <a:ahLst/>
              <a:cxnLst>
                <a:cxn ang="0">
                  <a:pos x="T0" y="T1"/>
                </a:cxn>
                <a:cxn ang="0">
                  <a:pos x="T2" y="T3"/>
                </a:cxn>
                <a:cxn ang="0">
                  <a:pos x="T4" y="T5"/>
                </a:cxn>
                <a:cxn ang="0">
                  <a:pos x="T6" y="T7"/>
                </a:cxn>
                <a:cxn ang="0">
                  <a:pos x="T8" y="T9"/>
                </a:cxn>
                <a:cxn ang="0">
                  <a:pos x="T10" y="T11"/>
                </a:cxn>
              </a:cxnLst>
              <a:rect l="0" t="0" r="r" b="b"/>
              <a:pathLst>
                <a:path w="159" h="105">
                  <a:moveTo>
                    <a:pt x="0" y="90"/>
                  </a:moveTo>
                  <a:cubicBezTo>
                    <a:pt x="0" y="84"/>
                    <a:pt x="0" y="77"/>
                    <a:pt x="2" y="71"/>
                  </a:cubicBezTo>
                  <a:cubicBezTo>
                    <a:pt x="8" y="42"/>
                    <a:pt x="31" y="19"/>
                    <a:pt x="59" y="12"/>
                  </a:cubicBezTo>
                  <a:cubicBezTo>
                    <a:pt x="112" y="0"/>
                    <a:pt x="143" y="27"/>
                    <a:pt x="153" y="57"/>
                  </a:cubicBezTo>
                  <a:cubicBezTo>
                    <a:pt x="159" y="74"/>
                    <a:pt x="148" y="92"/>
                    <a:pt x="131" y="95"/>
                  </a:cubicBezTo>
                  <a:cubicBezTo>
                    <a:pt x="71" y="105"/>
                    <a:pt x="36" y="88"/>
                    <a:pt x="0" y="90"/>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470613235"/>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ytuł 1">
            <a:extLst>
              <a:ext uri="{FF2B5EF4-FFF2-40B4-BE49-F238E27FC236}">
                <a16:creationId xmlns:a16="http://schemas.microsoft.com/office/drawing/2014/main" id="{DEA935F7-2904-40FF-A73D-3CCC59AF658E}"/>
              </a:ext>
            </a:extLst>
          </p:cNvPr>
          <p:cNvSpPr>
            <a:spLocks noGrp="1"/>
          </p:cNvSpPr>
          <p:nvPr>
            <p:ph type="title"/>
          </p:nvPr>
        </p:nvSpPr>
        <p:spPr/>
        <p:txBody>
          <a:bodyPr/>
          <a:lstStyle/>
          <a:p>
            <a:r>
              <a:rPr lang="en-US" sz="3200" dirty="0"/>
              <a:t>Equality comparator tuple support</a:t>
            </a:r>
          </a:p>
        </p:txBody>
      </p:sp>
      <p:sp>
        <p:nvSpPr>
          <p:cNvPr id="5" name="Symbol zastępczy tekstu 4">
            <a:extLst>
              <a:ext uri="{FF2B5EF4-FFF2-40B4-BE49-F238E27FC236}">
                <a16:creationId xmlns:a16="http://schemas.microsoft.com/office/drawing/2014/main" id="{026454BF-D147-4265-B180-0D1A4FC7A23F}"/>
              </a:ext>
            </a:extLst>
          </p:cNvPr>
          <p:cNvSpPr>
            <a:spLocks noGrp="1"/>
          </p:cNvSpPr>
          <p:nvPr>
            <p:ph type="body" sz="quarter" idx="10"/>
          </p:nvPr>
        </p:nvSpPr>
        <p:spPr/>
        <p:txBody>
          <a:bodyPr/>
          <a:lstStyle/>
          <a:p>
            <a:endParaRPr lang="en-US" dirty="0"/>
          </a:p>
        </p:txBody>
      </p:sp>
      <p:sp>
        <p:nvSpPr>
          <p:cNvPr id="3" name="Symbol zastępczy tekstu 2">
            <a:extLst>
              <a:ext uri="{FF2B5EF4-FFF2-40B4-BE49-F238E27FC236}">
                <a16:creationId xmlns:a16="http://schemas.microsoft.com/office/drawing/2014/main" id="{D0A37E72-B711-494C-A35F-F9DF4987AC76}"/>
              </a:ext>
            </a:extLst>
          </p:cNvPr>
          <p:cNvSpPr>
            <a:spLocks noGrp="1"/>
          </p:cNvSpPr>
          <p:nvPr>
            <p:ph type="body" sz="quarter" idx="11"/>
          </p:nvPr>
        </p:nvSpPr>
        <p:spPr/>
        <p:txBody>
          <a:bodyPr/>
          <a:lstStyle/>
          <a:p>
            <a:r>
              <a:rPr lang="en-US" dirty="0"/>
              <a:t>C# 7.2</a:t>
            </a:r>
          </a:p>
        </p:txBody>
      </p:sp>
      <p:sp>
        <p:nvSpPr>
          <p:cNvPr id="6" name="Symbol zastępczy tekstu 5">
            <a:extLst>
              <a:ext uri="{FF2B5EF4-FFF2-40B4-BE49-F238E27FC236}">
                <a16:creationId xmlns:a16="http://schemas.microsoft.com/office/drawing/2014/main" id="{9B3BF7E6-792E-4E7E-A1BA-67B18F143E96}"/>
              </a:ext>
            </a:extLst>
          </p:cNvPr>
          <p:cNvSpPr>
            <a:spLocks noGrp="1"/>
          </p:cNvSpPr>
          <p:nvPr>
            <p:ph type="body" sz="quarter" idx="12"/>
          </p:nvPr>
        </p:nvSpPr>
        <p:spPr/>
        <p:txBody>
          <a:bodyPr/>
          <a:lstStyle/>
          <a:p>
            <a:r>
              <a:rPr lang="en-US" dirty="0"/>
              <a:t>1</a:t>
            </a:r>
          </a:p>
        </p:txBody>
      </p:sp>
    </p:spTree>
    <p:extLst>
      <p:ext uri="{BB962C8B-B14F-4D97-AF65-F5344CB8AC3E}">
        <p14:creationId xmlns:p14="http://schemas.microsoft.com/office/powerpoint/2010/main" val="4138229204"/>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ytuł 1">
            <a:extLst>
              <a:ext uri="{FF2B5EF4-FFF2-40B4-BE49-F238E27FC236}">
                <a16:creationId xmlns:a16="http://schemas.microsoft.com/office/drawing/2014/main" id="{DEA935F7-2904-40FF-A73D-3CCC59AF658E}"/>
              </a:ext>
            </a:extLst>
          </p:cNvPr>
          <p:cNvSpPr>
            <a:spLocks noGrp="1"/>
          </p:cNvSpPr>
          <p:nvPr>
            <p:ph type="title"/>
          </p:nvPr>
        </p:nvSpPr>
        <p:spPr/>
        <p:txBody>
          <a:bodyPr/>
          <a:lstStyle/>
          <a:p>
            <a:r>
              <a:rPr lang="en-US" sz="3200" dirty="0"/>
              <a:t>Equality comparator tuple support</a:t>
            </a:r>
          </a:p>
        </p:txBody>
      </p:sp>
      <p:sp>
        <p:nvSpPr>
          <p:cNvPr id="5" name="Symbol zastępczy tekstu 4">
            <a:extLst>
              <a:ext uri="{FF2B5EF4-FFF2-40B4-BE49-F238E27FC236}">
                <a16:creationId xmlns:a16="http://schemas.microsoft.com/office/drawing/2014/main" id="{026454BF-D147-4265-B180-0D1A4FC7A23F}"/>
              </a:ext>
            </a:extLst>
          </p:cNvPr>
          <p:cNvSpPr>
            <a:spLocks noGrp="1"/>
          </p:cNvSpPr>
          <p:nvPr>
            <p:ph type="body" sz="quarter" idx="10"/>
          </p:nvPr>
        </p:nvSpPr>
        <p:spPr/>
        <p:txBody>
          <a:bodyPr/>
          <a:lstStyle/>
          <a:p>
            <a:endParaRPr lang="en-US" dirty="0"/>
          </a:p>
        </p:txBody>
      </p:sp>
      <p:sp>
        <p:nvSpPr>
          <p:cNvPr id="3" name="Symbol zastępczy tekstu 2">
            <a:extLst>
              <a:ext uri="{FF2B5EF4-FFF2-40B4-BE49-F238E27FC236}">
                <a16:creationId xmlns:a16="http://schemas.microsoft.com/office/drawing/2014/main" id="{D0A37E72-B711-494C-A35F-F9DF4987AC76}"/>
              </a:ext>
            </a:extLst>
          </p:cNvPr>
          <p:cNvSpPr>
            <a:spLocks noGrp="1"/>
          </p:cNvSpPr>
          <p:nvPr>
            <p:ph type="body" sz="quarter" idx="11"/>
          </p:nvPr>
        </p:nvSpPr>
        <p:spPr/>
        <p:txBody>
          <a:bodyPr/>
          <a:lstStyle/>
          <a:p>
            <a:r>
              <a:rPr lang="en-US" dirty="0"/>
              <a:t>C# 7.3</a:t>
            </a:r>
          </a:p>
        </p:txBody>
      </p:sp>
      <p:sp>
        <p:nvSpPr>
          <p:cNvPr id="6" name="Symbol zastępczy tekstu 5">
            <a:extLst>
              <a:ext uri="{FF2B5EF4-FFF2-40B4-BE49-F238E27FC236}">
                <a16:creationId xmlns:a16="http://schemas.microsoft.com/office/drawing/2014/main" id="{9B3BF7E6-792E-4E7E-A1BA-67B18F143E96}"/>
              </a:ext>
            </a:extLst>
          </p:cNvPr>
          <p:cNvSpPr>
            <a:spLocks noGrp="1"/>
          </p:cNvSpPr>
          <p:nvPr>
            <p:ph type="body" sz="quarter" idx="12"/>
          </p:nvPr>
        </p:nvSpPr>
        <p:spPr/>
        <p:txBody>
          <a:bodyPr/>
          <a:lstStyle/>
          <a:p>
            <a:r>
              <a:rPr lang="en-US" dirty="0"/>
              <a:t>2</a:t>
            </a:r>
          </a:p>
        </p:txBody>
      </p:sp>
    </p:spTree>
    <p:extLst>
      <p:ext uri="{BB962C8B-B14F-4D97-AF65-F5344CB8AC3E}">
        <p14:creationId xmlns:p14="http://schemas.microsoft.com/office/powerpoint/2010/main" val="2821240319"/>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pl-PL" dirty="0"/>
              <a:t>Agenda</a:t>
            </a:r>
            <a:endParaRPr lang="en-GB" dirty="0"/>
          </a:p>
        </p:txBody>
      </p:sp>
      <p:sp>
        <p:nvSpPr>
          <p:cNvPr id="5" name="Text Placeholder 4"/>
          <p:cNvSpPr>
            <a:spLocks noGrp="1"/>
          </p:cNvSpPr>
          <p:nvPr>
            <p:ph type="body" sz="quarter" idx="10"/>
          </p:nvPr>
        </p:nvSpPr>
        <p:spPr/>
        <p:txBody>
          <a:bodyPr/>
          <a:lstStyle/>
          <a:p>
            <a:pPr lvl="1"/>
            <a:r>
              <a:rPr lang="en-US" dirty="0">
                <a:solidFill>
                  <a:schemeClr val="bg1">
                    <a:lumMod val="95000"/>
                  </a:schemeClr>
                </a:solidFill>
              </a:rPr>
              <a:t>What’s new in C# 7.3</a:t>
            </a:r>
          </a:p>
          <a:p>
            <a:pPr lvl="2"/>
            <a:r>
              <a:rPr lang="en-US" dirty="0">
                <a:solidFill>
                  <a:schemeClr val="bg1">
                    <a:lumMod val="95000"/>
                  </a:schemeClr>
                </a:solidFill>
              </a:rPr>
              <a:t>Enabling more efficient safe code,</a:t>
            </a:r>
          </a:p>
          <a:p>
            <a:pPr lvl="3"/>
            <a:r>
              <a:rPr lang="en-US" dirty="0">
                <a:solidFill>
                  <a:schemeClr val="bg1">
                    <a:lumMod val="95000"/>
                  </a:schemeClr>
                </a:solidFill>
              </a:rPr>
              <a:t>fixed fields without pinning access,</a:t>
            </a:r>
          </a:p>
          <a:p>
            <a:pPr lvl="3"/>
            <a:r>
              <a:rPr lang="en-US" dirty="0">
                <a:solidFill>
                  <a:schemeClr val="bg1">
                    <a:lumMod val="95000"/>
                  </a:schemeClr>
                </a:solidFill>
              </a:rPr>
              <a:t>local ref variables reassignment,</a:t>
            </a:r>
          </a:p>
          <a:p>
            <a:pPr lvl="3"/>
            <a:r>
              <a:rPr lang="en-US" dirty="0">
                <a:solidFill>
                  <a:schemeClr val="bg1">
                    <a:lumMod val="95000"/>
                  </a:schemeClr>
                </a:solidFill>
              </a:rPr>
              <a:t>array initializers with </a:t>
            </a:r>
            <a:r>
              <a:rPr lang="en-US" dirty="0" err="1">
                <a:solidFill>
                  <a:schemeClr val="bg1">
                    <a:lumMod val="95000"/>
                  </a:schemeClr>
                </a:solidFill>
              </a:rPr>
              <a:t>stackalloc</a:t>
            </a:r>
            <a:r>
              <a:rPr lang="en-US" dirty="0">
                <a:solidFill>
                  <a:schemeClr val="bg1">
                    <a:lumMod val="95000"/>
                  </a:schemeClr>
                </a:solidFill>
              </a:rPr>
              <a:t>,</a:t>
            </a:r>
          </a:p>
          <a:p>
            <a:pPr lvl="3"/>
            <a:r>
              <a:rPr lang="en-US" dirty="0">
                <a:solidFill>
                  <a:schemeClr val="bg1">
                    <a:lumMod val="95000"/>
                  </a:schemeClr>
                </a:solidFill>
              </a:rPr>
              <a:t>extended fixed support for types,</a:t>
            </a:r>
          </a:p>
          <a:p>
            <a:pPr lvl="3"/>
            <a:r>
              <a:rPr lang="en-US" dirty="0">
                <a:solidFill>
                  <a:schemeClr val="bg1">
                    <a:lumMod val="95000"/>
                  </a:schemeClr>
                </a:solidFill>
              </a:rPr>
              <a:t>enhanced generic constraints.</a:t>
            </a:r>
          </a:p>
          <a:p>
            <a:pPr lvl="2"/>
            <a:r>
              <a:rPr lang="en-US" dirty="0">
                <a:solidFill>
                  <a:schemeClr val="bg1">
                    <a:lumMod val="95000"/>
                  </a:schemeClr>
                </a:solidFill>
              </a:rPr>
              <a:t>Make existing features better</a:t>
            </a:r>
          </a:p>
          <a:p>
            <a:pPr lvl="3"/>
            <a:r>
              <a:rPr lang="en-US" dirty="0">
                <a:solidFill>
                  <a:schemeClr val="bg1">
                    <a:lumMod val="95000"/>
                  </a:schemeClr>
                </a:solidFill>
              </a:rPr>
              <a:t>equality comparator tuple support,</a:t>
            </a:r>
          </a:p>
          <a:p>
            <a:pPr lvl="3"/>
            <a:r>
              <a:rPr lang="en-US" dirty="0">
                <a:solidFill>
                  <a:schemeClr val="bg1">
                    <a:lumMod val="95000"/>
                  </a:schemeClr>
                </a:solidFill>
              </a:rPr>
              <a:t>field attributes for auto-implemented properties,</a:t>
            </a:r>
          </a:p>
          <a:p>
            <a:pPr lvl="3"/>
            <a:r>
              <a:rPr lang="en-US" dirty="0">
                <a:solidFill>
                  <a:schemeClr val="bg1">
                    <a:lumMod val="95000"/>
                  </a:schemeClr>
                </a:solidFill>
              </a:rPr>
              <a:t>in method overload,</a:t>
            </a:r>
          </a:p>
          <a:p>
            <a:pPr lvl="3"/>
            <a:r>
              <a:rPr lang="en-US" dirty="0">
                <a:solidFill>
                  <a:schemeClr val="bg1">
                    <a:lumMod val="95000"/>
                  </a:schemeClr>
                </a:solidFill>
              </a:rPr>
              <a:t>extend expression variables in initializers.</a:t>
            </a:r>
            <a:endParaRPr lang="en-GB" dirty="0">
              <a:solidFill>
                <a:schemeClr val="bg1">
                  <a:lumMod val="95000"/>
                </a:schemeClr>
              </a:solidFill>
            </a:endParaRPr>
          </a:p>
        </p:txBody>
      </p:sp>
      <p:sp>
        <p:nvSpPr>
          <p:cNvPr id="6" name="Text Placeholder 5"/>
          <p:cNvSpPr>
            <a:spLocks noGrp="1"/>
          </p:cNvSpPr>
          <p:nvPr>
            <p:ph type="body" sz="quarter" idx="11"/>
          </p:nvPr>
        </p:nvSpPr>
        <p:spPr/>
        <p:txBody>
          <a:bodyPr/>
          <a:lstStyle/>
          <a:p>
            <a:r>
              <a:rPr lang="en-US" dirty="0"/>
              <a:t>We are going to talk about…</a:t>
            </a:r>
          </a:p>
        </p:txBody>
      </p:sp>
      <p:sp>
        <p:nvSpPr>
          <p:cNvPr id="7" name="Text Placeholder 4">
            <a:extLst>
              <a:ext uri="{FF2B5EF4-FFF2-40B4-BE49-F238E27FC236}">
                <a16:creationId xmlns:a16="http://schemas.microsoft.com/office/drawing/2014/main" id="{ED73704D-A765-4676-B99A-0282F156294F}"/>
              </a:ext>
            </a:extLst>
          </p:cNvPr>
          <p:cNvSpPr txBox="1">
            <a:spLocks/>
          </p:cNvSpPr>
          <p:nvPr/>
        </p:nvSpPr>
        <p:spPr>
          <a:xfrm>
            <a:off x="227348" y="1815351"/>
            <a:ext cx="11700000" cy="4466201"/>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buClr>
                <a:srgbClr val="00C37B"/>
              </a:buClr>
            </a:pPr>
            <a:r>
              <a:rPr lang="en-US" dirty="0"/>
              <a:t>What’s new in C# 7.3</a:t>
            </a:r>
          </a:p>
          <a:p>
            <a:pPr lvl="2">
              <a:buClr>
                <a:srgbClr val="93E416"/>
              </a:buClr>
            </a:pPr>
            <a:r>
              <a:rPr lang="en-US" dirty="0"/>
              <a:t>Enabling more efficient safe code,</a:t>
            </a:r>
          </a:p>
          <a:p>
            <a:pPr lvl="3"/>
            <a:r>
              <a:rPr lang="en-US" dirty="0"/>
              <a:t>fixed fields without pinning access,</a:t>
            </a:r>
          </a:p>
          <a:p>
            <a:pPr lvl="3"/>
            <a:r>
              <a:rPr lang="en-US" dirty="0"/>
              <a:t>local ref variables reassignment,</a:t>
            </a:r>
          </a:p>
          <a:p>
            <a:pPr lvl="3"/>
            <a:r>
              <a:rPr lang="en-US" dirty="0"/>
              <a:t>array initializers with stackalloc,</a:t>
            </a:r>
          </a:p>
          <a:p>
            <a:pPr lvl="3"/>
            <a:r>
              <a:rPr lang="en-US" dirty="0"/>
              <a:t>extended fixed support for types,</a:t>
            </a:r>
          </a:p>
          <a:p>
            <a:pPr lvl="3"/>
            <a:r>
              <a:rPr lang="en-US" dirty="0"/>
              <a:t>enhanced generic constraints.</a:t>
            </a:r>
          </a:p>
          <a:p>
            <a:pPr lvl="2">
              <a:buClr>
                <a:srgbClr val="93E416"/>
              </a:buClr>
            </a:pPr>
            <a:r>
              <a:rPr lang="en-US" dirty="0"/>
              <a:t>Make existing features better</a:t>
            </a:r>
          </a:p>
          <a:p>
            <a:pPr lvl="3"/>
            <a:r>
              <a:rPr lang="en-US" dirty="0"/>
              <a:t>equality comparator tuple support,</a:t>
            </a:r>
          </a:p>
          <a:p>
            <a:pPr lvl="3"/>
            <a:r>
              <a:rPr lang="en-US" dirty="0"/>
              <a:t>field attributes for auto-implemented properties,</a:t>
            </a:r>
            <a:endParaRPr lang="en-GB" dirty="0"/>
          </a:p>
        </p:txBody>
      </p:sp>
    </p:spTree>
    <p:extLst>
      <p:ext uri="{BB962C8B-B14F-4D97-AF65-F5344CB8AC3E}">
        <p14:creationId xmlns:p14="http://schemas.microsoft.com/office/powerpoint/2010/main" val="171271848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
                                            <p:txEl>
                                              <p:pRg st="9" end="9"/>
                                            </p:txEl>
                                          </p:spTgt>
                                        </p:tgtEl>
                                        <p:attrNameLst>
                                          <p:attrName>style.visibility</p:attrName>
                                        </p:attrNameLst>
                                      </p:cBhvr>
                                      <p:to>
                                        <p:strVal val="visible"/>
                                      </p:to>
                                    </p:set>
                                    <p:animEffect transition="in" filter="fade">
                                      <p:cBhvr>
                                        <p:cTn id="7" dur="500"/>
                                        <p:tgtEl>
                                          <p:spTgt spid="7">
                                            <p:txEl>
                                              <p:pRg st="9" end="9"/>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ymbol zastępczy tekstu 5">
            <a:extLst>
              <a:ext uri="{FF2B5EF4-FFF2-40B4-BE49-F238E27FC236}">
                <a16:creationId xmlns:a16="http://schemas.microsoft.com/office/drawing/2014/main" id="{EC19D1F0-CA19-48E4-B6B7-FE7D3388EB92}"/>
              </a:ext>
            </a:extLst>
          </p:cNvPr>
          <p:cNvSpPr>
            <a:spLocks noGrp="1"/>
          </p:cNvSpPr>
          <p:nvPr>
            <p:ph type="body" sz="quarter" idx="11"/>
          </p:nvPr>
        </p:nvSpPr>
        <p:spPr>
          <a:xfrm>
            <a:off x="6528049" y="2191647"/>
            <a:ext cx="5187760" cy="3160282"/>
          </a:xfrm>
        </p:spPr>
        <p:txBody>
          <a:bodyPr/>
          <a:lstStyle/>
          <a:p>
            <a:r>
              <a:rPr lang="en-US" dirty="0"/>
              <a:t>What’s new in C# 7.3</a:t>
            </a:r>
            <a:br>
              <a:rPr lang="en-US" dirty="0"/>
            </a:br>
            <a:r>
              <a:rPr lang="en-US" sz="2400" dirty="0"/>
              <a:t>Field attributes for auto-implemented properties</a:t>
            </a:r>
            <a:endParaRPr lang="en-US" dirty="0"/>
          </a:p>
        </p:txBody>
      </p:sp>
      <p:sp>
        <p:nvSpPr>
          <p:cNvPr id="28" name="Freeform 37">
            <a:extLst>
              <a:ext uri="{FF2B5EF4-FFF2-40B4-BE49-F238E27FC236}">
                <a16:creationId xmlns:a16="http://schemas.microsoft.com/office/drawing/2014/main" id="{C163FEF7-EB42-4298-AED9-19E8D9ACF2E4}"/>
              </a:ext>
            </a:extLst>
          </p:cNvPr>
          <p:cNvSpPr>
            <a:spLocks/>
          </p:cNvSpPr>
          <p:nvPr/>
        </p:nvSpPr>
        <p:spPr bwMode="auto">
          <a:xfrm>
            <a:off x="1703512" y="800837"/>
            <a:ext cx="844550" cy="793750"/>
          </a:xfrm>
          <a:custGeom>
            <a:avLst/>
            <a:gdLst>
              <a:gd name="T0" fmla="*/ 51 w 440"/>
              <a:gd name="T1" fmla="*/ 298 h 410"/>
              <a:gd name="T2" fmla="*/ 128 w 440"/>
              <a:gd name="T3" fmla="*/ 48 h 410"/>
              <a:gd name="T4" fmla="*/ 389 w 440"/>
              <a:gd name="T5" fmla="*/ 122 h 410"/>
              <a:gd name="T6" fmla="*/ 307 w 440"/>
              <a:gd name="T7" fmla="*/ 362 h 410"/>
              <a:gd name="T8" fmla="*/ 51 w 440"/>
              <a:gd name="T9" fmla="*/ 298 h 410"/>
            </a:gdLst>
            <a:ahLst/>
            <a:cxnLst>
              <a:cxn ang="0">
                <a:pos x="T0" y="T1"/>
              </a:cxn>
              <a:cxn ang="0">
                <a:pos x="T2" y="T3"/>
              </a:cxn>
              <a:cxn ang="0">
                <a:pos x="T4" y="T5"/>
              </a:cxn>
              <a:cxn ang="0">
                <a:pos x="T6" y="T7"/>
              </a:cxn>
              <a:cxn ang="0">
                <a:pos x="T8" y="T9"/>
              </a:cxn>
            </a:cxnLst>
            <a:rect l="0" t="0" r="r" b="b"/>
            <a:pathLst>
              <a:path w="440" h="410">
                <a:moveTo>
                  <a:pt x="51" y="298"/>
                </a:moveTo>
                <a:cubicBezTo>
                  <a:pt x="0" y="209"/>
                  <a:pt x="34" y="97"/>
                  <a:pt x="128" y="48"/>
                </a:cubicBezTo>
                <a:cubicBezTo>
                  <a:pt x="221" y="0"/>
                  <a:pt x="338" y="33"/>
                  <a:pt x="389" y="122"/>
                </a:cubicBezTo>
                <a:cubicBezTo>
                  <a:pt x="440" y="212"/>
                  <a:pt x="400" y="313"/>
                  <a:pt x="307" y="362"/>
                </a:cubicBezTo>
                <a:cubicBezTo>
                  <a:pt x="214" y="410"/>
                  <a:pt x="102" y="388"/>
                  <a:pt x="51" y="298"/>
                </a:cubicBezTo>
              </a:path>
            </a:pathLst>
          </a:custGeom>
          <a:solidFill>
            <a:srgbClr val="93E416"/>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3" name="Oval 20">
            <a:extLst>
              <a:ext uri="{FF2B5EF4-FFF2-40B4-BE49-F238E27FC236}">
                <a16:creationId xmlns:a16="http://schemas.microsoft.com/office/drawing/2014/main" id="{EE9B31FA-25FA-4CC1-863F-BB3D69944DF9}"/>
              </a:ext>
            </a:extLst>
          </p:cNvPr>
          <p:cNvSpPr/>
          <p:nvPr/>
        </p:nvSpPr>
        <p:spPr>
          <a:xfrm>
            <a:off x="499463" y="1441730"/>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42" name="Oval 20">
            <a:extLst>
              <a:ext uri="{FF2B5EF4-FFF2-40B4-BE49-F238E27FC236}">
                <a16:creationId xmlns:a16="http://schemas.microsoft.com/office/drawing/2014/main" id="{9C48F09E-5C3B-4BEA-BD8F-85A5DCB0325B}"/>
              </a:ext>
            </a:extLst>
          </p:cNvPr>
          <p:cNvSpPr/>
          <p:nvPr/>
        </p:nvSpPr>
        <p:spPr>
          <a:xfrm>
            <a:off x="2380063" y="997006"/>
            <a:ext cx="1356623" cy="128178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7" name="Group 600">
            <a:extLst>
              <a:ext uri="{FF2B5EF4-FFF2-40B4-BE49-F238E27FC236}">
                <a16:creationId xmlns:a16="http://schemas.microsoft.com/office/drawing/2014/main" id="{B5B7B60C-A369-4448-A5E5-DCDF91E1DD5F}"/>
              </a:ext>
            </a:extLst>
          </p:cNvPr>
          <p:cNvGrpSpPr>
            <a:grpSpLocks noChangeAspect="1"/>
          </p:cNvGrpSpPr>
          <p:nvPr/>
        </p:nvGrpSpPr>
        <p:grpSpPr>
          <a:xfrm>
            <a:off x="829457" y="1872776"/>
            <a:ext cx="1406958" cy="1292643"/>
            <a:chOff x="6588124" y="5894388"/>
            <a:chExt cx="508000" cy="466725"/>
          </a:xfrm>
        </p:grpSpPr>
        <p:sp>
          <p:nvSpPr>
            <p:cNvPr id="9" name="Freeform 210">
              <a:extLst>
                <a:ext uri="{FF2B5EF4-FFF2-40B4-BE49-F238E27FC236}">
                  <a16:creationId xmlns:a16="http://schemas.microsoft.com/office/drawing/2014/main" id="{855090EA-C97E-4A94-A628-C0EC0D0724CF}"/>
                </a:ext>
              </a:extLst>
            </p:cNvPr>
            <p:cNvSpPr>
              <a:spLocks/>
            </p:cNvSpPr>
            <p:nvPr/>
          </p:nvSpPr>
          <p:spPr bwMode="auto">
            <a:xfrm>
              <a:off x="6588124" y="5930900"/>
              <a:ext cx="409575" cy="430213"/>
            </a:xfrm>
            <a:custGeom>
              <a:avLst/>
              <a:gdLst>
                <a:gd name="T0" fmla="*/ 89 w 213"/>
                <a:gd name="T1" fmla="*/ 222 h 222"/>
                <a:gd name="T2" fmla="*/ 46 w 213"/>
                <a:gd name="T3" fmla="*/ 184 h 222"/>
                <a:gd name="T4" fmla="*/ 21 w 213"/>
                <a:gd name="T5" fmla="*/ 124 h 222"/>
                <a:gd name="T6" fmla="*/ 104 w 213"/>
                <a:gd name="T7" fmla="*/ 27 h 222"/>
                <a:gd name="T8" fmla="*/ 186 w 213"/>
                <a:gd name="T9" fmla="*/ 21 h 222"/>
                <a:gd name="T10" fmla="*/ 186 w 213"/>
                <a:gd name="T11" fmla="*/ 21 h 222"/>
                <a:gd name="T12" fmla="*/ 192 w 213"/>
                <a:gd name="T13" fmla="*/ 103 h 222"/>
                <a:gd name="T14" fmla="*/ 91 w 213"/>
                <a:gd name="T15" fmla="*/ 220 h 222"/>
                <a:gd name="T16" fmla="*/ 89 w 213"/>
                <a:gd name="T17" fmla="*/ 222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3" h="222">
                  <a:moveTo>
                    <a:pt x="89" y="222"/>
                  </a:moveTo>
                  <a:cubicBezTo>
                    <a:pt x="46" y="184"/>
                    <a:pt x="46" y="184"/>
                    <a:pt x="46" y="184"/>
                  </a:cubicBezTo>
                  <a:cubicBezTo>
                    <a:pt x="21" y="163"/>
                    <a:pt x="0" y="148"/>
                    <a:pt x="21" y="124"/>
                  </a:cubicBezTo>
                  <a:cubicBezTo>
                    <a:pt x="104" y="27"/>
                    <a:pt x="104" y="27"/>
                    <a:pt x="104" y="27"/>
                  </a:cubicBezTo>
                  <a:cubicBezTo>
                    <a:pt x="125" y="3"/>
                    <a:pt x="161" y="0"/>
                    <a:pt x="186" y="21"/>
                  </a:cubicBezTo>
                  <a:cubicBezTo>
                    <a:pt x="186" y="21"/>
                    <a:pt x="186" y="21"/>
                    <a:pt x="186" y="21"/>
                  </a:cubicBezTo>
                  <a:cubicBezTo>
                    <a:pt x="210" y="42"/>
                    <a:pt x="213" y="78"/>
                    <a:pt x="192" y="103"/>
                  </a:cubicBezTo>
                  <a:cubicBezTo>
                    <a:pt x="91" y="220"/>
                    <a:pt x="91" y="220"/>
                    <a:pt x="91" y="220"/>
                  </a:cubicBezTo>
                  <a:lnTo>
                    <a:pt x="89" y="222"/>
                  </a:lnTo>
                  <a:close/>
                </a:path>
              </a:pathLst>
            </a:custGeom>
            <a:solidFill>
              <a:srgbClr val="93E416"/>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0" name="Freeform 211">
              <a:extLst>
                <a:ext uri="{FF2B5EF4-FFF2-40B4-BE49-F238E27FC236}">
                  <a16:creationId xmlns:a16="http://schemas.microsoft.com/office/drawing/2014/main" id="{D94A920D-F6DA-4EC2-9EAC-53E32F97E364}"/>
                </a:ext>
              </a:extLst>
            </p:cNvPr>
            <p:cNvSpPr>
              <a:spLocks/>
            </p:cNvSpPr>
            <p:nvPr/>
          </p:nvSpPr>
          <p:spPr bwMode="auto">
            <a:xfrm>
              <a:off x="6843712" y="5992813"/>
              <a:ext cx="90487" cy="90488"/>
            </a:xfrm>
            <a:custGeom>
              <a:avLst/>
              <a:gdLst>
                <a:gd name="T0" fmla="*/ 39 w 47"/>
                <a:gd name="T1" fmla="*/ 38 h 47"/>
                <a:gd name="T2" fmla="*/ 9 w 47"/>
                <a:gd name="T3" fmla="*/ 40 h 47"/>
                <a:gd name="T4" fmla="*/ 7 w 47"/>
                <a:gd name="T5" fmla="*/ 10 h 47"/>
                <a:gd name="T6" fmla="*/ 37 w 47"/>
                <a:gd name="T7" fmla="*/ 8 h 47"/>
                <a:gd name="T8" fmla="*/ 39 w 47"/>
                <a:gd name="T9" fmla="*/ 38 h 47"/>
              </a:gdLst>
              <a:ahLst/>
              <a:cxnLst>
                <a:cxn ang="0">
                  <a:pos x="T0" y="T1"/>
                </a:cxn>
                <a:cxn ang="0">
                  <a:pos x="T2" y="T3"/>
                </a:cxn>
                <a:cxn ang="0">
                  <a:pos x="T4" y="T5"/>
                </a:cxn>
                <a:cxn ang="0">
                  <a:pos x="T6" y="T7"/>
                </a:cxn>
                <a:cxn ang="0">
                  <a:pos x="T8" y="T9"/>
                </a:cxn>
              </a:cxnLst>
              <a:rect l="0" t="0" r="r" b="b"/>
              <a:pathLst>
                <a:path w="47" h="47">
                  <a:moveTo>
                    <a:pt x="39" y="38"/>
                  </a:moveTo>
                  <a:cubicBezTo>
                    <a:pt x="32" y="46"/>
                    <a:pt x="18" y="47"/>
                    <a:pt x="9" y="40"/>
                  </a:cubicBezTo>
                  <a:cubicBezTo>
                    <a:pt x="1" y="32"/>
                    <a:pt x="0" y="19"/>
                    <a:pt x="7" y="10"/>
                  </a:cubicBezTo>
                  <a:cubicBezTo>
                    <a:pt x="15" y="1"/>
                    <a:pt x="28" y="0"/>
                    <a:pt x="37" y="8"/>
                  </a:cubicBezTo>
                  <a:cubicBezTo>
                    <a:pt x="46" y="15"/>
                    <a:pt x="47" y="29"/>
                    <a:pt x="39" y="38"/>
                  </a:cubicBezTo>
                  <a:close/>
                </a:path>
              </a:pathLst>
            </a:custGeom>
            <a:solidFill>
              <a:srgbClr val="00C37B"/>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 name="Freeform 212">
              <a:extLst>
                <a:ext uri="{FF2B5EF4-FFF2-40B4-BE49-F238E27FC236}">
                  <a16:creationId xmlns:a16="http://schemas.microsoft.com/office/drawing/2014/main" id="{638EAC55-CAC2-4A8F-8549-7C18EFA57ED4}"/>
                </a:ext>
              </a:extLst>
            </p:cNvPr>
            <p:cNvSpPr>
              <a:spLocks/>
            </p:cNvSpPr>
            <p:nvPr/>
          </p:nvSpPr>
          <p:spPr bwMode="auto">
            <a:xfrm>
              <a:off x="6919912" y="5894388"/>
              <a:ext cx="176212" cy="142875"/>
            </a:xfrm>
            <a:custGeom>
              <a:avLst/>
              <a:gdLst>
                <a:gd name="T0" fmla="*/ 2 w 91"/>
                <a:gd name="T1" fmla="*/ 74 h 74"/>
                <a:gd name="T2" fmla="*/ 0 w 91"/>
                <a:gd name="T3" fmla="*/ 63 h 74"/>
                <a:gd name="T4" fmla="*/ 77 w 91"/>
                <a:gd name="T5" fmla="*/ 26 h 74"/>
                <a:gd name="T6" fmla="*/ 76 w 91"/>
                <a:gd name="T7" fmla="*/ 17 h 74"/>
                <a:gd name="T8" fmla="*/ 66 w 91"/>
                <a:gd name="T9" fmla="*/ 13 h 74"/>
                <a:gd name="T10" fmla="*/ 17 w 91"/>
                <a:gd name="T11" fmla="*/ 44 h 74"/>
                <a:gd name="T12" fmla="*/ 8 w 91"/>
                <a:gd name="T13" fmla="*/ 36 h 74"/>
                <a:gd name="T14" fmla="*/ 67 w 91"/>
                <a:gd name="T15" fmla="*/ 1 h 74"/>
                <a:gd name="T16" fmla="*/ 86 w 91"/>
                <a:gd name="T17" fmla="*/ 11 h 74"/>
                <a:gd name="T18" fmla="*/ 88 w 91"/>
                <a:gd name="T19" fmla="*/ 31 h 74"/>
                <a:gd name="T20" fmla="*/ 2 w 91"/>
                <a:gd name="T21" fmla="*/ 74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1" h="74">
                  <a:moveTo>
                    <a:pt x="2" y="74"/>
                  </a:moveTo>
                  <a:cubicBezTo>
                    <a:pt x="0" y="63"/>
                    <a:pt x="0" y="63"/>
                    <a:pt x="0" y="63"/>
                  </a:cubicBezTo>
                  <a:cubicBezTo>
                    <a:pt x="63" y="47"/>
                    <a:pt x="75" y="32"/>
                    <a:pt x="77" y="26"/>
                  </a:cubicBezTo>
                  <a:cubicBezTo>
                    <a:pt x="78" y="24"/>
                    <a:pt x="78" y="21"/>
                    <a:pt x="76" y="17"/>
                  </a:cubicBezTo>
                  <a:cubicBezTo>
                    <a:pt x="73" y="14"/>
                    <a:pt x="69" y="13"/>
                    <a:pt x="66" y="13"/>
                  </a:cubicBezTo>
                  <a:cubicBezTo>
                    <a:pt x="53" y="12"/>
                    <a:pt x="34" y="24"/>
                    <a:pt x="17" y="44"/>
                  </a:cubicBezTo>
                  <a:cubicBezTo>
                    <a:pt x="8" y="36"/>
                    <a:pt x="8" y="36"/>
                    <a:pt x="8" y="36"/>
                  </a:cubicBezTo>
                  <a:cubicBezTo>
                    <a:pt x="36" y="4"/>
                    <a:pt x="57" y="0"/>
                    <a:pt x="67" y="1"/>
                  </a:cubicBezTo>
                  <a:cubicBezTo>
                    <a:pt x="75" y="1"/>
                    <a:pt x="82" y="5"/>
                    <a:pt x="86" y="11"/>
                  </a:cubicBezTo>
                  <a:cubicBezTo>
                    <a:pt x="90" y="17"/>
                    <a:pt x="91" y="24"/>
                    <a:pt x="88" y="31"/>
                  </a:cubicBezTo>
                  <a:cubicBezTo>
                    <a:pt x="82" y="47"/>
                    <a:pt x="54" y="62"/>
                    <a:pt x="2" y="74"/>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1482735033"/>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ytuł 1">
            <a:extLst>
              <a:ext uri="{FF2B5EF4-FFF2-40B4-BE49-F238E27FC236}">
                <a16:creationId xmlns:a16="http://schemas.microsoft.com/office/drawing/2014/main" id="{DEA935F7-2904-40FF-A73D-3CCC59AF658E}"/>
              </a:ext>
            </a:extLst>
          </p:cNvPr>
          <p:cNvSpPr>
            <a:spLocks noGrp="1"/>
          </p:cNvSpPr>
          <p:nvPr>
            <p:ph type="title"/>
          </p:nvPr>
        </p:nvSpPr>
        <p:spPr/>
        <p:txBody>
          <a:bodyPr/>
          <a:lstStyle/>
          <a:p>
            <a:r>
              <a:rPr lang="en-US" sz="3200" dirty="0"/>
              <a:t>Field attributes for auto-implemented properties</a:t>
            </a:r>
          </a:p>
        </p:txBody>
      </p:sp>
      <p:sp>
        <p:nvSpPr>
          <p:cNvPr id="5" name="Symbol zastępczy tekstu 4">
            <a:extLst>
              <a:ext uri="{FF2B5EF4-FFF2-40B4-BE49-F238E27FC236}">
                <a16:creationId xmlns:a16="http://schemas.microsoft.com/office/drawing/2014/main" id="{026454BF-D147-4265-B180-0D1A4FC7A23F}"/>
              </a:ext>
            </a:extLst>
          </p:cNvPr>
          <p:cNvSpPr>
            <a:spLocks noGrp="1"/>
          </p:cNvSpPr>
          <p:nvPr>
            <p:ph type="body" sz="quarter" idx="10"/>
          </p:nvPr>
        </p:nvSpPr>
        <p:spPr/>
        <p:txBody>
          <a:bodyPr/>
          <a:lstStyle/>
          <a:p>
            <a:endParaRPr lang="en-US" dirty="0"/>
          </a:p>
        </p:txBody>
      </p:sp>
      <p:sp>
        <p:nvSpPr>
          <p:cNvPr id="3" name="Symbol zastępczy tekstu 2">
            <a:extLst>
              <a:ext uri="{FF2B5EF4-FFF2-40B4-BE49-F238E27FC236}">
                <a16:creationId xmlns:a16="http://schemas.microsoft.com/office/drawing/2014/main" id="{D0A37E72-B711-494C-A35F-F9DF4987AC76}"/>
              </a:ext>
            </a:extLst>
          </p:cNvPr>
          <p:cNvSpPr>
            <a:spLocks noGrp="1"/>
          </p:cNvSpPr>
          <p:nvPr>
            <p:ph type="body" sz="quarter" idx="11"/>
          </p:nvPr>
        </p:nvSpPr>
        <p:spPr/>
        <p:txBody>
          <a:bodyPr/>
          <a:lstStyle/>
          <a:p>
            <a:r>
              <a:rPr lang="en-US" dirty="0"/>
              <a:t>C# 7.2</a:t>
            </a:r>
          </a:p>
        </p:txBody>
      </p:sp>
      <p:sp>
        <p:nvSpPr>
          <p:cNvPr id="6" name="Symbol zastępczy tekstu 5">
            <a:extLst>
              <a:ext uri="{FF2B5EF4-FFF2-40B4-BE49-F238E27FC236}">
                <a16:creationId xmlns:a16="http://schemas.microsoft.com/office/drawing/2014/main" id="{9B3BF7E6-792E-4E7E-A1BA-67B18F143E96}"/>
              </a:ext>
            </a:extLst>
          </p:cNvPr>
          <p:cNvSpPr>
            <a:spLocks noGrp="1"/>
          </p:cNvSpPr>
          <p:nvPr>
            <p:ph type="body" sz="quarter" idx="12"/>
          </p:nvPr>
        </p:nvSpPr>
        <p:spPr/>
        <p:txBody>
          <a:bodyPr/>
          <a:lstStyle/>
          <a:p>
            <a:r>
              <a:rPr lang="en-US" dirty="0"/>
              <a:t>1</a:t>
            </a:r>
          </a:p>
        </p:txBody>
      </p:sp>
    </p:spTree>
    <p:extLst>
      <p:ext uri="{BB962C8B-B14F-4D97-AF65-F5344CB8AC3E}">
        <p14:creationId xmlns:p14="http://schemas.microsoft.com/office/powerpoint/2010/main" val="1541063764"/>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ytuł 1">
            <a:extLst>
              <a:ext uri="{FF2B5EF4-FFF2-40B4-BE49-F238E27FC236}">
                <a16:creationId xmlns:a16="http://schemas.microsoft.com/office/drawing/2014/main" id="{DEA935F7-2904-40FF-A73D-3CCC59AF658E}"/>
              </a:ext>
            </a:extLst>
          </p:cNvPr>
          <p:cNvSpPr>
            <a:spLocks noGrp="1"/>
          </p:cNvSpPr>
          <p:nvPr>
            <p:ph type="title"/>
          </p:nvPr>
        </p:nvSpPr>
        <p:spPr/>
        <p:txBody>
          <a:bodyPr/>
          <a:lstStyle/>
          <a:p>
            <a:r>
              <a:rPr lang="en-US" sz="3200" dirty="0"/>
              <a:t>Field attributes for auto-implemented properties</a:t>
            </a:r>
          </a:p>
        </p:txBody>
      </p:sp>
      <p:sp>
        <p:nvSpPr>
          <p:cNvPr id="5" name="Symbol zastępczy tekstu 4">
            <a:extLst>
              <a:ext uri="{FF2B5EF4-FFF2-40B4-BE49-F238E27FC236}">
                <a16:creationId xmlns:a16="http://schemas.microsoft.com/office/drawing/2014/main" id="{026454BF-D147-4265-B180-0D1A4FC7A23F}"/>
              </a:ext>
            </a:extLst>
          </p:cNvPr>
          <p:cNvSpPr>
            <a:spLocks noGrp="1"/>
          </p:cNvSpPr>
          <p:nvPr>
            <p:ph type="body" sz="quarter" idx="10"/>
          </p:nvPr>
        </p:nvSpPr>
        <p:spPr/>
        <p:txBody>
          <a:bodyPr/>
          <a:lstStyle/>
          <a:p>
            <a:endParaRPr lang="en-US" dirty="0"/>
          </a:p>
        </p:txBody>
      </p:sp>
      <p:sp>
        <p:nvSpPr>
          <p:cNvPr id="3" name="Symbol zastępczy tekstu 2">
            <a:extLst>
              <a:ext uri="{FF2B5EF4-FFF2-40B4-BE49-F238E27FC236}">
                <a16:creationId xmlns:a16="http://schemas.microsoft.com/office/drawing/2014/main" id="{D0A37E72-B711-494C-A35F-F9DF4987AC76}"/>
              </a:ext>
            </a:extLst>
          </p:cNvPr>
          <p:cNvSpPr>
            <a:spLocks noGrp="1"/>
          </p:cNvSpPr>
          <p:nvPr>
            <p:ph type="body" sz="quarter" idx="11"/>
          </p:nvPr>
        </p:nvSpPr>
        <p:spPr/>
        <p:txBody>
          <a:bodyPr/>
          <a:lstStyle/>
          <a:p>
            <a:r>
              <a:rPr lang="en-US" dirty="0"/>
              <a:t>C# 7.3</a:t>
            </a:r>
          </a:p>
        </p:txBody>
      </p:sp>
      <p:sp>
        <p:nvSpPr>
          <p:cNvPr id="6" name="Symbol zastępczy tekstu 5">
            <a:extLst>
              <a:ext uri="{FF2B5EF4-FFF2-40B4-BE49-F238E27FC236}">
                <a16:creationId xmlns:a16="http://schemas.microsoft.com/office/drawing/2014/main" id="{9B3BF7E6-792E-4E7E-A1BA-67B18F143E96}"/>
              </a:ext>
            </a:extLst>
          </p:cNvPr>
          <p:cNvSpPr>
            <a:spLocks noGrp="1"/>
          </p:cNvSpPr>
          <p:nvPr>
            <p:ph type="body" sz="quarter" idx="12"/>
          </p:nvPr>
        </p:nvSpPr>
        <p:spPr/>
        <p:txBody>
          <a:bodyPr/>
          <a:lstStyle/>
          <a:p>
            <a:r>
              <a:rPr lang="en-US" dirty="0"/>
              <a:t>2</a:t>
            </a:r>
          </a:p>
        </p:txBody>
      </p:sp>
    </p:spTree>
    <p:extLst>
      <p:ext uri="{BB962C8B-B14F-4D97-AF65-F5344CB8AC3E}">
        <p14:creationId xmlns:p14="http://schemas.microsoft.com/office/powerpoint/2010/main" val="166012617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pl-PL" dirty="0"/>
              <a:t>Agenda</a:t>
            </a:r>
            <a:endParaRPr lang="en-GB" dirty="0"/>
          </a:p>
        </p:txBody>
      </p:sp>
      <p:sp>
        <p:nvSpPr>
          <p:cNvPr id="5" name="Text Placeholder 4"/>
          <p:cNvSpPr>
            <a:spLocks noGrp="1"/>
          </p:cNvSpPr>
          <p:nvPr>
            <p:ph type="body" sz="quarter" idx="10"/>
          </p:nvPr>
        </p:nvSpPr>
        <p:spPr/>
        <p:txBody>
          <a:bodyPr/>
          <a:lstStyle/>
          <a:p>
            <a:pPr lvl="1"/>
            <a:r>
              <a:rPr lang="en-US" dirty="0">
                <a:solidFill>
                  <a:schemeClr val="bg1">
                    <a:lumMod val="95000"/>
                  </a:schemeClr>
                </a:solidFill>
              </a:rPr>
              <a:t>Introduction</a:t>
            </a:r>
          </a:p>
          <a:p>
            <a:pPr lvl="2"/>
            <a:r>
              <a:rPr lang="en-US" dirty="0">
                <a:solidFill>
                  <a:schemeClr val="bg1">
                    <a:lumMod val="95000"/>
                  </a:schemeClr>
                </a:solidFill>
              </a:rPr>
              <a:t>The recent C# versions timeline,</a:t>
            </a:r>
          </a:p>
          <a:p>
            <a:pPr lvl="2"/>
            <a:r>
              <a:rPr lang="en-US" dirty="0">
                <a:solidFill>
                  <a:schemeClr val="bg1">
                    <a:lumMod val="95000"/>
                  </a:schemeClr>
                </a:solidFill>
              </a:rPr>
              <a:t>C# 8.0 pre-requirements,</a:t>
            </a:r>
          </a:p>
          <a:p>
            <a:pPr lvl="2"/>
            <a:r>
              <a:rPr lang="en-US" dirty="0">
                <a:solidFill>
                  <a:schemeClr val="bg1">
                    <a:lumMod val="95000"/>
                  </a:schemeClr>
                </a:solidFill>
              </a:rPr>
              <a:t>dive into an example.</a:t>
            </a:r>
          </a:p>
        </p:txBody>
      </p:sp>
      <p:sp>
        <p:nvSpPr>
          <p:cNvPr id="6" name="Text Placeholder 5"/>
          <p:cNvSpPr>
            <a:spLocks noGrp="1"/>
          </p:cNvSpPr>
          <p:nvPr>
            <p:ph type="body" sz="quarter" idx="11"/>
          </p:nvPr>
        </p:nvSpPr>
        <p:spPr/>
        <p:txBody>
          <a:bodyPr/>
          <a:lstStyle/>
          <a:p>
            <a:r>
              <a:rPr lang="en-US" dirty="0"/>
              <a:t>We are going to talk about…</a:t>
            </a:r>
          </a:p>
        </p:txBody>
      </p:sp>
      <p:sp>
        <p:nvSpPr>
          <p:cNvPr id="8" name="Text Placeholder 4">
            <a:extLst>
              <a:ext uri="{FF2B5EF4-FFF2-40B4-BE49-F238E27FC236}">
                <a16:creationId xmlns:a16="http://schemas.microsoft.com/office/drawing/2014/main" id="{52580643-4575-408B-8BE0-E817BC2D360B}"/>
              </a:ext>
            </a:extLst>
          </p:cNvPr>
          <p:cNvSpPr txBox="1">
            <a:spLocks/>
          </p:cNvSpPr>
          <p:nvPr/>
        </p:nvSpPr>
        <p:spPr>
          <a:xfrm>
            <a:off x="227348" y="1815350"/>
            <a:ext cx="11700000" cy="4466201"/>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r>
              <a:rPr lang="en-US" dirty="0"/>
              <a:t>Introduction</a:t>
            </a:r>
          </a:p>
          <a:p>
            <a:pPr lvl="2"/>
            <a:r>
              <a:rPr lang="en-US" dirty="0"/>
              <a:t>The recent C# versions timeline,</a:t>
            </a:r>
          </a:p>
          <a:p>
            <a:pPr lvl="2"/>
            <a:r>
              <a:rPr lang="en-US" dirty="0"/>
              <a:t>C# 8.0 pre-requirements,</a:t>
            </a:r>
          </a:p>
          <a:p>
            <a:pPr lvl="2"/>
            <a:r>
              <a:rPr lang="en-US" dirty="0"/>
              <a:t>dive into an example.</a:t>
            </a:r>
          </a:p>
        </p:txBody>
      </p:sp>
    </p:spTree>
    <p:extLst>
      <p:ext uri="{BB962C8B-B14F-4D97-AF65-F5344CB8AC3E}">
        <p14:creationId xmlns:p14="http://schemas.microsoft.com/office/powerpoint/2010/main" val="69190792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
                                            <p:txEl>
                                              <p:pRg st="3" end="3"/>
                                            </p:txEl>
                                          </p:spTgt>
                                        </p:tgtEl>
                                        <p:attrNameLst>
                                          <p:attrName>style.visibility</p:attrName>
                                        </p:attrNameLst>
                                      </p:cBhvr>
                                      <p:to>
                                        <p:strVal val="visible"/>
                                      </p:to>
                                    </p:set>
                                    <p:animEffect transition="in" filter="fade">
                                      <p:cBhvr>
                                        <p:cTn id="7" dur="500"/>
                                        <p:tgtEl>
                                          <p:spTgt spid="8">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pl-PL" dirty="0"/>
              <a:t>Agenda</a:t>
            </a:r>
            <a:endParaRPr lang="en-GB" dirty="0"/>
          </a:p>
        </p:txBody>
      </p:sp>
      <p:sp>
        <p:nvSpPr>
          <p:cNvPr id="5" name="Text Placeholder 4"/>
          <p:cNvSpPr>
            <a:spLocks noGrp="1"/>
          </p:cNvSpPr>
          <p:nvPr>
            <p:ph type="body" sz="quarter" idx="10"/>
          </p:nvPr>
        </p:nvSpPr>
        <p:spPr/>
        <p:txBody>
          <a:bodyPr/>
          <a:lstStyle/>
          <a:p>
            <a:pPr lvl="1"/>
            <a:r>
              <a:rPr lang="en-US" dirty="0">
                <a:solidFill>
                  <a:schemeClr val="bg1">
                    <a:lumMod val="95000"/>
                  </a:schemeClr>
                </a:solidFill>
              </a:rPr>
              <a:t>What’s new in C# 7.3</a:t>
            </a:r>
          </a:p>
          <a:p>
            <a:pPr lvl="2"/>
            <a:r>
              <a:rPr lang="en-US" dirty="0">
                <a:solidFill>
                  <a:schemeClr val="bg1">
                    <a:lumMod val="95000"/>
                  </a:schemeClr>
                </a:solidFill>
              </a:rPr>
              <a:t>Enabling more efficient safe code,</a:t>
            </a:r>
          </a:p>
          <a:p>
            <a:pPr lvl="3"/>
            <a:r>
              <a:rPr lang="en-US" dirty="0">
                <a:solidFill>
                  <a:schemeClr val="bg1">
                    <a:lumMod val="95000"/>
                  </a:schemeClr>
                </a:solidFill>
              </a:rPr>
              <a:t>fixed fields without pinning access,</a:t>
            </a:r>
          </a:p>
          <a:p>
            <a:pPr lvl="3"/>
            <a:r>
              <a:rPr lang="en-US" dirty="0">
                <a:solidFill>
                  <a:schemeClr val="bg1">
                    <a:lumMod val="95000"/>
                  </a:schemeClr>
                </a:solidFill>
              </a:rPr>
              <a:t>local ref variables reassignment,</a:t>
            </a:r>
          </a:p>
          <a:p>
            <a:pPr lvl="3"/>
            <a:r>
              <a:rPr lang="en-US" dirty="0">
                <a:solidFill>
                  <a:schemeClr val="bg1">
                    <a:lumMod val="95000"/>
                  </a:schemeClr>
                </a:solidFill>
              </a:rPr>
              <a:t>array initializers with </a:t>
            </a:r>
            <a:r>
              <a:rPr lang="en-US" dirty="0" err="1">
                <a:solidFill>
                  <a:schemeClr val="bg1">
                    <a:lumMod val="95000"/>
                  </a:schemeClr>
                </a:solidFill>
              </a:rPr>
              <a:t>stackalloc</a:t>
            </a:r>
            <a:r>
              <a:rPr lang="en-US" dirty="0">
                <a:solidFill>
                  <a:schemeClr val="bg1">
                    <a:lumMod val="95000"/>
                  </a:schemeClr>
                </a:solidFill>
              </a:rPr>
              <a:t>,</a:t>
            </a:r>
          </a:p>
          <a:p>
            <a:pPr lvl="3"/>
            <a:r>
              <a:rPr lang="en-US" dirty="0">
                <a:solidFill>
                  <a:schemeClr val="bg1">
                    <a:lumMod val="95000"/>
                  </a:schemeClr>
                </a:solidFill>
              </a:rPr>
              <a:t>extended fixed support for types,</a:t>
            </a:r>
          </a:p>
          <a:p>
            <a:pPr lvl="3"/>
            <a:r>
              <a:rPr lang="en-US" dirty="0">
                <a:solidFill>
                  <a:schemeClr val="bg1">
                    <a:lumMod val="95000"/>
                  </a:schemeClr>
                </a:solidFill>
              </a:rPr>
              <a:t>enhanced generic constraints.</a:t>
            </a:r>
          </a:p>
          <a:p>
            <a:pPr lvl="2"/>
            <a:r>
              <a:rPr lang="en-US" dirty="0">
                <a:solidFill>
                  <a:schemeClr val="bg1">
                    <a:lumMod val="95000"/>
                  </a:schemeClr>
                </a:solidFill>
              </a:rPr>
              <a:t>Make existing features better</a:t>
            </a:r>
          </a:p>
          <a:p>
            <a:pPr lvl="3"/>
            <a:r>
              <a:rPr lang="en-US" dirty="0">
                <a:solidFill>
                  <a:schemeClr val="bg1">
                    <a:lumMod val="95000"/>
                  </a:schemeClr>
                </a:solidFill>
              </a:rPr>
              <a:t>equality comparator tuple support,</a:t>
            </a:r>
          </a:p>
          <a:p>
            <a:pPr lvl="3"/>
            <a:r>
              <a:rPr lang="en-US" dirty="0">
                <a:solidFill>
                  <a:schemeClr val="bg1">
                    <a:lumMod val="95000"/>
                  </a:schemeClr>
                </a:solidFill>
              </a:rPr>
              <a:t>field attributes for auto-implemented properties,</a:t>
            </a:r>
          </a:p>
          <a:p>
            <a:pPr lvl="3"/>
            <a:r>
              <a:rPr lang="en-US" dirty="0">
                <a:solidFill>
                  <a:schemeClr val="bg1">
                    <a:lumMod val="95000"/>
                  </a:schemeClr>
                </a:solidFill>
              </a:rPr>
              <a:t>in method overload,</a:t>
            </a:r>
          </a:p>
          <a:p>
            <a:pPr lvl="3"/>
            <a:r>
              <a:rPr lang="en-US" dirty="0">
                <a:solidFill>
                  <a:schemeClr val="bg1">
                    <a:lumMod val="95000"/>
                  </a:schemeClr>
                </a:solidFill>
              </a:rPr>
              <a:t>extend expression variables in initializers.</a:t>
            </a:r>
            <a:endParaRPr lang="en-GB" dirty="0">
              <a:solidFill>
                <a:schemeClr val="bg1">
                  <a:lumMod val="95000"/>
                </a:schemeClr>
              </a:solidFill>
            </a:endParaRPr>
          </a:p>
        </p:txBody>
      </p:sp>
      <p:sp>
        <p:nvSpPr>
          <p:cNvPr id="6" name="Text Placeholder 5"/>
          <p:cNvSpPr>
            <a:spLocks noGrp="1"/>
          </p:cNvSpPr>
          <p:nvPr>
            <p:ph type="body" sz="quarter" idx="11"/>
          </p:nvPr>
        </p:nvSpPr>
        <p:spPr/>
        <p:txBody>
          <a:bodyPr/>
          <a:lstStyle/>
          <a:p>
            <a:r>
              <a:rPr lang="en-US" dirty="0"/>
              <a:t>We are going to talk about…</a:t>
            </a:r>
          </a:p>
        </p:txBody>
      </p:sp>
      <p:sp>
        <p:nvSpPr>
          <p:cNvPr id="7" name="Text Placeholder 4">
            <a:extLst>
              <a:ext uri="{FF2B5EF4-FFF2-40B4-BE49-F238E27FC236}">
                <a16:creationId xmlns:a16="http://schemas.microsoft.com/office/drawing/2014/main" id="{ED73704D-A765-4676-B99A-0282F156294F}"/>
              </a:ext>
            </a:extLst>
          </p:cNvPr>
          <p:cNvSpPr txBox="1">
            <a:spLocks/>
          </p:cNvSpPr>
          <p:nvPr/>
        </p:nvSpPr>
        <p:spPr>
          <a:xfrm>
            <a:off x="227348" y="1815351"/>
            <a:ext cx="11700000" cy="4466201"/>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buClr>
                <a:srgbClr val="00C37B"/>
              </a:buClr>
            </a:pPr>
            <a:r>
              <a:rPr lang="en-US" dirty="0"/>
              <a:t>What’s new in C# 7.3</a:t>
            </a:r>
          </a:p>
          <a:p>
            <a:pPr lvl="2">
              <a:buClr>
                <a:srgbClr val="93E416"/>
              </a:buClr>
            </a:pPr>
            <a:r>
              <a:rPr lang="en-US" dirty="0"/>
              <a:t>Enabling more efficient safe code,</a:t>
            </a:r>
          </a:p>
          <a:p>
            <a:pPr lvl="3"/>
            <a:r>
              <a:rPr lang="en-US" dirty="0"/>
              <a:t>fixed fields without pinning access,</a:t>
            </a:r>
          </a:p>
          <a:p>
            <a:pPr lvl="3"/>
            <a:r>
              <a:rPr lang="en-US" dirty="0"/>
              <a:t>local ref variables reassignment,</a:t>
            </a:r>
          </a:p>
          <a:p>
            <a:pPr lvl="3"/>
            <a:r>
              <a:rPr lang="en-US" dirty="0"/>
              <a:t>array initializers with stackalloc,</a:t>
            </a:r>
          </a:p>
          <a:p>
            <a:pPr lvl="3"/>
            <a:r>
              <a:rPr lang="en-US" dirty="0"/>
              <a:t>extended fixed support for types,</a:t>
            </a:r>
          </a:p>
          <a:p>
            <a:pPr lvl="3"/>
            <a:r>
              <a:rPr lang="en-US" dirty="0"/>
              <a:t>enhanced generic constraints.</a:t>
            </a:r>
          </a:p>
          <a:p>
            <a:pPr lvl="2">
              <a:buClr>
                <a:srgbClr val="93E416"/>
              </a:buClr>
            </a:pPr>
            <a:r>
              <a:rPr lang="en-US" dirty="0"/>
              <a:t>Make existing features better</a:t>
            </a:r>
          </a:p>
          <a:p>
            <a:pPr lvl="3"/>
            <a:r>
              <a:rPr lang="en-US" dirty="0"/>
              <a:t>equality comparator tuple support,</a:t>
            </a:r>
          </a:p>
          <a:p>
            <a:pPr lvl="3"/>
            <a:r>
              <a:rPr lang="en-US" dirty="0"/>
              <a:t>field attributes for auto-implemented properties,</a:t>
            </a:r>
          </a:p>
          <a:p>
            <a:pPr lvl="3"/>
            <a:r>
              <a:rPr lang="en-US" dirty="0"/>
              <a:t>in method overload,</a:t>
            </a:r>
            <a:endParaRPr lang="en-GB" dirty="0"/>
          </a:p>
        </p:txBody>
      </p:sp>
    </p:spTree>
    <p:extLst>
      <p:ext uri="{BB962C8B-B14F-4D97-AF65-F5344CB8AC3E}">
        <p14:creationId xmlns:p14="http://schemas.microsoft.com/office/powerpoint/2010/main" val="363555273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
                                            <p:txEl>
                                              <p:pRg st="10" end="10"/>
                                            </p:txEl>
                                          </p:spTgt>
                                        </p:tgtEl>
                                        <p:attrNameLst>
                                          <p:attrName>style.visibility</p:attrName>
                                        </p:attrNameLst>
                                      </p:cBhvr>
                                      <p:to>
                                        <p:strVal val="visible"/>
                                      </p:to>
                                    </p:set>
                                    <p:animEffect transition="in" filter="fade">
                                      <p:cBhvr>
                                        <p:cTn id="7" dur="500"/>
                                        <p:tgtEl>
                                          <p:spTgt spid="7">
                                            <p:txEl>
                                              <p:pRg st="10" end="1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ymbol zastępczy tekstu 5">
            <a:extLst>
              <a:ext uri="{FF2B5EF4-FFF2-40B4-BE49-F238E27FC236}">
                <a16:creationId xmlns:a16="http://schemas.microsoft.com/office/drawing/2014/main" id="{EC19D1F0-CA19-48E4-B6B7-FE7D3388EB92}"/>
              </a:ext>
            </a:extLst>
          </p:cNvPr>
          <p:cNvSpPr>
            <a:spLocks noGrp="1"/>
          </p:cNvSpPr>
          <p:nvPr>
            <p:ph type="body" sz="quarter" idx="11"/>
          </p:nvPr>
        </p:nvSpPr>
        <p:spPr>
          <a:xfrm>
            <a:off x="6528049" y="2191647"/>
            <a:ext cx="5187760" cy="3160282"/>
          </a:xfrm>
        </p:spPr>
        <p:txBody>
          <a:bodyPr/>
          <a:lstStyle/>
          <a:p>
            <a:r>
              <a:rPr lang="en-US" dirty="0"/>
              <a:t>What’s new in C# 7.3</a:t>
            </a:r>
            <a:br>
              <a:rPr lang="en-US" dirty="0"/>
            </a:br>
            <a:r>
              <a:rPr lang="en-US" sz="2400" dirty="0"/>
              <a:t>In method overload</a:t>
            </a:r>
            <a:endParaRPr lang="en-US" dirty="0"/>
          </a:p>
        </p:txBody>
      </p:sp>
      <p:sp>
        <p:nvSpPr>
          <p:cNvPr id="28" name="Freeform 37">
            <a:extLst>
              <a:ext uri="{FF2B5EF4-FFF2-40B4-BE49-F238E27FC236}">
                <a16:creationId xmlns:a16="http://schemas.microsoft.com/office/drawing/2014/main" id="{C163FEF7-EB42-4298-AED9-19E8D9ACF2E4}"/>
              </a:ext>
            </a:extLst>
          </p:cNvPr>
          <p:cNvSpPr>
            <a:spLocks/>
          </p:cNvSpPr>
          <p:nvPr/>
        </p:nvSpPr>
        <p:spPr bwMode="auto">
          <a:xfrm>
            <a:off x="1703512" y="800837"/>
            <a:ext cx="844550" cy="793750"/>
          </a:xfrm>
          <a:custGeom>
            <a:avLst/>
            <a:gdLst>
              <a:gd name="T0" fmla="*/ 51 w 440"/>
              <a:gd name="T1" fmla="*/ 298 h 410"/>
              <a:gd name="T2" fmla="*/ 128 w 440"/>
              <a:gd name="T3" fmla="*/ 48 h 410"/>
              <a:gd name="T4" fmla="*/ 389 w 440"/>
              <a:gd name="T5" fmla="*/ 122 h 410"/>
              <a:gd name="T6" fmla="*/ 307 w 440"/>
              <a:gd name="T7" fmla="*/ 362 h 410"/>
              <a:gd name="T8" fmla="*/ 51 w 440"/>
              <a:gd name="T9" fmla="*/ 298 h 410"/>
            </a:gdLst>
            <a:ahLst/>
            <a:cxnLst>
              <a:cxn ang="0">
                <a:pos x="T0" y="T1"/>
              </a:cxn>
              <a:cxn ang="0">
                <a:pos x="T2" y="T3"/>
              </a:cxn>
              <a:cxn ang="0">
                <a:pos x="T4" y="T5"/>
              </a:cxn>
              <a:cxn ang="0">
                <a:pos x="T6" y="T7"/>
              </a:cxn>
              <a:cxn ang="0">
                <a:pos x="T8" y="T9"/>
              </a:cxn>
            </a:cxnLst>
            <a:rect l="0" t="0" r="r" b="b"/>
            <a:pathLst>
              <a:path w="440" h="410">
                <a:moveTo>
                  <a:pt x="51" y="298"/>
                </a:moveTo>
                <a:cubicBezTo>
                  <a:pt x="0" y="209"/>
                  <a:pt x="34" y="97"/>
                  <a:pt x="128" y="48"/>
                </a:cubicBezTo>
                <a:cubicBezTo>
                  <a:pt x="221" y="0"/>
                  <a:pt x="338" y="33"/>
                  <a:pt x="389" y="122"/>
                </a:cubicBezTo>
                <a:cubicBezTo>
                  <a:pt x="440" y="212"/>
                  <a:pt x="400" y="313"/>
                  <a:pt x="307" y="362"/>
                </a:cubicBezTo>
                <a:cubicBezTo>
                  <a:pt x="214" y="410"/>
                  <a:pt x="102" y="388"/>
                  <a:pt x="51" y="298"/>
                </a:cubicBezTo>
              </a:path>
            </a:pathLst>
          </a:custGeom>
          <a:solidFill>
            <a:srgbClr val="93E416"/>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3" name="Oval 20">
            <a:extLst>
              <a:ext uri="{FF2B5EF4-FFF2-40B4-BE49-F238E27FC236}">
                <a16:creationId xmlns:a16="http://schemas.microsoft.com/office/drawing/2014/main" id="{EE9B31FA-25FA-4CC1-863F-BB3D69944DF9}"/>
              </a:ext>
            </a:extLst>
          </p:cNvPr>
          <p:cNvSpPr/>
          <p:nvPr/>
        </p:nvSpPr>
        <p:spPr>
          <a:xfrm>
            <a:off x="499463" y="1441730"/>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42" name="Oval 20">
            <a:extLst>
              <a:ext uri="{FF2B5EF4-FFF2-40B4-BE49-F238E27FC236}">
                <a16:creationId xmlns:a16="http://schemas.microsoft.com/office/drawing/2014/main" id="{9C48F09E-5C3B-4BEA-BD8F-85A5DCB0325B}"/>
              </a:ext>
            </a:extLst>
          </p:cNvPr>
          <p:cNvSpPr/>
          <p:nvPr/>
        </p:nvSpPr>
        <p:spPr>
          <a:xfrm>
            <a:off x="2380063" y="997006"/>
            <a:ext cx="1356623" cy="128178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7" name="Group 571">
            <a:extLst>
              <a:ext uri="{FF2B5EF4-FFF2-40B4-BE49-F238E27FC236}">
                <a16:creationId xmlns:a16="http://schemas.microsoft.com/office/drawing/2014/main" id="{5F0C80DB-CE1A-4915-AD70-0EB7D506BB5C}"/>
              </a:ext>
            </a:extLst>
          </p:cNvPr>
          <p:cNvGrpSpPr/>
          <p:nvPr/>
        </p:nvGrpSpPr>
        <p:grpSpPr>
          <a:xfrm>
            <a:off x="913139" y="1762984"/>
            <a:ext cx="1177271" cy="1298911"/>
            <a:chOff x="6588126" y="3724275"/>
            <a:chExt cx="430212" cy="474663"/>
          </a:xfrm>
        </p:grpSpPr>
        <p:sp>
          <p:nvSpPr>
            <p:cNvPr id="9" name="Freeform 117">
              <a:extLst>
                <a:ext uri="{FF2B5EF4-FFF2-40B4-BE49-F238E27FC236}">
                  <a16:creationId xmlns:a16="http://schemas.microsoft.com/office/drawing/2014/main" id="{F89760DC-1CEB-42DE-B3E5-722544E3C0BD}"/>
                </a:ext>
              </a:extLst>
            </p:cNvPr>
            <p:cNvSpPr>
              <a:spLocks/>
            </p:cNvSpPr>
            <p:nvPr/>
          </p:nvSpPr>
          <p:spPr bwMode="auto">
            <a:xfrm>
              <a:off x="6635751" y="3724275"/>
              <a:ext cx="336550" cy="158750"/>
            </a:xfrm>
            <a:custGeom>
              <a:avLst/>
              <a:gdLst>
                <a:gd name="T0" fmla="*/ 54 w 175"/>
                <a:gd name="T1" fmla="*/ 55 h 82"/>
                <a:gd name="T2" fmla="*/ 71 w 175"/>
                <a:gd name="T3" fmla="*/ 74 h 82"/>
                <a:gd name="T4" fmla="*/ 171 w 175"/>
                <a:gd name="T5" fmla="*/ 74 h 82"/>
                <a:gd name="T6" fmla="*/ 171 w 175"/>
                <a:gd name="T7" fmla="*/ 51 h 82"/>
                <a:gd name="T8" fmla="*/ 134 w 175"/>
                <a:gd name="T9" fmla="*/ 51 h 82"/>
                <a:gd name="T10" fmla="*/ 120 w 175"/>
                <a:gd name="T11" fmla="*/ 37 h 82"/>
                <a:gd name="T12" fmla="*/ 120 w 175"/>
                <a:gd name="T13" fmla="*/ 0 h 82"/>
                <a:gd name="T14" fmla="*/ 18 w 175"/>
                <a:gd name="T15" fmla="*/ 0 h 82"/>
                <a:gd name="T16" fmla="*/ 3 w 175"/>
                <a:gd name="T17" fmla="*/ 44 h 82"/>
                <a:gd name="T18" fmla="*/ 37 w 175"/>
                <a:gd name="T19" fmla="*/ 46 h 82"/>
                <a:gd name="T20" fmla="*/ 54 w 175"/>
                <a:gd name="T21" fmla="*/ 55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75" h="82">
                  <a:moveTo>
                    <a:pt x="54" y="55"/>
                  </a:moveTo>
                  <a:cubicBezTo>
                    <a:pt x="54" y="55"/>
                    <a:pt x="67" y="69"/>
                    <a:pt x="71" y="74"/>
                  </a:cubicBezTo>
                  <a:cubicBezTo>
                    <a:pt x="77" y="82"/>
                    <a:pt x="135" y="67"/>
                    <a:pt x="171" y="74"/>
                  </a:cubicBezTo>
                  <a:cubicBezTo>
                    <a:pt x="175" y="75"/>
                    <a:pt x="171" y="51"/>
                    <a:pt x="171" y="51"/>
                  </a:cubicBezTo>
                  <a:cubicBezTo>
                    <a:pt x="134" y="51"/>
                    <a:pt x="134" y="51"/>
                    <a:pt x="134" y="51"/>
                  </a:cubicBezTo>
                  <a:cubicBezTo>
                    <a:pt x="126" y="51"/>
                    <a:pt x="120" y="45"/>
                    <a:pt x="120" y="37"/>
                  </a:cubicBezTo>
                  <a:cubicBezTo>
                    <a:pt x="120" y="0"/>
                    <a:pt x="120" y="0"/>
                    <a:pt x="120" y="0"/>
                  </a:cubicBezTo>
                  <a:cubicBezTo>
                    <a:pt x="18" y="0"/>
                    <a:pt x="18" y="0"/>
                    <a:pt x="18" y="0"/>
                  </a:cubicBezTo>
                  <a:cubicBezTo>
                    <a:pt x="0" y="3"/>
                    <a:pt x="3" y="44"/>
                    <a:pt x="3" y="44"/>
                  </a:cubicBezTo>
                  <a:cubicBezTo>
                    <a:pt x="37" y="46"/>
                    <a:pt x="37" y="46"/>
                    <a:pt x="37" y="46"/>
                  </a:cubicBezTo>
                  <a:cubicBezTo>
                    <a:pt x="50" y="48"/>
                    <a:pt x="50" y="50"/>
                    <a:pt x="54" y="55"/>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 name="Freeform 118">
              <a:extLst>
                <a:ext uri="{FF2B5EF4-FFF2-40B4-BE49-F238E27FC236}">
                  <a16:creationId xmlns:a16="http://schemas.microsoft.com/office/drawing/2014/main" id="{3DDE26F3-2EE0-458D-8942-BB81C990A779}"/>
                </a:ext>
              </a:extLst>
            </p:cNvPr>
            <p:cNvSpPr>
              <a:spLocks/>
            </p:cNvSpPr>
            <p:nvPr/>
          </p:nvSpPr>
          <p:spPr bwMode="auto">
            <a:xfrm>
              <a:off x="6875463" y="3729038"/>
              <a:ext cx="84137" cy="76200"/>
            </a:xfrm>
            <a:custGeom>
              <a:avLst/>
              <a:gdLst>
                <a:gd name="T0" fmla="*/ 9 w 43"/>
                <a:gd name="T1" fmla="*/ 39 h 39"/>
                <a:gd name="T2" fmla="*/ 43 w 43"/>
                <a:gd name="T3" fmla="*/ 39 h 39"/>
                <a:gd name="T4" fmla="*/ 42 w 43"/>
                <a:gd name="T5" fmla="*/ 38 h 39"/>
                <a:gd name="T6" fmla="*/ 4 w 43"/>
                <a:gd name="T7" fmla="*/ 0 h 39"/>
                <a:gd name="T8" fmla="*/ 9 w 43"/>
                <a:gd name="T9" fmla="*/ 39 h 39"/>
              </a:gdLst>
              <a:ahLst/>
              <a:cxnLst>
                <a:cxn ang="0">
                  <a:pos x="T0" y="T1"/>
                </a:cxn>
                <a:cxn ang="0">
                  <a:pos x="T2" y="T3"/>
                </a:cxn>
                <a:cxn ang="0">
                  <a:pos x="T4" y="T5"/>
                </a:cxn>
                <a:cxn ang="0">
                  <a:pos x="T6" y="T7"/>
                </a:cxn>
                <a:cxn ang="0">
                  <a:pos x="T8" y="T9"/>
                </a:cxn>
              </a:cxnLst>
              <a:rect l="0" t="0" r="r" b="b"/>
              <a:pathLst>
                <a:path w="43" h="39">
                  <a:moveTo>
                    <a:pt x="9" y="39"/>
                  </a:moveTo>
                  <a:cubicBezTo>
                    <a:pt x="43" y="39"/>
                    <a:pt x="43" y="39"/>
                    <a:pt x="43" y="39"/>
                  </a:cubicBezTo>
                  <a:cubicBezTo>
                    <a:pt x="43" y="38"/>
                    <a:pt x="43" y="38"/>
                    <a:pt x="42" y="38"/>
                  </a:cubicBezTo>
                  <a:cubicBezTo>
                    <a:pt x="42" y="38"/>
                    <a:pt x="5" y="0"/>
                    <a:pt x="4" y="0"/>
                  </a:cubicBezTo>
                  <a:cubicBezTo>
                    <a:pt x="4" y="0"/>
                    <a:pt x="0" y="39"/>
                    <a:pt x="9" y="39"/>
                  </a:cubicBezTo>
                  <a:close/>
                </a:path>
              </a:pathLst>
            </a:custGeom>
            <a:solidFill>
              <a:srgbClr val="2A0D3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 name="Freeform 119">
              <a:extLst>
                <a:ext uri="{FF2B5EF4-FFF2-40B4-BE49-F238E27FC236}">
                  <a16:creationId xmlns:a16="http://schemas.microsoft.com/office/drawing/2014/main" id="{D4C5780B-C82D-4586-A9B3-240FBBFC8FA2}"/>
                </a:ext>
              </a:extLst>
            </p:cNvPr>
            <p:cNvSpPr>
              <a:spLocks noEditPoints="1"/>
            </p:cNvSpPr>
            <p:nvPr/>
          </p:nvSpPr>
          <p:spPr bwMode="auto">
            <a:xfrm>
              <a:off x="6588126" y="3821113"/>
              <a:ext cx="430212" cy="377825"/>
            </a:xfrm>
            <a:custGeom>
              <a:avLst/>
              <a:gdLst>
                <a:gd name="T0" fmla="*/ 93 w 223"/>
                <a:gd name="T1" fmla="*/ 34 h 195"/>
                <a:gd name="T2" fmla="*/ 61 w 223"/>
                <a:gd name="T3" fmla="*/ 6 h 195"/>
                <a:gd name="T4" fmla="*/ 29 w 223"/>
                <a:gd name="T5" fmla="*/ 3 h 195"/>
                <a:gd name="T6" fmla="*/ 0 w 223"/>
                <a:gd name="T7" fmla="*/ 20 h 195"/>
                <a:gd name="T8" fmla="*/ 0 w 223"/>
                <a:gd name="T9" fmla="*/ 159 h 195"/>
                <a:gd name="T10" fmla="*/ 223 w 223"/>
                <a:gd name="T11" fmla="*/ 159 h 195"/>
                <a:gd name="T12" fmla="*/ 223 w 223"/>
                <a:gd name="T13" fmla="*/ 48 h 195"/>
                <a:gd name="T14" fmla="*/ 93 w 223"/>
                <a:gd name="T15" fmla="*/ 34 h 195"/>
                <a:gd name="T16" fmla="*/ 200 w 223"/>
                <a:gd name="T17" fmla="*/ 94 h 195"/>
                <a:gd name="T18" fmla="*/ 135 w 223"/>
                <a:gd name="T19" fmla="*/ 94 h 195"/>
                <a:gd name="T20" fmla="*/ 135 w 223"/>
                <a:gd name="T21" fmla="*/ 78 h 195"/>
                <a:gd name="T22" fmla="*/ 156 w 223"/>
                <a:gd name="T23" fmla="*/ 57 h 195"/>
                <a:gd name="T24" fmla="*/ 200 w 223"/>
                <a:gd name="T25" fmla="*/ 57 h 195"/>
                <a:gd name="T26" fmla="*/ 200 w 223"/>
                <a:gd name="T27" fmla="*/ 94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23" h="195">
                  <a:moveTo>
                    <a:pt x="93" y="34"/>
                  </a:moveTo>
                  <a:cubicBezTo>
                    <a:pt x="91" y="34"/>
                    <a:pt x="70" y="3"/>
                    <a:pt x="61" y="6"/>
                  </a:cubicBezTo>
                  <a:cubicBezTo>
                    <a:pt x="29" y="3"/>
                    <a:pt x="29" y="3"/>
                    <a:pt x="29" y="3"/>
                  </a:cubicBezTo>
                  <a:cubicBezTo>
                    <a:pt x="10" y="0"/>
                    <a:pt x="0" y="12"/>
                    <a:pt x="0" y="20"/>
                  </a:cubicBezTo>
                  <a:cubicBezTo>
                    <a:pt x="0" y="159"/>
                    <a:pt x="0" y="159"/>
                    <a:pt x="0" y="159"/>
                  </a:cubicBezTo>
                  <a:cubicBezTo>
                    <a:pt x="33" y="195"/>
                    <a:pt x="142" y="157"/>
                    <a:pt x="223" y="159"/>
                  </a:cubicBezTo>
                  <a:cubicBezTo>
                    <a:pt x="223" y="48"/>
                    <a:pt x="223" y="48"/>
                    <a:pt x="223" y="48"/>
                  </a:cubicBezTo>
                  <a:cubicBezTo>
                    <a:pt x="222" y="25"/>
                    <a:pt x="93" y="34"/>
                    <a:pt x="93" y="34"/>
                  </a:cubicBezTo>
                  <a:close/>
                  <a:moveTo>
                    <a:pt x="200" y="94"/>
                  </a:moveTo>
                  <a:cubicBezTo>
                    <a:pt x="135" y="94"/>
                    <a:pt x="135" y="94"/>
                    <a:pt x="135" y="94"/>
                  </a:cubicBezTo>
                  <a:cubicBezTo>
                    <a:pt x="135" y="78"/>
                    <a:pt x="135" y="78"/>
                    <a:pt x="135" y="78"/>
                  </a:cubicBezTo>
                  <a:cubicBezTo>
                    <a:pt x="135" y="67"/>
                    <a:pt x="144" y="57"/>
                    <a:pt x="156" y="57"/>
                  </a:cubicBezTo>
                  <a:cubicBezTo>
                    <a:pt x="200" y="57"/>
                    <a:pt x="200" y="57"/>
                    <a:pt x="200" y="57"/>
                  </a:cubicBezTo>
                  <a:lnTo>
                    <a:pt x="200" y="94"/>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1349170477"/>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ytuł 1">
            <a:extLst>
              <a:ext uri="{FF2B5EF4-FFF2-40B4-BE49-F238E27FC236}">
                <a16:creationId xmlns:a16="http://schemas.microsoft.com/office/drawing/2014/main" id="{DEA935F7-2904-40FF-A73D-3CCC59AF658E}"/>
              </a:ext>
            </a:extLst>
          </p:cNvPr>
          <p:cNvSpPr>
            <a:spLocks noGrp="1"/>
          </p:cNvSpPr>
          <p:nvPr>
            <p:ph type="title"/>
          </p:nvPr>
        </p:nvSpPr>
        <p:spPr/>
        <p:txBody>
          <a:bodyPr/>
          <a:lstStyle/>
          <a:p>
            <a:r>
              <a:rPr lang="en-US" sz="3200" dirty="0"/>
              <a:t>In method overload</a:t>
            </a:r>
          </a:p>
        </p:txBody>
      </p:sp>
      <p:sp>
        <p:nvSpPr>
          <p:cNvPr id="5" name="Symbol zastępczy tekstu 4">
            <a:extLst>
              <a:ext uri="{FF2B5EF4-FFF2-40B4-BE49-F238E27FC236}">
                <a16:creationId xmlns:a16="http://schemas.microsoft.com/office/drawing/2014/main" id="{026454BF-D147-4265-B180-0D1A4FC7A23F}"/>
              </a:ext>
            </a:extLst>
          </p:cNvPr>
          <p:cNvSpPr>
            <a:spLocks noGrp="1"/>
          </p:cNvSpPr>
          <p:nvPr>
            <p:ph type="body" sz="quarter" idx="10"/>
          </p:nvPr>
        </p:nvSpPr>
        <p:spPr/>
        <p:txBody>
          <a:bodyPr/>
          <a:lstStyle/>
          <a:p>
            <a:endParaRPr lang="en-US" dirty="0"/>
          </a:p>
        </p:txBody>
      </p:sp>
      <p:sp>
        <p:nvSpPr>
          <p:cNvPr id="3" name="Symbol zastępczy tekstu 2">
            <a:extLst>
              <a:ext uri="{FF2B5EF4-FFF2-40B4-BE49-F238E27FC236}">
                <a16:creationId xmlns:a16="http://schemas.microsoft.com/office/drawing/2014/main" id="{D0A37E72-B711-494C-A35F-F9DF4987AC76}"/>
              </a:ext>
            </a:extLst>
          </p:cNvPr>
          <p:cNvSpPr>
            <a:spLocks noGrp="1"/>
          </p:cNvSpPr>
          <p:nvPr>
            <p:ph type="body" sz="quarter" idx="11"/>
          </p:nvPr>
        </p:nvSpPr>
        <p:spPr/>
        <p:txBody>
          <a:bodyPr/>
          <a:lstStyle/>
          <a:p>
            <a:r>
              <a:rPr lang="en-US" dirty="0"/>
              <a:t>C# 7.2</a:t>
            </a:r>
          </a:p>
        </p:txBody>
      </p:sp>
      <p:sp>
        <p:nvSpPr>
          <p:cNvPr id="6" name="Symbol zastępczy tekstu 5">
            <a:extLst>
              <a:ext uri="{FF2B5EF4-FFF2-40B4-BE49-F238E27FC236}">
                <a16:creationId xmlns:a16="http://schemas.microsoft.com/office/drawing/2014/main" id="{9B3BF7E6-792E-4E7E-A1BA-67B18F143E96}"/>
              </a:ext>
            </a:extLst>
          </p:cNvPr>
          <p:cNvSpPr>
            <a:spLocks noGrp="1"/>
          </p:cNvSpPr>
          <p:nvPr>
            <p:ph type="body" sz="quarter" idx="12"/>
          </p:nvPr>
        </p:nvSpPr>
        <p:spPr/>
        <p:txBody>
          <a:bodyPr/>
          <a:lstStyle/>
          <a:p>
            <a:r>
              <a:rPr lang="en-US" dirty="0"/>
              <a:t>1</a:t>
            </a:r>
          </a:p>
        </p:txBody>
      </p:sp>
    </p:spTree>
    <p:extLst>
      <p:ext uri="{BB962C8B-B14F-4D97-AF65-F5344CB8AC3E}">
        <p14:creationId xmlns:p14="http://schemas.microsoft.com/office/powerpoint/2010/main" val="861131974"/>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ytuł 1">
            <a:extLst>
              <a:ext uri="{FF2B5EF4-FFF2-40B4-BE49-F238E27FC236}">
                <a16:creationId xmlns:a16="http://schemas.microsoft.com/office/drawing/2014/main" id="{DEA935F7-2904-40FF-A73D-3CCC59AF658E}"/>
              </a:ext>
            </a:extLst>
          </p:cNvPr>
          <p:cNvSpPr>
            <a:spLocks noGrp="1"/>
          </p:cNvSpPr>
          <p:nvPr>
            <p:ph type="title"/>
          </p:nvPr>
        </p:nvSpPr>
        <p:spPr/>
        <p:txBody>
          <a:bodyPr/>
          <a:lstStyle/>
          <a:p>
            <a:r>
              <a:rPr lang="en-US" sz="3200" dirty="0"/>
              <a:t>In method overload</a:t>
            </a:r>
          </a:p>
        </p:txBody>
      </p:sp>
      <p:sp>
        <p:nvSpPr>
          <p:cNvPr id="5" name="Symbol zastępczy tekstu 4">
            <a:extLst>
              <a:ext uri="{FF2B5EF4-FFF2-40B4-BE49-F238E27FC236}">
                <a16:creationId xmlns:a16="http://schemas.microsoft.com/office/drawing/2014/main" id="{026454BF-D147-4265-B180-0D1A4FC7A23F}"/>
              </a:ext>
            </a:extLst>
          </p:cNvPr>
          <p:cNvSpPr>
            <a:spLocks noGrp="1"/>
          </p:cNvSpPr>
          <p:nvPr>
            <p:ph type="body" sz="quarter" idx="10"/>
          </p:nvPr>
        </p:nvSpPr>
        <p:spPr/>
        <p:txBody>
          <a:bodyPr/>
          <a:lstStyle/>
          <a:p>
            <a:endParaRPr lang="en-US" dirty="0"/>
          </a:p>
        </p:txBody>
      </p:sp>
      <p:sp>
        <p:nvSpPr>
          <p:cNvPr id="3" name="Symbol zastępczy tekstu 2">
            <a:extLst>
              <a:ext uri="{FF2B5EF4-FFF2-40B4-BE49-F238E27FC236}">
                <a16:creationId xmlns:a16="http://schemas.microsoft.com/office/drawing/2014/main" id="{D0A37E72-B711-494C-A35F-F9DF4987AC76}"/>
              </a:ext>
            </a:extLst>
          </p:cNvPr>
          <p:cNvSpPr>
            <a:spLocks noGrp="1"/>
          </p:cNvSpPr>
          <p:nvPr>
            <p:ph type="body" sz="quarter" idx="11"/>
          </p:nvPr>
        </p:nvSpPr>
        <p:spPr/>
        <p:txBody>
          <a:bodyPr/>
          <a:lstStyle/>
          <a:p>
            <a:r>
              <a:rPr lang="en-US" dirty="0"/>
              <a:t>C# 7.3</a:t>
            </a:r>
          </a:p>
        </p:txBody>
      </p:sp>
      <p:sp>
        <p:nvSpPr>
          <p:cNvPr id="6" name="Symbol zastępczy tekstu 5">
            <a:extLst>
              <a:ext uri="{FF2B5EF4-FFF2-40B4-BE49-F238E27FC236}">
                <a16:creationId xmlns:a16="http://schemas.microsoft.com/office/drawing/2014/main" id="{9B3BF7E6-792E-4E7E-A1BA-67B18F143E96}"/>
              </a:ext>
            </a:extLst>
          </p:cNvPr>
          <p:cNvSpPr>
            <a:spLocks noGrp="1"/>
          </p:cNvSpPr>
          <p:nvPr>
            <p:ph type="body" sz="quarter" idx="12"/>
          </p:nvPr>
        </p:nvSpPr>
        <p:spPr/>
        <p:txBody>
          <a:bodyPr/>
          <a:lstStyle/>
          <a:p>
            <a:r>
              <a:rPr lang="en-US" dirty="0"/>
              <a:t>2</a:t>
            </a:r>
          </a:p>
        </p:txBody>
      </p:sp>
    </p:spTree>
    <p:extLst>
      <p:ext uri="{BB962C8B-B14F-4D97-AF65-F5344CB8AC3E}">
        <p14:creationId xmlns:p14="http://schemas.microsoft.com/office/powerpoint/2010/main" val="1581933240"/>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pl-PL" dirty="0"/>
              <a:t>Agenda</a:t>
            </a:r>
            <a:endParaRPr lang="en-GB" dirty="0"/>
          </a:p>
        </p:txBody>
      </p:sp>
      <p:sp>
        <p:nvSpPr>
          <p:cNvPr id="5" name="Text Placeholder 4"/>
          <p:cNvSpPr>
            <a:spLocks noGrp="1"/>
          </p:cNvSpPr>
          <p:nvPr>
            <p:ph type="body" sz="quarter" idx="10"/>
          </p:nvPr>
        </p:nvSpPr>
        <p:spPr/>
        <p:txBody>
          <a:bodyPr/>
          <a:lstStyle/>
          <a:p>
            <a:pPr lvl="1"/>
            <a:r>
              <a:rPr lang="en-US" dirty="0">
                <a:solidFill>
                  <a:schemeClr val="bg1">
                    <a:lumMod val="95000"/>
                  </a:schemeClr>
                </a:solidFill>
              </a:rPr>
              <a:t>What’s new in C# 7.3</a:t>
            </a:r>
          </a:p>
          <a:p>
            <a:pPr lvl="2"/>
            <a:r>
              <a:rPr lang="en-US" dirty="0">
                <a:solidFill>
                  <a:schemeClr val="bg1">
                    <a:lumMod val="95000"/>
                  </a:schemeClr>
                </a:solidFill>
              </a:rPr>
              <a:t>Enabling more efficient safe code,</a:t>
            </a:r>
          </a:p>
          <a:p>
            <a:pPr lvl="3"/>
            <a:r>
              <a:rPr lang="en-US" dirty="0">
                <a:solidFill>
                  <a:schemeClr val="bg1">
                    <a:lumMod val="95000"/>
                  </a:schemeClr>
                </a:solidFill>
              </a:rPr>
              <a:t>fixed fields without pinning access,</a:t>
            </a:r>
          </a:p>
          <a:p>
            <a:pPr lvl="3"/>
            <a:r>
              <a:rPr lang="en-US" dirty="0">
                <a:solidFill>
                  <a:schemeClr val="bg1">
                    <a:lumMod val="95000"/>
                  </a:schemeClr>
                </a:solidFill>
              </a:rPr>
              <a:t>local ref variables reassignment,</a:t>
            </a:r>
          </a:p>
          <a:p>
            <a:pPr lvl="3"/>
            <a:r>
              <a:rPr lang="en-US" dirty="0">
                <a:solidFill>
                  <a:schemeClr val="bg1">
                    <a:lumMod val="95000"/>
                  </a:schemeClr>
                </a:solidFill>
              </a:rPr>
              <a:t>array initializers with </a:t>
            </a:r>
            <a:r>
              <a:rPr lang="en-US" dirty="0" err="1">
                <a:solidFill>
                  <a:schemeClr val="bg1">
                    <a:lumMod val="95000"/>
                  </a:schemeClr>
                </a:solidFill>
              </a:rPr>
              <a:t>stackalloc</a:t>
            </a:r>
            <a:r>
              <a:rPr lang="en-US" dirty="0">
                <a:solidFill>
                  <a:schemeClr val="bg1">
                    <a:lumMod val="95000"/>
                  </a:schemeClr>
                </a:solidFill>
              </a:rPr>
              <a:t>,</a:t>
            </a:r>
          </a:p>
          <a:p>
            <a:pPr lvl="3"/>
            <a:r>
              <a:rPr lang="en-US" dirty="0">
                <a:solidFill>
                  <a:schemeClr val="bg1">
                    <a:lumMod val="95000"/>
                  </a:schemeClr>
                </a:solidFill>
              </a:rPr>
              <a:t>extended fixed support for types,</a:t>
            </a:r>
          </a:p>
          <a:p>
            <a:pPr lvl="3"/>
            <a:r>
              <a:rPr lang="en-US" dirty="0">
                <a:solidFill>
                  <a:schemeClr val="bg1">
                    <a:lumMod val="95000"/>
                  </a:schemeClr>
                </a:solidFill>
              </a:rPr>
              <a:t>enhanced generic constraints.</a:t>
            </a:r>
          </a:p>
          <a:p>
            <a:pPr lvl="2"/>
            <a:r>
              <a:rPr lang="en-US" dirty="0">
                <a:solidFill>
                  <a:schemeClr val="bg1">
                    <a:lumMod val="95000"/>
                  </a:schemeClr>
                </a:solidFill>
              </a:rPr>
              <a:t>Make existing features better</a:t>
            </a:r>
          </a:p>
          <a:p>
            <a:pPr lvl="3"/>
            <a:r>
              <a:rPr lang="en-US" dirty="0">
                <a:solidFill>
                  <a:schemeClr val="bg1">
                    <a:lumMod val="95000"/>
                  </a:schemeClr>
                </a:solidFill>
              </a:rPr>
              <a:t>equality comparator tuple support,</a:t>
            </a:r>
          </a:p>
          <a:p>
            <a:pPr lvl="3"/>
            <a:r>
              <a:rPr lang="en-US" dirty="0">
                <a:solidFill>
                  <a:schemeClr val="bg1">
                    <a:lumMod val="95000"/>
                  </a:schemeClr>
                </a:solidFill>
              </a:rPr>
              <a:t>field attributes for auto-implemented properties,</a:t>
            </a:r>
          </a:p>
          <a:p>
            <a:pPr lvl="3"/>
            <a:r>
              <a:rPr lang="en-US" dirty="0">
                <a:solidFill>
                  <a:schemeClr val="bg1">
                    <a:lumMod val="95000"/>
                  </a:schemeClr>
                </a:solidFill>
              </a:rPr>
              <a:t>in method overload,</a:t>
            </a:r>
          </a:p>
          <a:p>
            <a:pPr lvl="3"/>
            <a:r>
              <a:rPr lang="en-US" dirty="0">
                <a:solidFill>
                  <a:schemeClr val="bg1">
                    <a:lumMod val="95000"/>
                  </a:schemeClr>
                </a:solidFill>
              </a:rPr>
              <a:t>extend expression variables in initializers.</a:t>
            </a:r>
            <a:endParaRPr lang="en-GB" dirty="0">
              <a:solidFill>
                <a:schemeClr val="bg1">
                  <a:lumMod val="95000"/>
                </a:schemeClr>
              </a:solidFill>
            </a:endParaRPr>
          </a:p>
        </p:txBody>
      </p:sp>
      <p:sp>
        <p:nvSpPr>
          <p:cNvPr id="6" name="Text Placeholder 5"/>
          <p:cNvSpPr>
            <a:spLocks noGrp="1"/>
          </p:cNvSpPr>
          <p:nvPr>
            <p:ph type="body" sz="quarter" idx="11"/>
          </p:nvPr>
        </p:nvSpPr>
        <p:spPr/>
        <p:txBody>
          <a:bodyPr/>
          <a:lstStyle/>
          <a:p>
            <a:r>
              <a:rPr lang="en-US" dirty="0"/>
              <a:t>We are going to talk about…</a:t>
            </a:r>
          </a:p>
        </p:txBody>
      </p:sp>
      <p:sp>
        <p:nvSpPr>
          <p:cNvPr id="7" name="Text Placeholder 4">
            <a:extLst>
              <a:ext uri="{FF2B5EF4-FFF2-40B4-BE49-F238E27FC236}">
                <a16:creationId xmlns:a16="http://schemas.microsoft.com/office/drawing/2014/main" id="{ED73704D-A765-4676-B99A-0282F156294F}"/>
              </a:ext>
            </a:extLst>
          </p:cNvPr>
          <p:cNvSpPr txBox="1">
            <a:spLocks/>
          </p:cNvSpPr>
          <p:nvPr/>
        </p:nvSpPr>
        <p:spPr>
          <a:xfrm>
            <a:off x="227348" y="1815351"/>
            <a:ext cx="11700000" cy="4466201"/>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buClr>
                <a:srgbClr val="00C37B"/>
              </a:buClr>
            </a:pPr>
            <a:r>
              <a:rPr lang="en-US" dirty="0"/>
              <a:t>What’s new in C# 7.3</a:t>
            </a:r>
          </a:p>
          <a:p>
            <a:pPr lvl="2">
              <a:buClr>
                <a:srgbClr val="93E416"/>
              </a:buClr>
            </a:pPr>
            <a:r>
              <a:rPr lang="en-US" dirty="0"/>
              <a:t>Enabling more efficient safe code,</a:t>
            </a:r>
          </a:p>
          <a:p>
            <a:pPr lvl="3"/>
            <a:r>
              <a:rPr lang="en-US" dirty="0"/>
              <a:t>fixed fields without pinning access,</a:t>
            </a:r>
          </a:p>
          <a:p>
            <a:pPr lvl="3"/>
            <a:r>
              <a:rPr lang="en-US" dirty="0"/>
              <a:t>local ref variables reassignment,</a:t>
            </a:r>
          </a:p>
          <a:p>
            <a:pPr lvl="3"/>
            <a:r>
              <a:rPr lang="en-US" dirty="0"/>
              <a:t>array initializers with stackalloc,</a:t>
            </a:r>
          </a:p>
          <a:p>
            <a:pPr lvl="3"/>
            <a:r>
              <a:rPr lang="en-US" dirty="0"/>
              <a:t>extended fixed support for types,</a:t>
            </a:r>
          </a:p>
          <a:p>
            <a:pPr lvl="3"/>
            <a:r>
              <a:rPr lang="en-US" dirty="0"/>
              <a:t>enhanced generic constraints.</a:t>
            </a:r>
          </a:p>
          <a:p>
            <a:pPr lvl="2">
              <a:buClr>
                <a:srgbClr val="93E416"/>
              </a:buClr>
            </a:pPr>
            <a:r>
              <a:rPr lang="en-US" dirty="0"/>
              <a:t>Make existing features better</a:t>
            </a:r>
          </a:p>
          <a:p>
            <a:pPr lvl="3"/>
            <a:r>
              <a:rPr lang="en-US" dirty="0"/>
              <a:t>equality comparator tuple support,</a:t>
            </a:r>
          </a:p>
          <a:p>
            <a:pPr lvl="3"/>
            <a:r>
              <a:rPr lang="en-US" dirty="0"/>
              <a:t>field attributes for auto-implemented properties,</a:t>
            </a:r>
          </a:p>
          <a:p>
            <a:pPr lvl="3"/>
            <a:r>
              <a:rPr lang="en-US" dirty="0"/>
              <a:t>in method overload,</a:t>
            </a:r>
          </a:p>
          <a:p>
            <a:pPr lvl="3"/>
            <a:r>
              <a:rPr lang="en-US" dirty="0"/>
              <a:t>extend expression variables in initializers.</a:t>
            </a:r>
            <a:endParaRPr lang="en-GB" dirty="0"/>
          </a:p>
        </p:txBody>
      </p:sp>
    </p:spTree>
    <p:extLst>
      <p:ext uri="{BB962C8B-B14F-4D97-AF65-F5344CB8AC3E}">
        <p14:creationId xmlns:p14="http://schemas.microsoft.com/office/powerpoint/2010/main" val="327667505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
                                            <p:txEl>
                                              <p:pRg st="11" end="11"/>
                                            </p:txEl>
                                          </p:spTgt>
                                        </p:tgtEl>
                                        <p:attrNameLst>
                                          <p:attrName>style.visibility</p:attrName>
                                        </p:attrNameLst>
                                      </p:cBhvr>
                                      <p:to>
                                        <p:strVal val="visible"/>
                                      </p:to>
                                    </p:set>
                                    <p:animEffect transition="in" filter="fade">
                                      <p:cBhvr>
                                        <p:cTn id="7" dur="500"/>
                                        <p:tgtEl>
                                          <p:spTgt spid="7">
                                            <p:txEl>
                                              <p:pRg st="11" end="1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ymbol zastępczy tekstu 5">
            <a:extLst>
              <a:ext uri="{FF2B5EF4-FFF2-40B4-BE49-F238E27FC236}">
                <a16:creationId xmlns:a16="http://schemas.microsoft.com/office/drawing/2014/main" id="{EC19D1F0-CA19-48E4-B6B7-FE7D3388EB92}"/>
              </a:ext>
            </a:extLst>
          </p:cNvPr>
          <p:cNvSpPr>
            <a:spLocks noGrp="1"/>
          </p:cNvSpPr>
          <p:nvPr>
            <p:ph type="body" sz="quarter" idx="11"/>
          </p:nvPr>
        </p:nvSpPr>
        <p:spPr>
          <a:xfrm>
            <a:off x="6528049" y="2191647"/>
            <a:ext cx="5187760" cy="3160282"/>
          </a:xfrm>
        </p:spPr>
        <p:txBody>
          <a:bodyPr/>
          <a:lstStyle/>
          <a:p>
            <a:r>
              <a:rPr lang="en-US" dirty="0"/>
              <a:t>What’s new in C# 7.3</a:t>
            </a:r>
            <a:br>
              <a:rPr lang="en-US" dirty="0"/>
            </a:br>
            <a:r>
              <a:rPr lang="en-US" sz="2400" dirty="0"/>
              <a:t>Extend expression variables in initializers</a:t>
            </a:r>
            <a:endParaRPr lang="en-US" dirty="0"/>
          </a:p>
        </p:txBody>
      </p:sp>
      <p:sp>
        <p:nvSpPr>
          <p:cNvPr id="28" name="Freeform 37">
            <a:extLst>
              <a:ext uri="{FF2B5EF4-FFF2-40B4-BE49-F238E27FC236}">
                <a16:creationId xmlns:a16="http://schemas.microsoft.com/office/drawing/2014/main" id="{C163FEF7-EB42-4298-AED9-19E8D9ACF2E4}"/>
              </a:ext>
            </a:extLst>
          </p:cNvPr>
          <p:cNvSpPr>
            <a:spLocks/>
          </p:cNvSpPr>
          <p:nvPr/>
        </p:nvSpPr>
        <p:spPr bwMode="auto">
          <a:xfrm>
            <a:off x="1703512" y="800837"/>
            <a:ext cx="844550" cy="793750"/>
          </a:xfrm>
          <a:custGeom>
            <a:avLst/>
            <a:gdLst>
              <a:gd name="T0" fmla="*/ 51 w 440"/>
              <a:gd name="T1" fmla="*/ 298 h 410"/>
              <a:gd name="T2" fmla="*/ 128 w 440"/>
              <a:gd name="T3" fmla="*/ 48 h 410"/>
              <a:gd name="T4" fmla="*/ 389 w 440"/>
              <a:gd name="T5" fmla="*/ 122 h 410"/>
              <a:gd name="T6" fmla="*/ 307 w 440"/>
              <a:gd name="T7" fmla="*/ 362 h 410"/>
              <a:gd name="T8" fmla="*/ 51 w 440"/>
              <a:gd name="T9" fmla="*/ 298 h 410"/>
            </a:gdLst>
            <a:ahLst/>
            <a:cxnLst>
              <a:cxn ang="0">
                <a:pos x="T0" y="T1"/>
              </a:cxn>
              <a:cxn ang="0">
                <a:pos x="T2" y="T3"/>
              </a:cxn>
              <a:cxn ang="0">
                <a:pos x="T4" y="T5"/>
              </a:cxn>
              <a:cxn ang="0">
                <a:pos x="T6" y="T7"/>
              </a:cxn>
              <a:cxn ang="0">
                <a:pos x="T8" y="T9"/>
              </a:cxn>
            </a:cxnLst>
            <a:rect l="0" t="0" r="r" b="b"/>
            <a:pathLst>
              <a:path w="440" h="410">
                <a:moveTo>
                  <a:pt x="51" y="298"/>
                </a:moveTo>
                <a:cubicBezTo>
                  <a:pt x="0" y="209"/>
                  <a:pt x="34" y="97"/>
                  <a:pt x="128" y="48"/>
                </a:cubicBezTo>
                <a:cubicBezTo>
                  <a:pt x="221" y="0"/>
                  <a:pt x="338" y="33"/>
                  <a:pt x="389" y="122"/>
                </a:cubicBezTo>
                <a:cubicBezTo>
                  <a:pt x="440" y="212"/>
                  <a:pt x="400" y="313"/>
                  <a:pt x="307" y="362"/>
                </a:cubicBezTo>
                <a:cubicBezTo>
                  <a:pt x="214" y="410"/>
                  <a:pt x="102" y="388"/>
                  <a:pt x="51" y="298"/>
                </a:cubicBezTo>
              </a:path>
            </a:pathLst>
          </a:custGeom>
          <a:solidFill>
            <a:srgbClr val="93E416"/>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3" name="Oval 20">
            <a:extLst>
              <a:ext uri="{FF2B5EF4-FFF2-40B4-BE49-F238E27FC236}">
                <a16:creationId xmlns:a16="http://schemas.microsoft.com/office/drawing/2014/main" id="{EE9B31FA-25FA-4CC1-863F-BB3D69944DF9}"/>
              </a:ext>
            </a:extLst>
          </p:cNvPr>
          <p:cNvSpPr/>
          <p:nvPr/>
        </p:nvSpPr>
        <p:spPr>
          <a:xfrm>
            <a:off x="499463" y="1441730"/>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42" name="Oval 20">
            <a:extLst>
              <a:ext uri="{FF2B5EF4-FFF2-40B4-BE49-F238E27FC236}">
                <a16:creationId xmlns:a16="http://schemas.microsoft.com/office/drawing/2014/main" id="{9C48F09E-5C3B-4BEA-BD8F-85A5DCB0325B}"/>
              </a:ext>
            </a:extLst>
          </p:cNvPr>
          <p:cNvSpPr/>
          <p:nvPr/>
        </p:nvSpPr>
        <p:spPr>
          <a:xfrm>
            <a:off x="2380063" y="997006"/>
            <a:ext cx="1356623" cy="128178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7" name="Group 575">
            <a:extLst>
              <a:ext uri="{FF2B5EF4-FFF2-40B4-BE49-F238E27FC236}">
                <a16:creationId xmlns:a16="http://schemas.microsoft.com/office/drawing/2014/main" id="{E2E20D5E-5260-4A99-BEFF-E21AC2971ED5}"/>
              </a:ext>
            </a:extLst>
          </p:cNvPr>
          <p:cNvGrpSpPr/>
          <p:nvPr/>
        </p:nvGrpSpPr>
        <p:grpSpPr>
          <a:xfrm>
            <a:off x="732895" y="1867812"/>
            <a:ext cx="1518665" cy="1442733"/>
            <a:chOff x="10147301" y="3695700"/>
            <a:chExt cx="539750" cy="512763"/>
          </a:xfrm>
        </p:grpSpPr>
        <p:sp>
          <p:nvSpPr>
            <p:cNvPr id="9" name="Freeform 125">
              <a:extLst>
                <a:ext uri="{FF2B5EF4-FFF2-40B4-BE49-F238E27FC236}">
                  <a16:creationId xmlns:a16="http://schemas.microsoft.com/office/drawing/2014/main" id="{AE215F5E-9A78-4241-B4CF-A3DD0E5E0F5D}"/>
                </a:ext>
              </a:extLst>
            </p:cNvPr>
            <p:cNvSpPr>
              <a:spLocks/>
            </p:cNvSpPr>
            <p:nvPr/>
          </p:nvSpPr>
          <p:spPr bwMode="auto">
            <a:xfrm>
              <a:off x="10350501" y="3695700"/>
              <a:ext cx="336550" cy="396875"/>
            </a:xfrm>
            <a:custGeom>
              <a:avLst/>
              <a:gdLst>
                <a:gd name="T0" fmla="*/ 171 w 174"/>
                <a:gd name="T1" fmla="*/ 9 h 204"/>
                <a:gd name="T2" fmla="*/ 171 w 174"/>
                <a:gd name="T3" fmla="*/ 3 h 204"/>
                <a:gd name="T4" fmla="*/ 167 w 174"/>
                <a:gd name="T5" fmla="*/ 0 h 204"/>
                <a:gd name="T6" fmla="*/ 84 w 174"/>
                <a:gd name="T7" fmla="*/ 0 h 204"/>
                <a:gd name="T8" fmla="*/ 6 w 174"/>
                <a:gd name="T9" fmla="*/ 78 h 204"/>
                <a:gd name="T10" fmla="*/ 6 w 174"/>
                <a:gd name="T11" fmla="*/ 79 h 204"/>
                <a:gd name="T12" fmla="*/ 6 w 174"/>
                <a:gd name="T13" fmla="*/ 116 h 204"/>
                <a:gd name="T14" fmla="*/ 6 w 174"/>
                <a:gd name="T15" fmla="*/ 116 h 204"/>
                <a:gd name="T16" fmla="*/ 6 w 174"/>
                <a:gd name="T17" fmla="*/ 200 h 204"/>
                <a:gd name="T18" fmla="*/ 9 w 174"/>
                <a:gd name="T19" fmla="*/ 204 h 204"/>
                <a:gd name="T20" fmla="*/ 13 w 174"/>
                <a:gd name="T21" fmla="*/ 204 h 204"/>
                <a:gd name="T22" fmla="*/ 16 w 174"/>
                <a:gd name="T23" fmla="*/ 200 h 204"/>
                <a:gd name="T24" fmla="*/ 16 w 174"/>
                <a:gd name="T25" fmla="*/ 124 h 204"/>
                <a:gd name="T26" fmla="*/ 20 w 174"/>
                <a:gd name="T27" fmla="*/ 121 h 204"/>
                <a:gd name="T28" fmla="*/ 80 w 174"/>
                <a:gd name="T29" fmla="*/ 121 h 204"/>
                <a:gd name="T30" fmla="*/ 82 w 174"/>
                <a:gd name="T31" fmla="*/ 121 h 204"/>
                <a:gd name="T32" fmla="*/ 82 w 174"/>
                <a:gd name="T33" fmla="*/ 121 h 204"/>
                <a:gd name="T34" fmla="*/ 171 w 174"/>
                <a:gd name="T35" fmla="*/ 23 h 204"/>
                <a:gd name="T36" fmla="*/ 171 w 174"/>
                <a:gd name="T37" fmla="*/ 9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74" h="204">
                  <a:moveTo>
                    <a:pt x="171" y="9"/>
                  </a:moveTo>
                  <a:cubicBezTo>
                    <a:pt x="171" y="3"/>
                    <a:pt x="171" y="3"/>
                    <a:pt x="171" y="3"/>
                  </a:cubicBezTo>
                  <a:cubicBezTo>
                    <a:pt x="171" y="1"/>
                    <a:pt x="169" y="0"/>
                    <a:pt x="167" y="0"/>
                  </a:cubicBezTo>
                  <a:cubicBezTo>
                    <a:pt x="84" y="0"/>
                    <a:pt x="84" y="0"/>
                    <a:pt x="84" y="0"/>
                  </a:cubicBezTo>
                  <a:cubicBezTo>
                    <a:pt x="0" y="0"/>
                    <a:pt x="5" y="75"/>
                    <a:pt x="6" y="78"/>
                  </a:cubicBezTo>
                  <a:cubicBezTo>
                    <a:pt x="6" y="78"/>
                    <a:pt x="6" y="78"/>
                    <a:pt x="6" y="79"/>
                  </a:cubicBezTo>
                  <a:cubicBezTo>
                    <a:pt x="6" y="116"/>
                    <a:pt x="6" y="116"/>
                    <a:pt x="6" y="116"/>
                  </a:cubicBezTo>
                  <a:cubicBezTo>
                    <a:pt x="6" y="116"/>
                    <a:pt x="6" y="116"/>
                    <a:pt x="6" y="116"/>
                  </a:cubicBezTo>
                  <a:cubicBezTo>
                    <a:pt x="6" y="200"/>
                    <a:pt x="6" y="200"/>
                    <a:pt x="6" y="200"/>
                  </a:cubicBezTo>
                  <a:cubicBezTo>
                    <a:pt x="6" y="202"/>
                    <a:pt x="7" y="204"/>
                    <a:pt x="9" y="204"/>
                  </a:cubicBezTo>
                  <a:cubicBezTo>
                    <a:pt x="13" y="204"/>
                    <a:pt x="13" y="204"/>
                    <a:pt x="13" y="204"/>
                  </a:cubicBezTo>
                  <a:cubicBezTo>
                    <a:pt x="14" y="204"/>
                    <a:pt x="16" y="202"/>
                    <a:pt x="16" y="200"/>
                  </a:cubicBezTo>
                  <a:cubicBezTo>
                    <a:pt x="16" y="124"/>
                    <a:pt x="16" y="124"/>
                    <a:pt x="16" y="124"/>
                  </a:cubicBezTo>
                  <a:cubicBezTo>
                    <a:pt x="16" y="122"/>
                    <a:pt x="18" y="121"/>
                    <a:pt x="20" y="121"/>
                  </a:cubicBezTo>
                  <a:cubicBezTo>
                    <a:pt x="80" y="121"/>
                    <a:pt x="80" y="121"/>
                    <a:pt x="80" y="121"/>
                  </a:cubicBezTo>
                  <a:cubicBezTo>
                    <a:pt x="81" y="121"/>
                    <a:pt x="81" y="121"/>
                    <a:pt x="82" y="121"/>
                  </a:cubicBezTo>
                  <a:cubicBezTo>
                    <a:pt x="82" y="121"/>
                    <a:pt x="82" y="121"/>
                    <a:pt x="82" y="121"/>
                  </a:cubicBezTo>
                  <a:cubicBezTo>
                    <a:pt x="174" y="121"/>
                    <a:pt x="171" y="23"/>
                    <a:pt x="171" y="23"/>
                  </a:cubicBezTo>
                  <a:cubicBezTo>
                    <a:pt x="171" y="9"/>
                    <a:pt x="171" y="9"/>
                    <a:pt x="171" y="9"/>
                  </a:cubicBezTo>
                  <a:close/>
                </a:path>
              </a:pathLst>
            </a:custGeom>
            <a:solidFill>
              <a:srgbClr val="93E416"/>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0" name="Freeform 126">
              <a:extLst>
                <a:ext uri="{FF2B5EF4-FFF2-40B4-BE49-F238E27FC236}">
                  <a16:creationId xmlns:a16="http://schemas.microsoft.com/office/drawing/2014/main" id="{7D186918-1F69-4B10-BEC8-15BC27E52B2B}"/>
                </a:ext>
              </a:extLst>
            </p:cNvPr>
            <p:cNvSpPr>
              <a:spLocks/>
            </p:cNvSpPr>
            <p:nvPr/>
          </p:nvSpPr>
          <p:spPr bwMode="auto">
            <a:xfrm>
              <a:off x="10147301" y="3911600"/>
              <a:ext cx="217487" cy="296863"/>
            </a:xfrm>
            <a:custGeom>
              <a:avLst/>
              <a:gdLst>
                <a:gd name="T0" fmla="*/ 58 w 113"/>
                <a:gd name="T1" fmla="*/ 0 h 153"/>
                <a:gd name="T2" fmla="*/ 3 w 113"/>
                <a:gd name="T3" fmla="*/ 0 h 153"/>
                <a:gd name="T4" fmla="*/ 2 w 113"/>
                <a:gd name="T5" fmla="*/ 0 h 153"/>
                <a:gd name="T6" fmla="*/ 2 w 113"/>
                <a:gd name="T7" fmla="*/ 6 h 153"/>
                <a:gd name="T8" fmla="*/ 2 w 113"/>
                <a:gd name="T9" fmla="*/ 6 h 153"/>
                <a:gd name="T10" fmla="*/ 2 w 113"/>
                <a:gd name="T11" fmla="*/ 14 h 153"/>
                <a:gd name="T12" fmla="*/ 59 w 113"/>
                <a:gd name="T13" fmla="*/ 77 h 153"/>
                <a:gd name="T14" fmla="*/ 59 w 113"/>
                <a:gd name="T15" fmla="*/ 77 h 153"/>
                <a:gd name="T16" fmla="*/ 61 w 113"/>
                <a:gd name="T17" fmla="*/ 77 h 153"/>
                <a:gd name="T18" fmla="*/ 97 w 113"/>
                <a:gd name="T19" fmla="*/ 77 h 153"/>
                <a:gd name="T20" fmla="*/ 98 w 113"/>
                <a:gd name="T21" fmla="*/ 78 h 153"/>
                <a:gd name="T22" fmla="*/ 98 w 113"/>
                <a:gd name="T23" fmla="*/ 152 h 153"/>
                <a:gd name="T24" fmla="*/ 98 w 113"/>
                <a:gd name="T25" fmla="*/ 153 h 153"/>
                <a:gd name="T26" fmla="*/ 102 w 113"/>
                <a:gd name="T27" fmla="*/ 153 h 153"/>
                <a:gd name="T28" fmla="*/ 108 w 113"/>
                <a:gd name="T29" fmla="*/ 147 h 153"/>
                <a:gd name="T30" fmla="*/ 108 w 113"/>
                <a:gd name="T31" fmla="*/ 77 h 153"/>
                <a:gd name="T32" fmla="*/ 108 w 113"/>
                <a:gd name="T33" fmla="*/ 65 h 153"/>
                <a:gd name="T34" fmla="*/ 108 w 113"/>
                <a:gd name="T35" fmla="*/ 50 h 153"/>
                <a:gd name="T36" fmla="*/ 58 w 113"/>
                <a:gd name="T37" fmla="*/ 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13" h="153">
                  <a:moveTo>
                    <a:pt x="58" y="0"/>
                  </a:moveTo>
                  <a:cubicBezTo>
                    <a:pt x="3" y="0"/>
                    <a:pt x="3" y="0"/>
                    <a:pt x="3" y="0"/>
                  </a:cubicBezTo>
                  <a:cubicBezTo>
                    <a:pt x="3" y="0"/>
                    <a:pt x="2" y="0"/>
                    <a:pt x="2" y="0"/>
                  </a:cubicBezTo>
                  <a:cubicBezTo>
                    <a:pt x="2" y="6"/>
                    <a:pt x="2" y="6"/>
                    <a:pt x="2" y="6"/>
                  </a:cubicBezTo>
                  <a:cubicBezTo>
                    <a:pt x="2" y="6"/>
                    <a:pt x="2" y="6"/>
                    <a:pt x="2" y="6"/>
                  </a:cubicBezTo>
                  <a:cubicBezTo>
                    <a:pt x="2" y="14"/>
                    <a:pt x="2" y="14"/>
                    <a:pt x="2" y="14"/>
                  </a:cubicBezTo>
                  <a:cubicBezTo>
                    <a:pt x="2" y="14"/>
                    <a:pt x="0" y="77"/>
                    <a:pt x="59" y="77"/>
                  </a:cubicBezTo>
                  <a:cubicBezTo>
                    <a:pt x="59" y="77"/>
                    <a:pt x="59" y="77"/>
                    <a:pt x="59" y="77"/>
                  </a:cubicBezTo>
                  <a:cubicBezTo>
                    <a:pt x="60" y="77"/>
                    <a:pt x="60" y="77"/>
                    <a:pt x="61" y="77"/>
                  </a:cubicBezTo>
                  <a:cubicBezTo>
                    <a:pt x="97" y="77"/>
                    <a:pt x="97" y="77"/>
                    <a:pt x="97" y="77"/>
                  </a:cubicBezTo>
                  <a:cubicBezTo>
                    <a:pt x="97" y="77"/>
                    <a:pt x="98" y="78"/>
                    <a:pt x="98" y="78"/>
                  </a:cubicBezTo>
                  <a:cubicBezTo>
                    <a:pt x="98" y="152"/>
                    <a:pt x="98" y="152"/>
                    <a:pt x="98" y="152"/>
                  </a:cubicBezTo>
                  <a:cubicBezTo>
                    <a:pt x="98" y="152"/>
                    <a:pt x="98" y="153"/>
                    <a:pt x="98" y="153"/>
                  </a:cubicBezTo>
                  <a:cubicBezTo>
                    <a:pt x="102" y="153"/>
                    <a:pt x="102" y="153"/>
                    <a:pt x="102" y="153"/>
                  </a:cubicBezTo>
                  <a:cubicBezTo>
                    <a:pt x="105" y="153"/>
                    <a:pt x="108" y="150"/>
                    <a:pt x="108" y="147"/>
                  </a:cubicBezTo>
                  <a:cubicBezTo>
                    <a:pt x="108" y="77"/>
                    <a:pt x="108" y="77"/>
                    <a:pt x="108" y="77"/>
                  </a:cubicBezTo>
                  <a:cubicBezTo>
                    <a:pt x="108" y="65"/>
                    <a:pt x="108" y="65"/>
                    <a:pt x="108" y="65"/>
                  </a:cubicBezTo>
                  <a:cubicBezTo>
                    <a:pt x="108" y="50"/>
                    <a:pt x="108" y="50"/>
                    <a:pt x="108" y="50"/>
                  </a:cubicBezTo>
                  <a:cubicBezTo>
                    <a:pt x="108" y="50"/>
                    <a:pt x="113" y="0"/>
                    <a:pt x="58" y="0"/>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1465507264"/>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ytuł 1">
            <a:extLst>
              <a:ext uri="{FF2B5EF4-FFF2-40B4-BE49-F238E27FC236}">
                <a16:creationId xmlns:a16="http://schemas.microsoft.com/office/drawing/2014/main" id="{DEA935F7-2904-40FF-A73D-3CCC59AF658E}"/>
              </a:ext>
            </a:extLst>
          </p:cNvPr>
          <p:cNvSpPr>
            <a:spLocks noGrp="1"/>
          </p:cNvSpPr>
          <p:nvPr>
            <p:ph type="title"/>
          </p:nvPr>
        </p:nvSpPr>
        <p:spPr/>
        <p:txBody>
          <a:bodyPr/>
          <a:lstStyle/>
          <a:p>
            <a:r>
              <a:rPr lang="en-US" sz="3200" dirty="0"/>
              <a:t>Extend expression variables in initializers</a:t>
            </a:r>
          </a:p>
        </p:txBody>
      </p:sp>
      <p:sp>
        <p:nvSpPr>
          <p:cNvPr id="5" name="Symbol zastępczy tekstu 4">
            <a:extLst>
              <a:ext uri="{FF2B5EF4-FFF2-40B4-BE49-F238E27FC236}">
                <a16:creationId xmlns:a16="http://schemas.microsoft.com/office/drawing/2014/main" id="{026454BF-D147-4265-B180-0D1A4FC7A23F}"/>
              </a:ext>
            </a:extLst>
          </p:cNvPr>
          <p:cNvSpPr>
            <a:spLocks noGrp="1"/>
          </p:cNvSpPr>
          <p:nvPr>
            <p:ph type="body" sz="quarter" idx="10"/>
          </p:nvPr>
        </p:nvSpPr>
        <p:spPr/>
        <p:txBody>
          <a:bodyPr/>
          <a:lstStyle/>
          <a:p>
            <a:endParaRPr lang="en-US" dirty="0"/>
          </a:p>
        </p:txBody>
      </p:sp>
      <p:sp>
        <p:nvSpPr>
          <p:cNvPr id="3" name="Symbol zastępczy tekstu 2">
            <a:extLst>
              <a:ext uri="{FF2B5EF4-FFF2-40B4-BE49-F238E27FC236}">
                <a16:creationId xmlns:a16="http://schemas.microsoft.com/office/drawing/2014/main" id="{D0A37E72-B711-494C-A35F-F9DF4987AC76}"/>
              </a:ext>
            </a:extLst>
          </p:cNvPr>
          <p:cNvSpPr>
            <a:spLocks noGrp="1"/>
          </p:cNvSpPr>
          <p:nvPr>
            <p:ph type="body" sz="quarter" idx="11"/>
          </p:nvPr>
        </p:nvSpPr>
        <p:spPr/>
        <p:txBody>
          <a:bodyPr/>
          <a:lstStyle/>
          <a:p>
            <a:r>
              <a:rPr lang="en-US" dirty="0"/>
              <a:t>C# 7.2</a:t>
            </a:r>
          </a:p>
        </p:txBody>
      </p:sp>
      <p:sp>
        <p:nvSpPr>
          <p:cNvPr id="6" name="Symbol zastępczy tekstu 5">
            <a:extLst>
              <a:ext uri="{FF2B5EF4-FFF2-40B4-BE49-F238E27FC236}">
                <a16:creationId xmlns:a16="http://schemas.microsoft.com/office/drawing/2014/main" id="{9B3BF7E6-792E-4E7E-A1BA-67B18F143E96}"/>
              </a:ext>
            </a:extLst>
          </p:cNvPr>
          <p:cNvSpPr>
            <a:spLocks noGrp="1"/>
          </p:cNvSpPr>
          <p:nvPr>
            <p:ph type="body" sz="quarter" idx="12"/>
          </p:nvPr>
        </p:nvSpPr>
        <p:spPr/>
        <p:txBody>
          <a:bodyPr/>
          <a:lstStyle/>
          <a:p>
            <a:r>
              <a:rPr lang="en-US" dirty="0"/>
              <a:t>1</a:t>
            </a:r>
          </a:p>
        </p:txBody>
      </p:sp>
    </p:spTree>
    <p:extLst>
      <p:ext uri="{BB962C8B-B14F-4D97-AF65-F5344CB8AC3E}">
        <p14:creationId xmlns:p14="http://schemas.microsoft.com/office/powerpoint/2010/main" val="901710709"/>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ytuł 1">
            <a:extLst>
              <a:ext uri="{FF2B5EF4-FFF2-40B4-BE49-F238E27FC236}">
                <a16:creationId xmlns:a16="http://schemas.microsoft.com/office/drawing/2014/main" id="{DEA935F7-2904-40FF-A73D-3CCC59AF658E}"/>
              </a:ext>
            </a:extLst>
          </p:cNvPr>
          <p:cNvSpPr>
            <a:spLocks noGrp="1"/>
          </p:cNvSpPr>
          <p:nvPr>
            <p:ph type="title"/>
          </p:nvPr>
        </p:nvSpPr>
        <p:spPr/>
        <p:txBody>
          <a:bodyPr/>
          <a:lstStyle/>
          <a:p>
            <a:r>
              <a:rPr lang="en-US" sz="3200" dirty="0"/>
              <a:t>Extend expression variables in initializers</a:t>
            </a:r>
          </a:p>
        </p:txBody>
      </p:sp>
      <p:sp>
        <p:nvSpPr>
          <p:cNvPr id="5" name="Symbol zastępczy tekstu 4">
            <a:extLst>
              <a:ext uri="{FF2B5EF4-FFF2-40B4-BE49-F238E27FC236}">
                <a16:creationId xmlns:a16="http://schemas.microsoft.com/office/drawing/2014/main" id="{026454BF-D147-4265-B180-0D1A4FC7A23F}"/>
              </a:ext>
            </a:extLst>
          </p:cNvPr>
          <p:cNvSpPr>
            <a:spLocks noGrp="1"/>
          </p:cNvSpPr>
          <p:nvPr>
            <p:ph type="body" sz="quarter" idx="10"/>
          </p:nvPr>
        </p:nvSpPr>
        <p:spPr/>
        <p:txBody>
          <a:bodyPr/>
          <a:lstStyle/>
          <a:p>
            <a:endParaRPr lang="en-US" dirty="0"/>
          </a:p>
        </p:txBody>
      </p:sp>
      <p:sp>
        <p:nvSpPr>
          <p:cNvPr id="3" name="Symbol zastępczy tekstu 2">
            <a:extLst>
              <a:ext uri="{FF2B5EF4-FFF2-40B4-BE49-F238E27FC236}">
                <a16:creationId xmlns:a16="http://schemas.microsoft.com/office/drawing/2014/main" id="{D0A37E72-B711-494C-A35F-F9DF4987AC76}"/>
              </a:ext>
            </a:extLst>
          </p:cNvPr>
          <p:cNvSpPr>
            <a:spLocks noGrp="1"/>
          </p:cNvSpPr>
          <p:nvPr>
            <p:ph type="body" sz="quarter" idx="11"/>
          </p:nvPr>
        </p:nvSpPr>
        <p:spPr/>
        <p:txBody>
          <a:bodyPr/>
          <a:lstStyle/>
          <a:p>
            <a:r>
              <a:rPr lang="en-US" dirty="0"/>
              <a:t>C# 7.3</a:t>
            </a:r>
          </a:p>
        </p:txBody>
      </p:sp>
      <p:sp>
        <p:nvSpPr>
          <p:cNvPr id="6" name="Symbol zastępczy tekstu 5">
            <a:extLst>
              <a:ext uri="{FF2B5EF4-FFF2-40B4-BE49-F238E27FC236}">
                <a16:creationId xmlns:a16="http://schemas.microsoft.com/office/drawing/2014/main" id="{9B3BF7E6-792E-4E7E-A1BA-67B18F143E96}"/>
              </a:ext>
            </a:extLst>
          </p:cNvPr>
          <p:cNvSpPr>
            <a:spLocks noGrp="1"/>
          </p:cNvSpPr>
          <p:nvPr>
            <p:ph type="body" sz="quarter" idx="12"/>
          </p:nvPr>
        </p:nvSpPr>
        <p:spPr/>
        <p:txBody>
          <a:bodyPr/>
          <a:lstStyle/>
          <a:p>
            <a:r>
              <a:rPr lang="en-US" dirty="0"/>
              <a:t>2</a:t>
            </a:r>
          </a:p>
        </p:txBody>
      </p:sp>
    </p:spTree>
    <p:extLst>
      <p:ext uri="{BB962C8B-B14F-4D97-AF65-F5344CB8AC3E}">
        <p14:creationId xmlns:p14="http://schemas.microsoft.com/office/powerpoint/2010/main" val="2260880882"/>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1">
            <a:extLst>
              <a:ext uri="{FF2B5EF4-FFF2-40B4-BE49-F238E27FC236}">
                <a16:creationId xmlns:a16="http://schemas.microsoft.com/office/drawing/2014/main" id="{286D241B-FA8C-428D-8971-C2C34A16D410}"/>
              </a:ext>
            </a:extLst>
          </p:cNvPr>
          <p:cNvSpPr>
            <a:spLocks noGrp="1"/>
          </p:cNvSpPr>
          <p:nvPr>
            <p:ph type="pic" sz="quarter" idx="10"/>
          </p:nvPr>
        </p:nvSpPr>
        <p:spPr/>
      </p:sp>
      <p:sp>
        <p:nvSpPr>
          <p:cNvPr id="6" name="Symbol zastępczy tekstu 5">
            <a:extLst>
              <a:ext uri="{FF2B5EF4-FFF2-40B4-BE49-F238E27FC236}">
                <a16:creationId xmlns:a16="http://schemas.microsoft.com/office/drawing/2014/main" id="{EC19D1F0-CA19-48E4-B6B7-FE7D3388EB92}"/>
              </a:ext>
            </a:extLst>
          </p:cNvPr>
          <p:cNvSpPr>
            <a:spLocks noGrp="1"/>
          </p:cNvSpPr>
          <p:nvPr>
            <p:ph type="body" sz="quarter" idx="11"/>
          </p:nvPr>
        </p:nvSpPr>
        <p:spPr/>
        <p:txBody>
          <a:bodyPr/>
          <a:lstStyle/>
          <a:p>
            <a:r>
              <a:rPr lang="en-US" dirty="0"/>
              <a:t>What’s new </a:t>
            </a:r>
            <a:br>
              <a:rPr lang="en-US" dirty="0"/>
            </a:br>
            <a:r>
              <a:rPr lang="en-US" dirty="0"/>
              <a:t>in C# 8.0</a:t>
            </a:r>
          </a:p>
        </p:txBody>
      </p:sp>
      <p:sp>
        <p:nvSpPr>
          <p:cNvPr id="7" name="Freeform 37">
            <a:extLst>
              <a:ext uri="{FF2B5EF4-FFF2-40B4-BE49-F238E27FC236}">
                <a16:creationId xmlns:a16="http://schemas.microsoft.com/office/drawing/2014/main" id="{6262B89F-B94F-4DA1-94F6-6D2E9CF117B2}"/>
              </a:ext>
            </a:extLst>
          </p:cNvPr>
          <p:cNvSpPr>
            <a:spLocks/>
          </p:cNvSpPr>
          <p:nvPr/>
        </p:nvSpPr>
        <p:spPr bwMode="auto">
          <a:xfrm>
            <a:off x="8830800" y="3578400"/>
            <a:ext cx="844550" cy="793750"/>
          </a:xfrm>
          <a:custGeom>
            <a:avLst/>
            <a:gdLst>
              <a:gd name="T0" fmla="*/ 51 w 440"/>
              <a:gd name="T1" fmla="*/ 298 h 410"/>
              <a:gd name="T2" fmla="*/ 128 w 440"/>
              <a:gd name="T3" fmla="*/ 48 h 410"/>
              <a:gd name="T4" fmla="*/ 389 w 440"/>
              <a:gd name="T5" fmla="*/ 122 h 410"/>
              <a:gd name="T6" fmla="*/ 307 w 440"/>
              <a:gd name="T7" fmla="*/ 362 h 410"/>
              <a:gd name="T8" fmla="*/ 51 w 440"/>
              <a:gd name="T9" fmla="*/ 298 h 410"/>
            </a:gdLst>
            <a:ahLst/>
            <a:cxnLst>
              <a:cxn ang="0">
                <a:pos x="T0" y="T1"/>
              </a:cxn>
              <a:cxn ang="0">
                <a:pos x="T2" y="T3"/>
              </a:cxn>
              <a:cxn ang="0">
                <a:pos x="T4" y="T5"/>
              </a:cxn>
              <a:cxn ang="0">
                <a:pos x="T6" y="T7"/>
              </a:cxn>
              <a:cxn ang="0">
                <a:pos x="T8" y="T9"/>
              </a:cxn>
            </a:cxnLst>
            <a:rect l="0" t="0" r="r" b="b"/>
            <a:pathLst>
              <a:path w="440" h="410">
                <a:moveTo>
                  <a:pt x="51" y="298"/>
                </a:moveTo>
                <a:cubicBezTo>
                  <a:pt x="0" y="209"/>
                  <a:pt x="34" y="97"/>
                  <a:pt x="128" y="48"/>
                </a:cubicBezTo>
                <a:cubicBezTo>
                  <a:pt x="221" y="0"/>
                  <a:pt x="338" y="33"/>
                  <a:pt x="389" y="122"/>
                </a:cubicBezTo>
                <a:cubicBezTo>
                  <a:pt x="440" y="212"/>
                  <a:pt x="400" y="313"/>
                  <a:pt x="307" y="362"/>
                </a:cubicBezTo>
                <a:cubicBezTo>
                  <a:pt x="214" y="410"/>
                  <a:pt x="102" y="388"/>
                  <a:pt x="51" y="298"/>
                </a:cubicBezTo>
              </a:path>
            </a:pathLst>
          </a:custGeom>
          <a:solidFill>
            <a:srgbClr val="860864"/>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8" name="Oval 20">
            <a:extLst>
              <a:ext uri="{FF2B5EF4-FFF2-40B4-BE49-F238E27FC236}">
                <a16:creationId xmlns:a16="http://schemas.microsoft.com/office/drawing/2014/main" id="{D475E338-9C98-4F33-8DBC-EF89748D20F9}"/>
              </a:ext>
            </a:extLst>
          </p:cNvPr>
          <p:cNvSpPr/>
          <p:nvPr/>
        </p:nvSpPr>
        <p:spPr>
          <a:xfrm>
            <a:off x="6899617" y="3501008"/>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9" name="Oval 20">
            <a:extLst>
              <a:ext uri="{FF2B5EF4-FFF2-40B4-BE49-F238E27FC236}">
                <a16:creationId xmlns:a16="http://schemas.microsoft.com/office/drawing/2014/main" id="{5846FBF5-A69D-4794-AB8D-15D0CC995BD2}"/>
              </a:ext>
            </a:extLst>
          </p:cNvPr>
          <p:cNvSpPr/>
          <p:nvPr/>
        </p:nvSpPr>
        <p:spPr>
          <a:xfrm>
            <a:off x="8904312" y="4263464"/>
            <a:ext cx="1356623" cy="128178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129787220"/>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pl-PL" dirty="0"/>
              <a:t>Agenda</a:t>
            </a:r>
            <a:endParaRPr lang="en-GB" dirty="0"/>
          </a:p>
        </p:txBody>
      </p:sp>
      <p:sp>
        <p:nvSpPr>
          <p:cNvPr id="5" name="Text Placeholder 4"/>
          <p:cNvSpPr>
            <a:spLocks noGrp="1"/>
          </p:cNvSpPr>
          <p:nvPr>
            <p:ph type="body" sz="quarter" idx="10"/>
          </p:nvPr>
        </p:nvSpPr>
        <p:spPr/>
        <p:txBody>
          <a:bodyPr/>
          <a:lstStyle/>
          <a:p>
            <a:pPr lvl="1"/>
            <a:r>
              <a:rPr lang="en-US" dirty="0">
                <a:solidFill>
                  <a:schemeClr val="bg1">
                    <a:lumMod val="95000"/>
                  </a:schemeClr>
                </a:solidFill>
              </a:rPr>
              <a:t>What’s new in C# 8.0</a:t>
            </a:r>
          </a:p>
          <a:p>
            <a:pPr lvl="2"/>
            <a:r>
              <a:rPr lang="en-US" dirty="0">
                <a:solidFill>
                  <a:schemeClr val="bg1">
                    <a:lumMod val="95000"/>
                  </a:schemeClr>
                </a:solidFill>
              </a:rPr>
              <a:t>Nullable reference types,</a:t>
            </a:r>
          </a:p>
          <a:p>
            <a:pPr lvl="2"/>
            <a:r>
              <a:rPr lang="en-US" dirty="0">
                <a:solidFill>
                  <a:schemeClr val="bg1">
                    <a:lumMod val="95000"/>
                  </a:schemeClr>
                </a:solidFill>
              </a:rPr>
              <a:t>async streams,</a:t>
            </a:r>
          </a:p>
          <a:p>
            <a:pPr lvl="2"/>
            <a:r>
              <a:rPr lang="en-US" dirty="0">
                <a:solidFill>
                  <a:schemeClr val="bg1">
                    <a:lumMod val="95000"/>
                  </a:schemeClr>
                </a:solidFill>
              </a:rPr>
              <a:t>ranges and indices,</a:t>
            </a:r>
          </a:p>
          <a:p>
            <a:pPr lvl="2"/>
            <a:r>
              <a:rPr lang="en-US" dirty="0">
                <a:solidFill>
                  <a:schemeClr val="bg1">
                    <a:lumMod val="95000"/>
                  </a:schemeClr>
                </a:solidFill>
              </a:rPr>
              <a:t>default interface members,</a:t>
            </a:r>
          </a:p>
          <a:p>
            <a:pPr lvl="2"/>
            <a:r>
              <a:rPr lang="en-US" dirty="0">
                <a:solidFill>
                  <a:schemeClr val="bg1">
                    <a:lumMod val="95000"/>
                  </a:schemeClr>
                </a:solidFill>
              </a:rPr>
              <a:t>recursive patterns,</a:t>
            </a:r>
          </a:p>
          <a:p>
            <a:pPr lvl="2"/>
            <a:r>
              <a:rPr lang="en-US" dirty="0">
                <a:solidFill>
                  <a:schemeClr val="bg1">
                    <a:lumMod val="95000"/>
                  </a:schemeClr>
                </a:solidFill>
              </a:rPr>
              <a:t>switch expressions,</a:t>
            </a:r>
          </a:p>
          <a:p>
            <a:pPr lvl="2"/>
            <a:r>
              <a:rPr lang="en-US" dirty="0">
                <a:solidFill>
                  <a:schemeClr val="bg1">
                    <a:lumMod val="95000"/>
                  </a:schemeClr>
                </a:solidFill>
              </a:rPr>
              <a:t>target-typed new-expressions,</a:t>
            </a:r>
          </a:p>
          <a:p>
            <a:pPr lvl="2"/>
            <a:r>
              <a:rPr lang="en-US" dirty="0">
                <a:solidFill>
                  <a:schemeClr val="bg1">
                    <a:lumMod val="95000"/>
                  </a:schemeClr>
                </a:solidFill>
              </a:rPr>
              <a:t>extension everything,</a:t>
            </a:r>
          </a:p>
          <a:p>
            <a:pPr lvl="2"/>
            <a:r>
              <a:rPr lang="en-US" dirty="0">
                <a:solidFill>
                  <a:schemeClr val="bg1">
                    <a:lumMod val="95000"/>
                  </a:schemeClr>
                </a:solidFill>
              </a:rPr>
              <a:t>using declarations.</a:t>
            </a:r>
            <a:endParaRPr lang="en-GB" dirty="0">
              <a:solidFill>
                <a:schemeClr val="bg1">
                  <a:lumMod val="95000"/>
                </a:schemeClr>
              </a:solidFill>
            </a:endParaRPr>
          </a:p>
        </p:txBody>
      </p:sp>
      <p:sp>
        <p:nvSpPr>
          <p:cNvPr id="6" name="Text Placeholder 5"/>
          <p:cNvSpPr>
            <a:spLocks noGrp="1"/>
          </p:cNvSpPr>
          <p:nvPr>
            <p:ph type="body" sz="quarter" idx="11"/>
          </p:nvPr>
        </p:nvSpPr>
        <p:spPr/>
        <p:txBody>
          <a:bodyPr/>
          <a:lstStyle/>
          <a:p>
            <a:r>
              <a:rPr lang="en-US" dirty="0"/>
              <a:t>We are going to talk about…</a:t>
            </a:r>
          </a:p>
        </p:txBody>
      </p:sp>
      <p:sp>
        <p:nvSpPr>
          <p:cNvPr id="7" name="Text Placeholder 4">
            <a:extLst>
              <a:ext uri="{FF2B5EF4-FFF2-40B4-BE49-F238E27FC236}">
                <a16:creationId xmlns:a16="http://schemas.microsoft.com/office/drawing/2014/main" id="{63765791-BF79-472B-ACEA-FA2DB95D860D}"/>
              </a:ext>
            </a:extLst>
          </p:cNvPr>
          <p:cNvSpPr txBox="1">
            <a:spLocks/>
          </p:cNvSpPr>
          <p:nvPr/>
        </p:nvSpPr>
        <p:spPr>
          <a:xfrm>
            <a:off x="227348" y="1815351"/>
            <a:ext cx="11700000" cy="4466201"/>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r>
              <a:rPr lang="en-US" dirty="0"/>
              <a:t>What’s new in C# 8.0</a:t>
            </a:r>
          </a:p>
          <a:p>
            <a:pPr lvl="2"/>
            <a:r>
              <a:rPr lang="en-US" dirty="0"/>
              <a:t>Nullable reference types,</a:t>
            </a:r>
            <a:endParaRPr lang="en-GB" dirty="0"/>
          </a:p>
        </p:txBody>
      </p:sp>
    </p:spTree>
    <p:extLst>
      <p:ext uri="{BB962C8B-B14F-4D97-AF65-F5344CB8AC3E}">
        <p14:creationId xmlns:p14="http://schemas.microsoft.com/office/powerpoint/2010/main" val="347885301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
                                            <p:txEl>
                                              <p:pRg st="1" end="1"/>
                                            </p:txEl>
                                          </p:spTgt>
                                        </p:tgtEl>
                                        <p:attrNameLst>
                                          <p:attrName>style.visibility</p:attrName>
                                        </p:attrNameLst>
                                      </p:cBhvr>
                                      <p:to>
                                        <p:strVal val="visible"/>
                                      </p:to>
                                    </p:set>
                                    <p:animEffect transition="in" filter="fade">
                                      <p:cBhvr>
                                        <p:cTn id="7" dur="500"/>
                                        <p:tgtEl>
                                          <p:spTgt spid="7">
                                            <p:txEl>
                                              <p:pRg st="1" end="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ytuł 1">
            <a:extLst>
              <a:ext uri="{FF2B5EF4-FFF2-40B4-BE49-F238E27FC236}">
                <a16:creationId xmlns:a16="http://schemas.microsoft.com/office/drawing/2014/main" id="{95F29672-D5A7-40C0-B98C-9E3B72ED2BD5}"/>
              </a:ext>
            </a:extLst>
          </p:cNvPr>
          <p:cNvSpPr>
            <a:spLocks noGrp="1"/>
          </p:cNvSpPr>
          <p:nvPr>
            <p:ph type="title"/>
          </p:nvPr>
        </p:nvSpPr>
        <p:spPr/>
        <p:txBody>
          <a:bodyPr/>
          <a:lstStyle/>
          <a:p>
            <a:r>
              <a:rPr lang="en-US" dirty="0"/>
              <a:t>Dive into an example</a:t>
            </a:r>
          </a:p>
        </p:txBody>
      </p:sp>
      <p:sp>
        <p:nvSpPr>
          <p:cNvPr id="3" name="Symbol zastępczy tekstu 2">
            <a:extLst>
              <a:ext uri="{FF2B5EF4-FFF2-40B4-BE49-F238E27FC236}">
                <a16:creationId xmlns:a16="http://schemas.microsoft.com/office/drawing/2014/main" id="{A8210D27-EE36-4C58-BF1C-6188E7B298E6}"/>
              </a:ext>
            </a:extLst>
          </p:cNvPr>
          <p:cNvSpPr>
            <a:spLocks noGrp="1"/>
          </p:cNvSpPr>
          <p:nvPr>
            <p:ph type="body" sz="quarter" idx="10"/>
          </p:nvPr>
        </p:nvSpPr>
        <p:spPr/>
        <p:txBody>
          <a:bodyPr/>
          <a:lstStyle/>
          <a:p>
            <a:pPr lvl="1"/>
            <a:r>
              <a:rPr lang="en-US" dirty="0">
                <a:solidFill>
                  <a:schemeClr val="bg1">
                    <a:lumMod val="95000"/>
                  </a:schemeClr>
                </a:solidFill>
              </a:rPr>
              <a:t>Pre-requirement software</a:t>
            </a:r>
          </a:p>
          <a:p>
            <a:pPr lvl="2"/>
            <a:r>
              <a:rPr lang="en-US" dirty="0">
                <a:solidFill>
                  <a:schemeClr val="bg1">
                    <a:lumMod val="95000"/>
                  </a:schemeClr>
                </a:solidFill>
              </a:rPr>
              <a:t>Microsoft Visual Studio Enterprise 2019 Preview </a:t>
            </a:r>
            <a:br>
              <a:rPr lang="en-US" dirty="0">
                <a:solidFill>
                  <a:schemeClr val="bg1">
                    <a:lumMod val="95000"/>
                  </a:schemeClr>
                </a:solidFill>
              </a:rPr>
            </a:br>
            <a:r>
              <a:rPr lang="en-US" dirty="0">
                <a:solidFill>
                  <a:schemeClr val="bg1">
                    <a:lumMod val="95000"/>
                  </a:schemeClr>
                </a:solidFill>
              </a:rPr>
              <a:t>Version 16.0.0 Preview 2.2,</a:t>
            </a:r>
          </a:p>
          <a:p>
            <a:pPr lvl="2"/>
            <a:r>
              <a:rPr lang="en-US" dirty="0">
                <a:solidFill>
                  <a:schemeClr val="bg1">
                    <a:lumMod val="95000"/>
                  </a:schemeClr>
                </a:solidFill>
              </a:rPr>
              <a:t>Microsoft .NET Core SDK 3.0.100.010184.</a:t>
            </a:r>
          </a:p>
          <a:p>
            <a:pPr lvl="1"/>
            <a:r>
              <a:rPr lang="en-US" dirty="0">
                <a:solidFill>
                  <a:schemeClr val="bg1">
                    <a:lumMod val="95000"/>
                  </a:schemeClr>
                </a:solidFill>
              </a:rPr>
              <a:t>Visual Studio solution structure</a:t>
            </a:r>
          </a:p>
          <a:p>
            <a:pPr lvl="2"/>
            <a:r>
              <a:rPr lang="en-US" dirty="0">
                <a:solidFill>
                  <a:schemeClr val="bg1">
                    <a:lumMod val="95000"/>
                  </a:schemeClr>
                </a:solidFill>
              </a:rPr>
              <a:t>00.Example,</a:t>
            </a:r>
          </a:p>
          <a:p>
            <a:pPr lvl="3"/>
            <a:r>
              <a:rPr lang="en-US" dirty="0">
                <a:solidFill>
                  <a:schemeClr val="bg1">
                    <a:lumMod val="95000"/>
                  </a:schemeClr>
                </a:solidFill>
              </a:rPr>
              <a:t>#region C#7.0 Example, </a:t>
            </a:r>
          </a:p>
          <a:p>
            <a:pPr lvl="3"/>
            <a:r>
              <a:rPr lang="en-US" dirty="0">
                <a:solidFill>
                  <a:schemeClr val="bg1">
                    <a:lumMod val="95000"/>
                  </a:schemeClr>
                </a:solidFill>
              </a:rPr>
              <a:t>#region C#7.1 Example,</a:t>
            </a:r>
          </a:p>
          <a:p>
            <a:pPr lvl="4"/>
            <a:r>
              <a:rPr lang="en-US" dirty="0">
                <a:solidFill>
                  <a:schemeClr val="bg1">
                    <a:lumMod val="95000"/>
                  </a:schemeClr>
                </a:solidFill>
              </a:rPr>
              <a:t>#define _02_CSharp71_EXAMPLE_Question</a:t>
            </a:r>
          </a:p>
          <a:p>
            <a:pPr lvl="4"/>
            <a:r>
              <a:rPr lang="en-US" dirty="0">
                <a:solidFill>
                  <a:schemeClr val="bg1">
                    <a:lumMod val="95000"/>
                  </a:schemeClr>
                </a:solidFill>
              </a:rPr>
              <a:t>…</a:t>
            </a:r>
          </a:p>
          <a:p>
            <a:pPr lvl="3"/>
            <a:r>
              <a:rPr lang="en-US" dirty="0">
                <a:solidFill>
                  <a:schemeClr val="bg1">
                    <a:lumMod val="95000"/>
                  </a:schemeClr>
                </a:solidFill>
              </a:rPr>
              <a:t>…</a:t>
            </a:r>
          </a:p>
          <a:p>
            <a:pPr lvl="2"/>
            <a:r>
              <a:rPr lang="en-US" dirty="0">
                <a:solidFill>
                  <a:schemeClr val="bg1">
                    <a:lumMod val="95000"/>
                  </a:schemeClr>
                </a:solidFill>
              </a:rPr>
              <a:t>01.AsyncMain,</a:t>
            </a:r>
          </a:p>
          <a:p>
            <a:pPr lvl="2"/>
            <a:r>
              <a:rPr lang="en-US" dirty="0">
                <a:solidFill>
                  <a:schemeClr val="bg1">
                    <a:lumMod val="95000"/>
                  </a:schemeClr>
                </a:solidFill>
              </a:rPr>
              <a:t>…</a:t>
            </a:r>
          </a:p>
        </p:txBody>
      </p:sp>
      <p:sp>
        <p:nvSpPr>
          <p:cNvPr id="4" name="Symbol zastępczy tekstu 3">
            <a:extLst>
              <a:ext uri="{FF2B5EF4-FFF2-40B4-BE49-F238E27FC236}">
                <a16:creationId xmlns:a16="http://schemas.microsoft.com/office/drawing/2014/main" id="{54F2EB2C-CAA2-4384-BC6B-E7F319DC54E0}"/>
              </a:ext>
            </a:extLst>
          </p:cNvPr>
          <p:cNvSpPr>
            <a:spLocks noGrp="1"/>
          </p:cNvSpPr>
          <p:nvPr>
            <p:ph type="body" sz="quarter" idx="11"/>
          </p:nvPr>
        </p:nvSpPr>
        <p:spPr/>
        <p:txBody>
          <a:bodyPr/>
          <a:lstStyle/>
          <a:p>
            <a:r>
              <a:rPr lang="en-US" dirty="0"/>
              <a:t>How things will goanna to work here</a:t>
            </a:r>
          </a:p>
        </p:txBody>
      </p:sp>
      <p:sp>
        <p:nvSpPr>
          <p:cNvPr id="5" name="Symbol zastępczy tekstu 4">
            <a:extLst>
              <a:ext uri="{FF2B5EF4-FFF2-40B4-BE49-F238E27FC236}">
                <a16:creationId xmlns:a16="http://schemas.microsoft.com/office/drawing/2014/main" id="{0646A9C7-7C80-4303-9459-BBC215B1883B}"/>
              </a:ext>
            </a:extLst>
          </p:cNvPr>
          <p:cNvSpPr>
            <a:spLocks noGrp="1"/>
          </p:cNvSpPr>
          <p:nvPr>
            <p:ph type="body" sz="quarter" idx="12"/>
          </p:nvPr>
        </p:nvSpPr>
        <p:spPr/>
        <p:txBody>
          <a:bodyPr/>
          <a:lstStyle/>
          <a:p>
            <a:r>
              <a:rPr lang="en-US" dirty="0"/>
              <a:t>2</a:t>
            </a:r>
          </a:p>
        </p:txBody>
      </p:sp>
      <p:sp>
        <p:nvSpPr>
          <p:cNvPr id="9" name="Symbol zastępczy tekstu 2">
            <a:extLst>
              <a:ext uri="{FF2B5EF4-FFF2-40B4-BE49-F238E27FC236}">
                <a16:creationId xmlns:a16="http://schemas.microsoft.com/office/drawing/2014/main" id="{3766B312-BF49-451F-A096-A0461C69A215}"/>
              </a:ext>
            </a:extLst>
          </p:cNvPr>
          <p:cNvSpPr txBox="1">
            <a:spLocks/>
          </p:cNvSpPr>
          <p:nvPr/>
        </p:nvSpPr>
        <p:spPr>
          <a:xfrm>
            <a:off x="227347" y="1815351"/>
            <a:ext cx="11700000" cy="4467600"/>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r>
              <a:rPr lang="en-US" dirty="0"/>
              <a:t>Pre-requirement software</a:t>
            </a:r>
          </a:p>
          <a:p>
            <a:pPr lvl="2"/>
            <a:r>
              <a:rPr lang="en-US" dirty="0"/>
              <a:t>Microsoft Visual Studio Enterprise 2019 Preview </a:t>
            </a:r>
            <a:br>
              <a:rPr lang="en-US" dirty="0"/>
            </a:br>
            <a:r>
              <a:rPr lang="en-US" dirty="0"/>
              <a:t>Version 16.0.0 Preview 2.2,</a:t>
            </a:r>
          </a:p>
          <a:p>
            <a:pPr lvl="2"/>
            <a:r>
              <a:rPr lang="en-US" dirty="0"/>
              <a:t>Microsoft .NET Core SDK 3.0.100.010184.</a:t>
            </a:r>
          </a:p>
          <a:p>
            <a:pPr lvl="1"/>
            <a:r>
              <a:rPr lang="en-US" dirty="0"/>
              <a:t>Visual Studio solution structure</a:t>
            </a:r>
          </a:p>
          <a:p>
            <a:pPr lvl="2"/>
            <a:r>
              <a:rPr lang="en-US" dirty="0"/>
              <a:t>00.Example,</a:t>
            </a:r>
          </a:p>
          <a:p>
            <a:pPr lvl="3"/>
            <a:r>
              <a:rPr lang="en-US" dirty="0"/>
              <a:t>#region C#7.0 Example, </a:t>
            </a:r>
          </a:p>
          <a:p>
            <a:pPr lvl="3"/>
            <a:r>
              <a:rPr lang="en-US" dirty="0"/>
              <a:t>#region C#7.1 Example,</a:t>
            </a:r>
          </a:p>
          <a:p>
            <a:pPr lvl="4"/>
            <a:r>
              <a:rPr lang="en-US" dirty="0"/>
              <a:t>#define _02_CSharp71_EXAMPLE_Question</a:t>
            </a:r>
          </a:p>
          <a:p>
            <a:pPr lvl="4"/>
            <a:r>
              <a:rPr lang="en-US" dirty="0"/>
              <a:t>…</a:t>
            </a:r>
          </a:p>
          <a:p>
            <a:pPr lvl="3"/>
            <a:r>
              <a:rPr lang="en-US" dirty="0"/>
              <a:t>…</a:t>
            </a:r>
          </a:p>
          <a:p>
            <a:pPr lvl="2"/>
            <a:r>
              <a:rPr lang="en-US" dirty="0"/>
              <a:t>01.AsyncMain,</a:t>
            </a:r>
          </a:p>
          <a:p>
            <a:pPr lvl="2"/>
            <a:r>
              <a:rPr lang="en-US" dirty="0"/>
              <a:t>…</a:t>
            </a:r>
          </a:p>
        </p:txBody>
      </p:sp>
    </p:spTree>
    <p:extLst>
      <p:ext uri="{BB962C8B-B14F-4D97-AF65-F5344CB8AC3E}">
        <p14:creationId xmlns:p14="http://schemas.microsoft.com/office/powerpoint/2010/main" val="273031555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9">
                                            <p:txEl>
                                              <p:pRg st="1" end="1"/>
                                            </p:txEl>
                                          </p:spTgt>
                                        </p:tgtEl>
                                        <p:attrNameLst>
                                          <p:attrName>style.visibility</p:attrName>
                                        </p:attrNameLst>
                                      </p:cBhvr>
                                      <p:to>
                                        <p:strVal val="visible"/>
                                      </p:to>
                                    </p:set>
                                    <p:animEffect transition="in" filter="fade">
                                      <p:cBhvr>
                                        <p:cTn id="7" dur="500"/>
                                        <p:tgtEl>
                                          <p:spTgt spid="9">
                                            <p:txEl>
                                              <p:pRg st="1" end="1"/>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9">
                                            <p:txEl>
                                              <p:pRg st="2" end="2"/>
                                            </p:txEl>
                                          </p:spTgt>
                                        </p:tgtEl>
                                        <p:attrNameLst>
                                          <p:attrName>style.visibility</p:attrName>
                                        </p:attrNameLst>
                                      </p:cBhvr>
                                      <p:to>
                                        <p:strVal val="visible"/>
                                      </p:to>
                                    </p:set>
                                    <p:animEffect transition="in" filter="fade">
                                      <p:cBhvr>
                                        <p:cTn id="10" dur="500"/>
                                        <p:tgtEl>
                                          <p:spTgt spid="9">
                                            <p:txEl>
                                              <p:pRg st="2" end="2"/>
                                            </p:txEl>
                                          </p:spTgt>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9">
                                            <p:txEl>
                                              <p:pRg st="3" end="3"/>
                                            </p:txEl>
                                          </p:spTgt>
                                        </p:tgtEl>
                                        <p:attrNameLst>
                                          <p:attrName>style.visibility</p:attrName>
                                        </p:attrNameLst>
                                      </p:cBhvr>
                                      <p:to>
                                        <p:strVal val="visible"/>
                                      </p:to>
                                    </p:set>
                                    <p:animEffect transition="in" filter="fade">
                                      <p:cBhvr>
                                        <p:cTn id="15" dur="500"/>
                                        <p:tgtEl>
                                          <p:spTgt spid="9">
                                            <p:txEl>
                                              <p:pRg st="3" end="3"/>
                                            </p:txEl>
                                          </p:spTgt>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9">
                                            <p:txEl>
                                              <p:pRg st="4" end="4"/>
                                            </p:txEl>
                                          </p:spTgt>
                                        </p:tgtEl>
                                        <p:attrNameLst>
                                          <p:attrName>style.visibility</p:attrName>
                                        </p:attrNameLst>
                                      </p:cBhvr>
                                      <p:to>
                                        <p:strVal val="visible"/>
                                      </p:to>
                                    </p:set>
                                    <p:animEffect transition="in" filter="fade">
                                      <p:cBhvr>
                                        <p:cTn id="18" dur="500"/>
                                        <p:tgtEl>
                                          <p:spTgt spid="9">
                                            <p:txEl>
                                              <p:pRg st="4" end="4"/>
                                            </p:txEl>
                                          </p:spTgt>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9">
                                            <p:txEl>
                                              <p:pRg st="5" end="5"/>
                                            </p:txEl>
                                          </p:spTgt>
                                        </p:tgtEl>
                                        <p:attrNameLst>
                                          <p:attrName>style.visibility</p:attrName>
                                        </p:attrNameLst>
                                      </p:cBhvr>
                                      <p:to>
                                        <p:strVal val="visible"/>
                                      </p:to>
                                    </p:set>
                                    <p:animEffect transition="in" filter="fade">
                                      <p:cBhvr>
                                        <p:cTn id="21" dur="500"/>
                                        <p:tgtEl>
                                          <p:spTgt spid="9">
                                            <p:txEl>
                                              <p:pRg st="5" end="5"/>
                                            </p:txEl>
                                          </p:spTgt>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9">
                                            <p:txEl>
                                              <p:pRg st="6" end="6"/>
                                            </p:txEl>
                                          </p:spTgt>
                                        </p:tgtEl>
                                        <p:attrNameLst>
                                          <p:attrName>style.visibility</p:attrName>
                                        </p:attrNameLst>
                                      </p:cBhvr>
                                      <p:to>
                                        <p:strVal val="visible"/>
                                      </p:to>
                                    </p:set>
                                    <p:animEffect transition="in" filter="fade">
                                      <p:cBhvr>
                                        <p:cTn id="24" dur="500"/>
                                        <p:tgtEl>
                                          <p:spTgt spid="9">
                                            <p:txEl>
                                              <p:pRg st="6" end="6"/>
                                            </p:txEl>
                                          </p:spTgt>
                                        </p:tgtEl>
                                      </p:cBhvr>
                                    </p:animEffect>
                                  </p:childTnLst>
                                </p:cTn>
                              </p:par>
                              <p:par>
                                <p:cTn id="25" presetID="10" presetClass="entr" presetSubtype="0" fill="hold" grpId="0" nodeType="withEffect">
                                  <p:stCondLst>
                                    <p:cond delay="0"/>
                                  </p:stCondLst>
                                  <p:childTnLst>
                                    <p:set>
                                      <p:cBhvr>
                                        <p:cTn id="26" dur="1" fill="hold">
                                          <p:stCondLst>
                                            <p:cond delay="0"/>
                                          </p:stCondLst>
                                        </p:cTn>
                                        <p:tgtEl>
                                          <p:spTgt spid="9">
                                            <p:txEl>
                                              <p:pRg st="7" end="7"/>
                                            </p:txEl>
                                          </p:spTgt>
                                        </p:tgtEl>
                                        <p:attrNameLst>
                                          <p:attrName>style.visibility</p:attrName>
                                        </p:attrNameLst>
                                      </p:cBhvr>
                                      <p:to>
                                        <p:strVal val="visible"/>
                                      </p:to>
                                    </p:set>
                                    <p:animEffect transition="in" filter="fade">
                                      <p:cBhvr>
                                        <p:cTn id="27" dur="500"/>
                                        <p:tgtEl>
                                          <p:spTgt spid="9">
                                            <p:txEl>
                                              <p:pRg st="7" end="7"/>
                                            </p:txEl>
                                          </p:spTgt>
                                        </p:tgtEl>
                                      </p:cBhvr>
                                    </p:animEffect>
                                  </p:childTnLst>
                                </p:cTn>
                              </p:par>
                              <p:par>
                                <p:cTn id="28" presetID="10" presetClass="entr" presetSubtype="0" fill="hold" grpId="0" nodeType="withEffect">
                                  <p:stCondLst>
                                    <p:cond delay="0"/>
                                  </p:stCondLst>
                                  <p:childTnLst>
                                    <p:set>
                                      <p:cBhvr>
                                        <p:cTn id="29" dur="1" fill="hold">
                                          <p:stCondLst>
                                            <p:cond delay="0"/>
                                          </p:stCondLst>
                                        </p:cTn>
                                        <p:tgtEl>
                                          <p:spTgt spid="9">
                                            <p:txEl>
                                              <p:pRg st="8" end="8"/>
                                            </p:txEl>
                                          </p:spTgt>
                                        </p:tgtEl>
                                        <p:attrNameLst>
                                          <p:attrName>style.visibility</p:attrName>
                                        </p:attrNameLst>
                                      </p:cBhvr>
                                      <p:to>
                                        <p:strVal val="visible"/>
                                      </p:to>
                                    </p:set>
                                    <p:animEffect transition="in" filter="fade">
                                      <p:cBhvr>
                                        <p:cTn id="30" dur="500"/>
                                        <p:tgtEl>
                                          <p:spTgt spid="9">
                                            <p:txEl>
                                              <p:pRg st="8" end="8"/>
                                            </p:txEl>
                                          </p:spTgt>
                                        </p:tgtEl>
                                      </p:cBhvr>
                                    </p:animEffect>
                                  </p:childTnLst>
                                </p:cTn>
                              </p:par>
                              <p:par>
                                <p:cTn id="31" presetID="10" presetClass="entr" presetSubtype="0" fill="hold" grpId="0" nodeType="withEffect">
                                  <p:stCondLst>
                                    <p:cond delay="0"/>
                                  </p:stCondLst>
                                  <p:childTnLst>
                                    <p:set>
                                      <p:cBhvr>
                                        <p:cTn id="32" dur="1" fill="hold">
                                          <p:stCondLst>
                                            <p:cond delay="0"/>
                                          </p:stCondLst>
                                        </p:cTn>
                                        <p:tgtEl>
                                          <p:spTgt spid="9">
                                            <p:txEl>
                                              <p:pRg st="9" end="9"/>
                                            </p:txEl>
                                          </p:spTgt>
                                        </p:tgtEl>
                                        <p:attrNameLst>
                                          <p:attrName>style.visibility</p:attrName>
                                        </p:attrNameLst>
                                      </p:cBhvr>
                                      <p:to>
                                        <p:strVal val="visible"/>
                                      </p:to>
                                    </p:set>
                                    <p:animEffect transition="in" filter="fade">
                                      <p:cBhvr>
                                        <p:cTn id="33" dur="500"/>
                                        <p:tgtEl>
                                          <p:spTgt spid="9">
                                            <p:txEl>
                                              <p:pRg st="9" end="9"/>
                                            </p:txEl>
                                          </p:spTgt>
                                        </p:tgtEl>
                                      </p:cBhvr>
                                    </p:animEffect>
                                  </p:childTnLst>
                                </p:cTn>
                              </p:par>
                              <p:par>
                                <p:cTn id="34" presetID="10" presetClass="entr" presetSubtype="0" fill="hold" grpId="0" nodeType="withEffect">
                                  <p:stCondLst>
                                    <p:cond delay="0"/>
                                  </p:stCondLst>
                                  <p:childTnLst>
                                    <p:set>
                                      <p:cBhvr>
                                        <p:cTn id="35" dur="1" fill="hold">
                                          <p:stCondLst>
                                            <p:cond delay="0"/>
                                          </p:stCondLst>
                                        </p:cTn>
                                        <p:tgtEl>
                                          <p:spTgt spid="9">
                                            <p:txEl>
                                              <p:pRg st="10" end="10"/>
                                            </p:txEl>
                                          </p:spTgt>
                                        </p:tgtEl>
                                        <p:attrNameLst>
                                          <p:attrName>style.visibility</p:attrName>
                                        </p:attrNameLst>
                                      </p:cBhvr>
                                      <p:to>
                                        <p:strVal val="visible"/>
                                      </p:to>
                                    </p:set>
                                    <p:animEffect transition="in" filter="fade">
                                      <p:cBhvr>
                                        <p:cTn id="36" dur="500"/>
                                        <p:tgtEl>
                                          <p:spTgt spid="9">
                                            <p:txEl>
                                              <p:pRg st="10" end="10"/>
                                            </p:txEl>
                                          </p:spTgt>
                                        </p:tgtEl>
                                      </p:cBhvr>
                                    </p:animEffect>
                                  </p:childTnLst>
                                </p:cTn>
                              </p:par>
                              <p:par>
                                <p:cTn id="37" presetID="10" presetClass="entr" presetSubtype="0" fill="hold" grpId="0" nodeType="withEffect">
                                  <p:stCondLst>
                                    <p:cond delay="0"/>
                                  </p:stCondLst>
                                  <p:childTnLst>
                                    <p:set>
                                      <p:cBhvr>
                                        <p:cTn id="38" dur="1" fill="hold">
                                          <p:stCondLst>
                                            <p:cond delay="0"/>
                                          </p:stCondLst>
                                        </p:cTn>
                                        <p:tgtEl>
                                          <p:spTgt spid="9">
                                            <p:txEl>
                                              <p:pRg st="11" end="11"/>
                                            </p:txEl>
                                          </p:spTgt>
                                        </p:tgtEl>
                                        <p:attrNameLst>
                                          <p:attrName>style.visibility</p:attrName>
                                        </p:attrNameLst>
                                      </p:cBhvr>
                                      <p:to>
                                        <p:strVal val="visible"/>
                                      </p:to>
                                    </p:set>
                                    <p:animEffect transition="in" filter="fade">
                                      <p:cBhvr>
                                        <p:cTn id="39" dur="500"/>
                                        <p:tgtEl>
                                          <p:spTgt spid="9">
                                            <p:txEl>
                                              <p:pRg st="11" end="1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uiExpand="1" build="p"/>
    </p:bldLst>
  </p:timing>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1">
            <a:extLst>
              <a:ext uri="{FF2B5EF4-FFF2-40B4-BE49-F238E27FC236}">
                <a16:creationId xmlns:a16="http://schemas.microsoft.com/office/drawing/2014/main" id="{F020ACF8-239C-4F55-BECD-24775DC9CB64}"/>
              </a:ext>
            </a:extLst>
          </p:cNvPr>
          <p:cNvSpPr>
            <a:spLocks noGrp="1"/>
          </p:cNvSpPr>
          <p:nvPr>
            <p:ph type="pic" sz="quarter" idx="10"/>
          </p:nvPr>
        </p:nvSpPr>
        <p:spPr/>
      </p:sp>
      <p:sp>
        <p:nvSpPr>
          <p:cNvPr id="6" name="Symbol zastępczy tekstu 5">
            <a:extLst>
              <a:ext uri="{FF2B5EF4-FFF2-40B4-BE49-F238E27FC236}">
                <a16:creationId xmlns:a16="http://schemas.microsoft.com/office/drawing/2014/main" id="{EC19D1F0-CA19-48E4-B6B7-FE7D3388EB92}"/>
              </a:ext>
            </a:extLst>
          </p:cNvPr>
          <p:cNvSpPr>
            <a:spLocks noGrp="1"/>
          </p:cNvSpPr>
          <p:nvPr>
            <p:ph type="body" sz="quarter" idx="11"/>
          </p:nvPr>
        </p:nvSpPr>
        <p:spPr/>
        <p:txBody>
          <a:bodyPr/>
          <a:lstStyle/>
          <a:p>
            <a:r>
              <a:rPr lang="en-US" dirty="0"/>
              <a:t>What’s new in C# 8.0</a:t>
            </a:r>
          </a:p>
          <a:p>
            <a:r>
              <a:rPr lang="en-US" sz="2400" dirty="0"/>
              <a:t>Nullable reference types</a:t>
            </a:r>
          </a:p>
        </p:txBody>
      </p:sp>
      <p:sp>
        <p:nvSpPr>
          <p:cNvPr id="7" name="Freeform 37">
            <a:extLst>
              <a:ext uri="{FF2B5EF4-FFF2-40B4-BE49-F238E27FC236}">
                <a16:creationId xmlns:a16="http://schemas.microsoft.com/office/drawing/2014/main" id="{1A0A2503-2ACB-4112-B7E3-F34F626135FD}"/>
              </a:ext>
            </a:extLst>
          </p:cNvPr>
          <p:cNvSpPr>
            <a:spLocks/>
          </p:cNvSpPr>
          <p:nvPr/>
        </p:nvSpPr>
        <p:spPr bwMode="auto">
          <a:xfrm>
            <a:off x="8830800" y="3578400"/>
            <a:ext cx="844550" cy="793750"/>
          </a:xfrm>
          <a:custGeom>
            <a:avLst/>
            <a:gdLst>
              <a:gd name="T0" fmla="*/ 51 w 440"/>
              <a:gd name="T1" fmla="*/ 298 h 410"/>
              <a:gd name="T2" fmla="*/ 128 w 440"/>
              <a:gd name="T3" fmla="*/ 48 h 410"/>
              <a:gd name="T4" fmla="*/ 389 w 440"/>
              <a:gd name="T5" fmla="*/ 122 h 410"/>
              <a:gd name="T6" fmla="*/ 307 w 440"/>
              <a:gd name="T7" fmla="*/ 362 h 410"/>
              <a:gd name="T8" fmla="*/ 51 w 440"/>
              <a:gd name="T9" fmla="*/ 298 h 410"/>
            </a:gdLst>
            <a:ahLst/>
            <a:cxnLst>
              <a:cxn ang="0">
                <a:pos x="T0" y="T1"/>
              </a:cxn>
              <a:cxn ang="0">
                <a:pos x="T2" y="T3"/>
              </a:cxn>
              <a:cxn ang="0">
                <a:pos x="T4" y="T5"/>
              </a:cxn>
              <a:cxn ang="0">
                <a:pos x="T6" y="T7"/>
              </a:cxn>
              <a:cxn ang="0">
                <a:pos x="T8" y="T9"/>
              </a:cxn>
            </a:cxnLst>
            <a:rect l="0" t="0" r="r" b="b"/>
            <a:pathLst>
              <a:path w="440" h="410">
                <a:moveTo>
                  <a:pt x="51" y="298"/>
                </a:moveTo>
                <a:cubicBezTo>
                  <a:pt x="0" y="209"/>
                  <a:pt x="34" y="97"/>
                  <a:pt x="128" y="48"/>
                </a:cubicBezTo>
                <a:cubicBezTo>
                  <a:pt x="221" y="0"/>
                  <a:pt x="338" y="33"/>
                  <a:pt x="389" y="122"/>
                </a:cubicBezTo>
                <a:cubicBezTo>
                  <a:pt x="440" y="212"/>
                  <a:pt x="400" y="313"/>
                  <a:pt x="307" y="362"/>
                </a:cubicBezTo>
                <a:cubicBezTo>
                  <a:pt x="214" y="410"/>
                  <a:pt x="102" y="388"/>
                  <a:pt x="51" y="298"/>
                </a:cubicBezTo>
              </a:path>
            </a:pathLst>
          </a:custGeom>
          <a:solidFill>
            <a:srgbClr val="860864"/>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8" name="Oval 20">
            <a:extLst>
              <a:ext uri="{FF2B5EF4-FFF2-40B4-BE49-F238E27FC236}">
                <a16:creationId xmlns:a16="http://schemas.microsoft.com/office/drawing/2014/main" id="{19EF1EDC-8499-4311-8AB2-BAA01C1BD694}"/>
              </a:ext>
            </a:extLst>
          </p:cNvPr>
          <p:cNvSpPr/>
          <p:nvPr/>
        </p:nvSpPr>
        <p:spPr>
          <a:xfrm>
            <a:off x="6899617" y="3501008"/>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9" name="Oval 20">
            <a:extLst>
              <a:ext uri="{FF2B5EF4-FFF2-40B4-BE49-F238E27FC236}">
                <a16:creationId xmlns:a16="http://schemas.microsoft.com/office/drawing/2014/main" id="{C5B7AA83-F477-4504-BAA2-F35AF725510C}"/>
              </a:ext>
            </a:extLst>
          </p:cNvPr>
          <p:cNvSpPr/>
          <p:nvPr/>
        </p:nvSpPr>
        <p:spPr>
          <a:xfrm>
            <a:off x="8904312" y="4263464"/>
            <a:ext cx="1356623" cy="128178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12" name="Group 573">
            <a:extLst>
              <a:ext uri="{FF2B5EF4-FFF2-40B4-BE49-F238E27FC236}">
                <a16:creationId xmlns:a16="http://schemas.microsoft.com/office/drawing/2014/main" id="{67A1F480-3C5A-460A-9422-9C53FD2ABF2A}"/>
              </a:ext>
            </a:extLst>
          </p:cNvPr>
          <p:cNvGrpSpPr/>
          <p:nvPr/>
        </p:nvGrpSpPr>
        <p:grpSpPr>
          <a:xfrm>
            <a:off x="7463907" y="3795537"/>
            <a:ext cx="935190" cy="1430800"/>
            <a:chOff x="9067801" y="3706813"/>
            <a:chExt cx="344487" cy="527050"/>
          </a:xfrm>
        </p:grpSpPr>
        <p:sp>
          <p:nvSpPr>
            <p:cNvPr id="13" name="Freeform 128">
              <a:extLst>
                <a:ext uri="{FF2B5EF4-FFF2-40B4-BE49-F238E27FC236}">
                  <a16:creationId xmlns:a16="http://schemas.microsoft.com/office/drawing/2014/main" id="{7E4D1F9C-CB35-4CA5-ACCB-0665EE81F82F}"/>
                </a:ext>
              </a:extLst>
            </p:cNvPr>
            <p:cNvSpPr>
              <a:spLocks/>
            </p:cNvSpPr>
            <p:nvPr/>
          </p:nvSpPr>
          <p:spPr bwMode="auto">
            <a:xfrm>
              <a:off x="9217026" y="4211638"/>
              <a:ext cx="77787" cy="22225"/>
            </a:xfrm>
            <a:custGeom>
              <a:avLst/>
              <a:gdLst>
                <a:gd name="T0" fmla="*/ 0 w 40"/>
                <a:gd name="T1" fmla="*/ 0 h 11"/>
                <a:gd name="T2" fmla="*/ 12 w 40"/>
                <a:gd name="T3" fmla="*/ 11 h 11"/>
                <a:gd name="T4" fmla="*/ 40 w 40"/>
                <a:gd name="T5" fmla="*/ 0 h 11"/>
                <a:gd name="T6" fmla="*/ 0 w 40"/>
                <a:gd name="T7" fmla="*/ 0 h 11"/>
              </a:gdLst>
              <a:ahLst/>
              <a:cxnLst>
                <a:cxn ang="0">
                  <a:pos x="T0" y="T1"/>
                </a:cxn>
                <a:cxn ang="0">
                  <a:pos x="T2" y="T3"/>
                </a:cxn>
                <a:cxn ang="0">
                  <a:pos x="T4" y="T5"/>
                </a:cxn>
                <a:cxn ang="0">
                  <a:pos x="T6" y="T7"/>
                </a:cxn>
              </a:cxnLst>
              <a:rect l="0" t="0" r="r" b="b"/>
              <a:pathLst>
                <a:path w="40" h="11">
                  <a:moveTo>
                    <a:pt x="0" y="0"/>
                  </a:moveTo>
                  <a:cubicBezTo>
                    <a:pt x="7" y="6"/>
                    <a:pt x="12" y="11"/>
                    <a:pt x="12" y="11"/>
                  </a:cubicBezTo>
                  <a:cubicBezTo>
                    <a:pt x="24" y="11"/>
                    <a:pt x="34" y="6"/>
                    <a:pt x="40" y="0"/>
                  </a:cubicBezTo>
                  <a:lnTo>
                    <a:pt x="0" y="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4" name="Freeform 129">
              <a:extLst>
                <a:ext uri="{FF2B5EF4-FFF2-40B4-BE49-F238E27FC236}">
                  <a16:creationId xmlns:a16="http://schemas.microsoft.com/office/drawing/2014/main" id="{8C584CF2-040D-440A-BECA-524C6E8AFB59}"/>
                </a:ext>
              </a:extLst>
            </p:cNvPr>
            <p:cNvSpPr>
              <a:spLocks/>
            </p:cNvSpPr>
            <p:nvPr/>
          </p:nvSpPr>
          <p:spPr bwMode="auto">
            <a:xfrm>
              <a:off x="9169401" y="4102100"/>
              <a:ext cx="141287" cy="26988"/>
            </a:xfrm>
            <a:custGeom>
              <a:avLst/>
              <a:gdLst>
                <a:gd name="T0" fmla="*/ 73 w 73"/>
                <a:gd name="T1" fmla="*/ 8 h 14"/>
                <a:gd name="T2" fmla="*/ 68 w 73"/>
                <a:gd name="T3" fmla="*/ 14 h 14"/>
                <a:gd name="T4" fmla="*/ 5 w 73"/>
                <a:gd name="T5" fmla="*/ 14 h 14"/>
                <a:gd name="T6" fmla="*/ 0 w 73"/>
                <a:gd name="T7" fmla="*/ 8 h 14"/>
                <a:gd name="T8" fmla="*/ 0 w 73"/>
                <a:gd name="T9" fmla="*/ 5 h 14"/>
                <a:gd name="T10" fmla="*/ 5 w 73"/>
                <a:gd name="T11" fmla="*/ 0 h 14"/>
                <a:gd name="T12" fmla="*/ 68 w 73"/>
                <a:gd name="T13" fmla="*/ 0 h 14"/>
                <a:gd name="T14" fmla="*/ 73 w 73"/>
                <a:gd name="T15" fmla="*/ 5 h 14"/>
                <a:gd name="T16" fmla="*/ 73 w 73"/>
                <a:gd name="T17" fmla="*/ 8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 h="14">
                  <a:moveTo>
                    <a:pt x="73" y="8"/>
                  </a:moveTo>
                  <a:cubicBezTo>
                    <a:pt x="73" y="11"/>
                    <a:pt x="71" y="14"/>
                    <a:pt x="68" y="14"/>
                  </a:cubicBezTo>
                  <a:cubicBezTo>
                    <a:pt x="5" y="14"/>
                    <a:pt x="5" y="14"/>
                    <a:pt x="5" y="14"/>
                  </a:cubicBezTo>
                  <a:cubicBezTo>
                    <a:pt x="2" y="14"/>
                    <a:pt x="0" y="11"/>
                    <a:pt x="0" y="8"/>
                  </a:cubicBezTo>
                  <a:cubicBezTo>
                    <a:pt x="0" y="5"/>
                    <a:pt x="0" y="5"/>
                    <a:pt x="0" y="5"/>
                  </a:cubicBezTo>
                  <a:cubicBezTo>
                    <a:pt x="0" y="2"/>
                    <a:pt x="2" y="0"/>
                    <a:pt x="5" y="0"/>
                  </a:cubicBezTo>
                  <a:cubicBezTo>
                    <a:pt x="68" y="0"/>
                    <a:pt x="68" y="0"/>
                    <a:pt x="68" y="0"/>
                  </a:cubicBezTo>
                  <a:cubicBezTo>
                    <a:pt x="71" y="0"/>
                    <a:pt x="73" y="2"/>
                    <a:pt x="73" y="5"/>
                  </a:cubicBezTo>
                  <a:lnTo>
                    <a:pt x="73" y="8"/>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5" name="Freeform 130">
              <a:extLst>
                <a:ext uri="{FF2B5EF4-FFF2-40B4-BE49-F238E27FC236}">
                  <a16:creationId xmlns:a16="http://schemas.microsoft.com/office/drawing/2014/main" id="{C6344608-E269-4227-9562-BE8E3E6D5AFC}"/>
                </a:ext>
              </a:extLst>
            </p:cNvPr>
            <p:cNvSpPr>
              <a:spLocks/>
            </p:cNvSpPr>
            <p:nvPr/>
          </p:nvSpPr>
          <p:spPr bwMode="auto">
            <a:xfrm>
              <a:off x="9169401" y="4138613"/>
              <a:ext cx="141287" cy="25400"/>
            </a:xfrm>
            <a:custGeom>
              <a:avLst/>
              <a:gdLst>
                <a:gd name="T0" fmla="*/ 73 w 73"/>
                <a:gd name="T1" fmla="*/ 8 h 13"/>
                <a:gd name="T2" fmla="*/ 68 w 73"/>
                <a:gd name="T3" fmla="*/ 13 h 13"/>
                <a:gd name="T4" fmla="*/ 5 w 73"/>
                <a:gd name="T5" fmla="*/ 13 h 13"/>
                <a:gd name="T6" fmla="*/ 0 w 73"/>
                <a:gd name="T7" fmla="*/ 8 h 13"/>
                <a:gd name="T8" fmla="*/ 0 w 73"/>
                <a:gd name="T9" fmla="*/ 5 h 13"/>
                <a:gd name="T10" fmla="*/ 5 w 73"/>
                <a:gd name="T11" fmla="*/ 0 h 13"/>
                <a:gd name="T12" fmla="*/ 68 w 73"/>
                <a:gd name="T13" fmla="*/ 0 h 13"/>
                <a:gd name="T14" fmla="*/ 73 w 73"/>
                <a:gd name="T15" fmla="*/ 5 h 13"/>
                <a:gd name="T16" fmla="*/ 73 w 73"/>
                <a:gd name="T17" fmla="*/ 8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 h="13">
                  <a:moveTo>
                    <a:pt x="73" y="8"/>
                  </a:moveTo>
                  <a:cubicBezTo>
                    <a:pt x="73" y="11"/>
                    <a:pt x="71" y="13"/>
                    <a:pt x="68" y="13"/>
                  </a:cubicBezTo>
                  <a:cubicBezTo>
                    <a:pt x="5" y="13"/>
                    <a:pt x="5" y="13"/>
                    <a:pt x="5" y="13"/>
                  </a:cubicBezTo>
                  <a:cubicBezTo>
                    <a:pt x="2" y="13"/>
                    <a:pt x="0" y="11"/>
                    <a:pt x="0" y="8"/>
                  </a:cubicBezTo>
                  <a:cubicBezTo>
                    <a:pt x="0" y="5"/>
                    <a:pt x="0" y="5"/>
                    <a:pt x="0" y="5"/>
                  </a:cubicBezTo>
                  <a:cubicBezTo>
                    <a:pt x="0" y="2"/>
                    <a:pt x="2" y="0"/>
                    <a:pt x="5" y="0"/>
                  </a:cubicBezTo>
                  <a:cubicBezTo>
                    <a:pt x="68" y="0"/>
                    <a:pt x="68" y="0"/>
                    <a:pt x="68" y="0"/>
                  </a:cubicBezTo>
                  <a:cubicBezTo>
                    <a:pt x="71" y="0"/>
                    <a:pt x="73" y="2"/>
                    <a:pt x="73" y="5"/>
                  </a:cubicBezTo>
                  <a:lnTo>
                    <a:pt x="73" y="8"/>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6" name="Freeform 131">
              <a:extLst>
                <a:ext uri="{FF2B5EF4-FFF2-40B4-BE49-F238E27FC236}">
                  <a16:creationId xmlns:a16="http://schemas.microsoft.com/office/drawing/2014/main" id="{17D09F71-E457-4385-A112-2F37997B195D}"/>
                </a:ext>
              </a:extLst>
            </p:cNvPr>
            <p:cNvSpPr>
              <a:spLocks/>
            </p:cNvSpPr>
            <p:nvPr/>
          </p:nvSpPr>
          <p:spPr bwMode="auto">
            <a:xfrm>
              <a:off x="9169401" y="4173538"/>
              <a:ext cx="141287" cy="26988"/>
            </a:xfrm>
            <a:custGeom>
              <a:avLst/>
              <a:gdLst>
                <a:gd name="T0" fmla="*/ 73 w 73"/>
                <a:gd name="T1" fmla="*/ 9 h 14"/>
                <a:gd name="T2" fmla="*/ 68 w 73"/>
                <a:gd name="T3" fmla="*/ 14 h 14"/>
                <a:gd name="T4" fmla="*/ 5 w 73"/>
                <a:gd name="T5" fmla="*/ 14 h 14"/>
                <a:gd name="T6" fmla="*/ 0 w 73"/>
                <a:gd name="T7" fmla="*/ 9 h 14"/>
                <a:gd name="T8" fmla="*/ 0 w 73"/>
                <a:gd name="T9" fmla="*/ 6 h 14"/>
                <a:gd name="T10" fmla="*/ 5 w 73"/>
                <a:gd name="T11" fmla="*/ 0 h 14"/>
                <a:gd name="T12" fmla="*/ 68 w 73"/>
                <a:gd name="T13" fmla="*/ 0 h 14"/>
                <a:gd name="T14" fmla="*/ 73 w 73"/>
                <a:gd name="T15" fmla="*/ 6 h 14"/>
                <a:gd name="T16" fmla="*/ 73 w 73"/>
                <a:gd name="T17" fmla="*/ 9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 h="14">
                  <a:moveTo>
                    <a:pt x="73" y="9"/>
                  </a:moveTo>
                  <a:cubicBezTo>
                    <a:pt x="73" y="12"/>
                    <a:pt x="71" y="14"/>
                    <a:pt x="68" y="14"/>
                  </a:cubicBezTo>
                  <a:cubicBezTo>
                    <a:pt x="5" y="14"/>
                    <a:pt x="5" y="14"/>
                    <a:pt x="5" y="14"/>
                  </a:cubicBezTo>
                  <a:cubicBezTo>
                    <a:pt x="2" y="14"/>
                    <a:pt x="0" y="12"/>
                    <a:pt x="0" y="9"/>
                  </a:cubicBezTo>
                  <a:cubicBezTo>
                    <a:pt x="0" y="6"/>
                    <a:pt x="0" y="6"/>
                    <a:pt x="0" y="6"/>
                  </a:cubicBezTo>
                  <a:cubicBezTo>
                    <a:pt x="0" y="3"/>
                    <a:pt x="2" y="0"/>
                    <a:pt x="5" y="0"/>
                  </a:cubicBezTo>
                  <a:cubicBezTo>
                    <a:pt x="68" y="0"/>
                    <a:pt x="68" y="0"/>
                    <a:pt x="68" y="0"/>
                  </a:cubicBezTo>
                  <a:cubicBezTo>
                    <a:pt x="71" y="0"/>
                    <a:pt x="73" y="3"/>
                    <a:pt x="73" y="6"/>
                  </a:cubicBezTo>
                  <a:lnTo>
                    <a:pt x="73" y="9"/>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7" name="Freeform 132">
              <a:extLst>
                <a:ext uri="{FF2B5EF4-FFF2-40B4-BE49-F238E27FC236}">
                  <a16:creationId xmlns:a16="http://schemas.microsoft.com/office/drawing/2014/main" id="{4B452992-7424-4B8E-83F3-64547D392F4C}"/>
                </a:ext>
              </a:extLst>
            </p:cNvPr>
            <p:cNvSpPr>
              <a:spLocks/>
            </p:cNvSpPr>
            <p:nvPr/>
          </p:nvSpPr>
          <p:spPr bwMode="auto">
            <a:xfrm>
              <a:off x="9067801" y="3706813"/>
              <a:ext cx="344487" cy="373063"/>
            </a:xfrm>
            <a:custGeom>
              <a:avLst/>
              <a:gdLst>
                <a:gd name="T0" fmla="*/ 177 w 179"/>
                <a:gd name="T1" fmla="*/ 87 h 193"/>
                <a:gd name="T2" fmla="*/ 177 w 179"/>
                <a:gd name="T3" fmla="*/ 87 h 193"/>
                <a:gd name="T4" fmla="*/ 90 w 179"/>
                <a:gd name="T5" fmla="*/ 0 h 193"/>
                <a:gd name="T6" fmla="*/ 2 w 179"/>
                <a:gd name="T7" fmla="*/ 87 h 193"/>
                <a:gd name="T8" fmla="*/ 27 w 179"/>
                <a:gd name="T9" fmla="*/ 151 h 193"/>
                <a:gd name="T10" fmla="*/ 53 w 179"/>
                <a:gd name="T11" fmla="*/ 193 h 193"/>
                <a:gd name="T12" fmla="*/ 90 w 179"/>
                <a:gd name="T13" fmla="*/ 193 h 193"/>
                <a:gd name="T14" fmla="*/ 126 w 179"/>
                <a:gd name="T15" fmla="*/ 193 h 193"/>
                <a:gd name="T16" fmla="*/ 152 w 179"/>
                <a:gd name="T17" fmla="*/ 151 h 193"/>
                <a:gd name="T18" fmla="*/ 177 w 179"/>
                <a:gd name="T19" fmla="*/ 87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9" h="193">
                  <a:moveTo>
                    <a:pt x="177" y="87"/>
                  </a:moveTo>
                  <a:cubicBezTo>
                    <a:pt x="177" y="87"/>
                    <a:pt x="177" y="87"/>
                    <a:pt x="177" y="87"/>
                  </a:cubicBezTo>
                  <a:cubicBezTo>
                    <a:pt x="177" y="39"/>
                    <a:pt x="138" y="0"/>
                    <a:pt x="90" y="0"/>
                  </a:cubicBezTo>
                  <a:cubicBezTo>
                    <a:pt x="41" y="0"/>
                    <a:pt x="2" y="39"/>
                    <a:pt x="2" y="87"/>
                  </a:cubicBezTo>
                  <a:cubicBezTo>
                    <a:pt x="2" y="87"/>
                    <a:pt x="0" y="124"/>
                    <a:pt x="27" y="151"/>
                  </a:cubicBezTo>
                  <a:cubicBezTo>
                    <a:pt x="54" y="178"/>
                    <a:pt x="53" y="193"/>
                    <a:pt x="53" y="193"/>
                  </a:cubicBezTo>
                  <a:cubicBezTo>
                    <a:pt x="90" y="193"/>
                    <a:pt x="90" y="193"/>
                    <a:pt x="90" y="193"/>
                  </a:cubicBezTo>
                  <a:cubicBezTo>
                    <a:pt x="126" y="193"/>
                    <a:pt x="126" y="193"/>
                    <a:pt x="126" y="193"/>
                  </a:cubicBezTo>
                  <a:cubicBezTo>
                    <a:pt x="126" y="193"/>
                    <a:pt x="126" y="178"/>
                    <a:pt x="152" y="151"/>
                  </a:cubicBezTo>
                  <a:cubicBezTo>
                    <a:pt x="179" y="124"/>
                    <a:pt x="177" y="87"/>
                    <a:pt x="177" y="87"/>
                  </a:cubicBezTo>
                  <a:close/>
                </a:path>
              </a:pathLst>
            </a:custGeom>
            <a:solidFill>
              <a:srgbClr val="FF6327"/>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8" name="Line 133">
              <a:extLst>
                <a:ext uri="{FF2B5EF4-FFF2-40B4-BE49-F238E27FC236}">
                  <a16:creationId xmlns:a16="http://schemas.microsoft.com/office/drawing/2014/main" id="{CEB49275-9977-46CB-9612-3F8188DF3192}"/>
                </a:ext>
              </a:extLst>
            </p:cNvPr>
            <p:cNvSpPr>
              <a:spLocks noChangeShapeType="1"/>
            </p:cNvSpPr>
            <p:nvPr/>
          </p:nvSpPr>
          <p:spPr bwMode="auto">
            <a:xfrm>
              <a:off x="9240838" y="4079875"/>
              <a:ext cx="0" cy="0"/>
            </a:xfrm>
            <a:prstGeom prst="line">
              <a:avLst/>
            </a:prstGeom>
            <a:noFill/>
            <a:ln w="4763" cap="flat">
              <a:solidFill>
                <a:srgbClr val="231F20"/>
              </a:solidFill>
              <a:prstDash val="solid"/>
              <a:miter lim="800000"/>
              <a:headEnd/>
              <a:tailEnd/>
            </a:ln>
            <a:extLst>
              <a:ext uri="{909E8E84-426E-40dd-AFC4-6F175D3DCCD1}">
                <a14:hiddenFill xmlns:a14="http://schemas.microsoft.com/office/drawing/2010/main" xmlns="">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9" name="Freeform 134">
              <a:extLst>
                <a:ext uri="{FF2B5EF4-FFF2-40B4-BE49-F238E27FC236}">
                  <a16:creationId xmlns:a16="http://schemas.microsoft.com/office/drawing/2014/main" id="{6ADD13B9-D82B-456F-82A8-BA38CBC67356}"/>
                </a:ext>
              </a:extLst>
            </p:cNvPr>
            <p:cNvSpPr>
              <a:spLocks noEditPoints="1"/>
            </p:cNvSpPr>
            <p:nvPr/>
          </p:nvSpPr>
          <p:spPr bwMode="auto">
            <a:xfrm>
              <a:off x="9151938" y="3890963"/>
              <a:ext cx="177800" cy="188913"/>
            </a:xfrm>
            <a:custGeom>
              <a:avLst/>
              <a:gdLst>
                <a:gd name="T0" fmla="*/ 71 w 92"/>
                <a:gd name="T1" fmla="*/ 0 h 98"/>
                <a:gd name="T2" fmla="*/ 46 w 92"/>
                <a:gd name="T3" fmla="*/ 14 h 98"/>
                <a:gd name="T4" fmla="*/ 20 w 92"/>
                <a:gd name="T5" fmla="*/ 0 h 98"/>
                <a:gd name="T6" fmla="*/ 0 w 92"/>
                <a:gd name="T7" fmla="*/ 20 h 98"/>
                <a:gd name="T8" fmla="*/ 20 w 92"/>
                <a:gd name="T9" fmla="*/ 41 h 98"/>
                <a:gd name="T10" fmla="*/ 20 w 92"/>
                <a:gd name="T11" fmla="*/ 41 h 98"/>
                <a:gd name="T12" fmla="*/ 31 w 92"/>
                <a:gd name="T13" fmla="*/ 38 h 98"/>
                <a:gd name="T14" fmla="*/ 31 w 92"/>
                <a:gd name="T15" fmla="*/ 98 h 98"/>
                <a:gd name="T16" fmla="*/ 39 w 92"/>
                <a:gd name="T17" fmla="*/ 98 h 98"/>
                <a:gd name="T18" fmla="*/ 39 w 92"/>
                <a:gd name="T19" fmla="*/ 33 h 98"/>
                <a:gd name="T20" fmla="*/ 46 w 92"/>
                <a:gd name="T21" fmla="*/ 26 h 98"/>
                <a:gd name="T22" fmla="*/ 53 w 92"/>
                <a:gd name="T23" fmla="*/ 33 h 98"/>
                <a:gd name="T24" fmla="*/ 53 w 92"/>
                <a:gd name="T25" fmla="*/ 98 h 98"/>
                <a:gd name="T26" fmla="*/ 60 w 92"/>
                <a:gd name="T27" fmla="*/ 98 h 98"/>
                <a:gd name="T28" fmla="*/ 60 w 92"/>
                <a:gd name="T29" fmla="*/ 38 h 98"/>
                <a:gd name="T30" fmla="*/ 71 w 92"/>
                <a:gd name="T31" fmla="*/ 41 h 98"/>
                <a:gd name="T32" fmla="*/ 72 w 92"/>
                <a:gd name="T33" fmla="*/ 41 h 98"/>
                <a:gd name="T34" fmla="*/ 86 w 92"/>
                <a:gd name="T35" fmla="*/ 35 h 98"/>
                <a:gd name="T36" fmla="*/ 92 w 92"/>
                <a:gd name="T37" fmla="*/ 20 h 98"/>
                <a:gd name="T38" fmla="*/ 71 w 92"/>
                <a:gd name="T39" fmla="*/ 0 h 98"/>
                <a:gd name="T40" fmla="*/ 20 w 92"/>
                <a:gd name="T41" fmla="*/ 33 h 98"/>
                <a:gd name="T42" fmla="*/ 20 w 92"/>
                <a:gd name="T43" fmla="*/ 33 h 98"/>
                <a:gd name="T44" fmla="*/ 7 w 92"/>
                <a:gd name="T45" fmla="*/ 20 h 98"/>
                <a:gd name="T46" fmla="*/ 20 w 92"/>
                <a:gd name="T47" fmla="*/ 8 h 98"/>
                <a:gd name="T48" fmla="*/ 41 w 92"/>
                <a:gd name="T49" fmla="*/ 20 h 98"/>
                <a:gd name="T50" fmla="*/ 20 w 92"/>
                <a:gd name="T51" fmla="*/ 33 h 98"/>
                <a:gd name="T52" fmla="*/ 80 w 92"/>
                <a:gd name="T53" fmla="*/ 29 h 98"/>
                <a:gd name="T54" fmla="*/ 72 w 92"/>
                <a:gd name="T55" fmla="*/ 33 h 98"/>
                <a:gd name="T56" fmla="*/ 71 w 92"/>
                <a:gd name="T57" fmla="*/ 33 h 98"/>
                <a:gd name="T58" fmla="*/ 51 w 92"/>
                <a:gd name="T59" fmla="*/ 20 h 98"/>
                <a:gd name="T60" fmla="*/ 71 w 92"/>
                <a:gd name="T61" fmla="*/ 8 h 98"/>
                <a:gd name="T62" fmla="*/ 84 w 92"/>
                <a:gd name="T63" fmla="*/ 20 h 98"/>
                <a:gd name="T64" fmla="*/ 80 w 92"/>
                <a:gd name="T65" fmla="*/ 29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92" h="98">
                  <a:moveTo>
                    <a:pt x="71" y="0"/>
                  </a:moveTo>
                  <a:cubicBezTo>
                    <a:pt x="71" y="0"/>
                    <a:pt x="58" y="0"/>
                    <a:pt x="46" y="14"/>
                  </a:cubicBezTo>
                  <a:cubicBezTo>
                    <a:pt x="33" y="0"/>
                    <a:pt x="21" y="0"/>
                    <a:pt x="20" y="0"/>
                  </a:cubicBezTo>
                  <a:cubicBezTo>
                    <a:pt x="9" y="0"/>
                    <a:pt x="0" y="9"/>
                    <a:pt x="0" y="20"/>
                  </a:cubicBezTo>
                  <a:cubicBezTo>
                    <a:pt x="0" y="32"/>
                    <a:pt x="9" y="41"/>
                    <a:pt x="20" y="41"/>
                  </a:cubicBezTo>
                  <a:cubicBezTo>
                    <a:pt x="20" y="41"/>
                    <a:pt x="20" y="41"/>
                    <a:pt x="20" y="41"/>
                  </a:cubicBezTo>
                  <a:cubicBezTo>
                    <a:pt x="24" y="41"/>
                    <a:pt x="28" y="40"/>
                    <a:pt x="31" y="38"/>
                  </a:cubicBezTo>
                  <a:cubicBezTo>
                    <a:pt x="31" y="98"/>
                    <a:pt x="31" y="98"/>
                    <a:pt x="31" y="98"/>
                  </a:cubicBezTo>
                  <a:cubicBezTo>
                    <a:pt x="39" y="98"/>
                    <a:pt x="39" y="98"/>
                    <a:pt x="39" y="98"/>
                  </a:cubicBezTo>
                  <a:cubicBezTo>
                    <a:pt x="39" y="33"/>
                    <a:pt x="39" y="33"/>
                    <a:pt x="39" y="33"/>
                  </a:cubicBezTo>
                  <a:cubicBezTo>
                    <a:pt x="42" y="31"/>
                    <a:pt x="44" y="28"/>
                    <a:pt x="46" y="26"/>
                  </a:cubicBezTo>
                  <a:cubicBezTo>
                    <a:pt x="47" y="28"/>
                    <a:pt x="50" y="31"/>
                    <a:pt x="53" y="33"/>
                  </a:cubicBezTo>
                  <a:cubicBezTo>
                    <a:pt x="53" y="98"/>
                    <a:pt x="53" y="98"/>
                    <a:pt x="53" y="98"/>
                  </a:cubicBezTo>
                  <a:cubicBezTo>
                    <a:pt x="60" y="98"/>
                    <a:pt x="60" y="98"/>
                    <a:pt x="60" y="98"/>
                  </a:cubicBezTo>
                  <a:cubicBezTo>
                    <a:pt x="60" y="38"/>
                    <a:pt x="60" y="38"/>
                    <a:pt x="60" y="38"/>
                  </a:cubicBezTo>
                  <a:cubicBezTo>
                    <a:pt x="64" y="40"/>
                    <a:pt x="67" y="41"/>
                    <a:pt x="71" y="41"/>
                  </a:cubicBezTo>
                  <a:cubicBezTo>
                    <a:pt x="72" y="41"/>
                    <a:pt x="72" y="41"/>
                    <a:pt x="72" y="41"/>
                  </a:cubicBezTo>
                  <a:cubicBezTo>
                    <a:pt x="77" y="41"/>
                    <a:pt x="82" y="39"/>
                    <a:pt x="86" y="35"/>
                  </a:cubicBezTo>
                  <a:cubicBezTo>
                    <a:pt x="90" y="31"/>
                    <a:pt x="92" y="26"/>
                    <a:pt x="92" y="20"/>
                  </a:cubicBezTo>
                  <a:cubicBezTo>
                    <a:pt x="92" y="9"/>
                    <a:pt x="83" y="0"/>
                    <a:pt x="71" y="0"/>
                  </a:cubicBezTo>
                  <a:close/>
                  <a:moveTo>
                    <a:pt x="20" y="33"/>
                  </a:moveTo>
                  <a:cubicBezTo>
                    <a:pt x="20" y="33"/>
                    <a:pt x="20" y="33"/>
                    <a:pt x="20" y="33"/>
                  </a:cubicBezTo>
                  <a:cubicBezTo>
                    <a:pt x="13" y="33"/>
                    <a:pt x="7" y="27"/>
                    <a:pt x="7" y="20"/>
                  </a:cubicBezTo>
                  <a:cubicBezTo>
                    <a:pt x="7" y="13"/>
                    <a:pt x="13" y="8"/>
                    <a:pt x="20" y="8"/>
                  </a:cubicBezTo>
                  <a:cubicBezTo>
                    <a:pt x="21" y="8"/>
                    <a:pt x="31" y="8"/>
                    <a:pt x="41" y="20"/>
                  </a:cubicBezTo>
                  <a:cubicBezTo>
                    <a:pt x="38" y="24"/>
                    <a:pt x="30" y="33"/>
                    <a:pt x="20" y="33"/>
                  </a:cubicBezTo>
                  <a:close/>
                  <a:moveTo>
                    <a:pt x="80" y="29"/>
                  </a:moveTo>
                  <a:cubicBezTo>
                    <a:pt x="78" y="32"/>
                    <a:pt x="75" y="33"/>
                    <a:pt x="72" y="33"/>
                  </a:cubicBezTo>
                  <a:cubicBezTo>
                    <a:pt x="71" y="33"/>
                    <a:pt x="71" y="33"/>
                    <a:pt x="71" y="33"/>
                  </a:cubicBezTo>
                  <a:cubicBezTo>
                    <a:pt x="62" y="33"/>
                    <a:pt x="54" y="24"/>
                    <a:pt x="51" y="20"/>
                  </a:cubicBezTo>
                  <a:cubicBezTo>
                    <a:pt x="61" y="8"/>
                    <a:pt x="71" y="8"/>
                    <a:pt x="71" y="8"/>
                  </a:cubicBezTo>
                  <a:cubicBezTo>
                    <a:pt x="78" y="8"/>
                    <a:pt x="84" y="13"/>
                    <a:pt x="84" y="20"/>
                  </a:cubicBezTo>
                  <a:cubicBezTo>
                    <a:pt x="84" y="24"/>
                    <a:pt x="83" y="27"/>
                    <a:pt x="80" y="29"/>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3100531065"/>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 name="Rectangle 59">
            <a:extLst>
              <a:ext uri="{FF2B5EF4-FFF2-40B4-BE49-F238E27FC236}">
                <a16:creationId xmlns:a16="http://schemas.microsoft.com/office/drawing/2014/main" id="{9428E008-8153-463A-9D08-E2DE23E0429B}"/>
              </a:ext>
            </a:extLst>
          </p:cNvPr>
          <p:cNvSpPr/>
          <p:nvPr/>
        </p:nvSpPr>
        <p:spPr>
          <a:xfrm>
            <a:off x="5984776" y="2365334"/>
            <a:ext cx="2642269" cy="358346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76" name="Rectangle 59">
            <a:extLst>
              <a:ext uri="{FF2B5EF4-FFF2-40B4-BE49-F238E27FC236}">
                <a16:creationId xmlns:a16="http://schemas.microsoft.com/office/drawing/2014/main" id="{C36DD3A0-6C66-4648-B3BC-FCDB178CDBBF}"/>
              </a:ext>
            </a:extLst>
          </p:cNvPr>
          <p:cNvSpPr/>
          <p:nvPr/>
        </p:nvSpPr>
        <p:spPr>
          <a:xfrm>
            <a:off x="3277535" y="2365334"/>
            <a:ext cx="2642269" cy="358346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4" name="Tytuł 3">
            <a:extLst>
              <a:ext uri="{FF2B5EF4-FFF2-40B4-BE49-F238E27FC236}">
                <a16:creationId xmlns:a16="http://schemas.microsoft.com/office/drawing/2014/main" id="{BE6E47FB-5E55-45DB-B712-E4993D47A776}"/>
              </a:ext>
            </a:extLst>
          </p:cNvPr>
          <p:cNvSpPr>
            <a:spLocks noGrp="1"/>
          </p:cNvSpPr>
          <p:nvPr>
            <p:ph type="title"/>
          </p:nvPr>
        </p:nvSpPr>
        <p:spPr/>
        <p:txBody>
          <a:bodyPr/>
          <a:lstStyle/>
          <a:p>
            <a:r>
              <a:rPr lang="en-US" dirty="0"/>
              <a:t>Nullable reference types</a:t>
            </a:r>
          </a:p>
        </p:txBody>
      </p:sp>
      <p:sp>
        <p:nvSpPr>
          <p:cNvPr id="6" name="Symbol zastępczy tekstu 5">
            <a:extLst>
              <a:ext uri="{FF2B5EF4-FFF2-40B4-BE49-F238E27FC236}">
                <a16:creationId xmlns:a16="http://schemas.microsoft.com/office/drawing/2014/main" id="{1302AB4B-7554-47F7-BBCD-39BD33559A94}"/>
              </a:ext>
            </a:extLst>
          </p:cNvPr>
          <p:cNvSpPr>
            <a:spLocks noGrp="1"/>
          </p:cNvSpPr>
          <p:nvPr>
            <p:ph type="body" sz="quarter" idx="11"/>
          </p:nvPr>
        </p:nvSpPr>
        <p:spPr>
          <a:xfrm>
            <a:off x="974872" y="1148607"/>
            <a:ext cx="10940903" cy="504056"/>
          </a:xfrm>
        </p:spPr>
        <p:txBody>
          <a:bodyPr/>
          <a:lstStyle/>
          <a:p>
            <a:r>
              <a:rPr lang="en-US" dirty="0"/>
              <a:t>C# 7.3</a:t>
            </a:r>
          </a:p>
        </p:txBody>
      </p:sp>
      <p:sp>
        <p:nvSpPr>
          <p:cNvPr id="7" name="Symbol zastępczy tekstu 6">
            <a:extLst>
              <a:ext uri="{FF2B5EF4-FFF2-40B4-BE49-F238E27FC236}">
                <a16:creationId xmlns:a16="http://schemas.microsoft.com/office/drawing/2014/main" id="{5D8A2B1E-A86F-4A25-94A4-5CF446FD2951}"/>
              </a:ext>
            </a:extLst>
          </p:cNvPr>
          <p:cNvSpPr>
            <a:spLocks noGrp="1"/>
          </p:cNvSpPr>
          <p:nvPr>
            <p:ph type="body" sz="quarter" idx="12"/>
          </p:nvPr>
        </p:nvSpPr>
        <p:spPr/>
        <p:txBody>
          <a:bodyPr/>
          <a:lstStyle/>
          <a:p>
            <a:r>
              <a:rPr lang="en-US" dirty="0"/>
              <a:t>1</a:t>
            </a:r>
          </a:p>
        </p:txBody>
      </p:sp>
      <p:sp>
        <p:nvSpPr>
          <p:cNvPr id="31" name="Rectangle 59">
            <a:extLst>
              <a:ext uri="{FF2B5EF4-FFF2-40B4-BE49-F238E27FC236}">
                <a16:creationId xmlns:a16="http://schemas.microsoft.com/office/drawing/2014/main" id="{15F7EA8D-F12B-4352-9BF3-A323A5FA86F5}"/>
              </a:ext>
            </a:extLst>
          </p:cNvPr>
          <p:cNvSpPr/>
          <p:nvPr/>
        </p:nvSpPr>
        <p:spPr>
          <a:xfrm>
            <a:off x="551384" y="2365334"/>
            <a:ext cx="2642269" cy="358346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5" name="Freeform 20">
            <a:extLst>
              <a:ext uri="{FF2B5EF4-FFF2-40B4-BE49-F238E27FC236}">
                <a16:creationId xmlns:a16="http://schemas.microsoft.com/office/drawing/2014/main" id="{AA60DB81-6F24-4406-8A20-88F121160787}"/>
              </a:ext>
            </a:extLst>
          </p:cNvPr>
          <p:cNvSpPr>
            <a:spLocks/>
          </p:cNvSpPr>
          <p:nvPr/>
        </p:nvSpPr>
        <p:spPr bwMode="auto">
          <a:xfrm>
            <a:off x="5591944" y="1702869"/>
            <a:ext cx="1330762" cy="1244311"/>
          </a:xfrm>
          <a:custGeom>
            <a:avLst/>
            <a:gdLst>
              <a:gd name="T0" fmla="*/ 101 w 701"/>
              <a:gd name="T1" fmla="*/ 513 h 655"/>
              <a:gd name="T2" fmla="*/ 168 w 701"/>
              <a:gd name="T3" fmla="*/ 98 h 655"/>
              <a:gd name="T4" fmla="*/ 600 w 701"/>
              <a:gd name="T5" fmla="*/ 159 h 655"/>
              <a:gd name="T6" fmla="*/ 522 w 701"/>
              <a:gd name="T7" fmla="*/ 558 h 655"/>
              <a:gd name="T8" fmla="*/ 101 w 701"/>
              <a:gd name="T9" fmla="*/ 513 h 655"/>
            </a:gdLst>
            <a:ahLst/>
            <a:cxnLst>
              <a:cxn ang="0">
                <a:pos x="T0" y="T1"/>
              </a:cxn>
              <a:cxn ang="0">
                <a:pos x="T2" y="T3"/>
              </a:cxn>
              <a:cxn ang="0">
                <a:pos x="T4" y="T5"/>
              </a:cxn>
              <a:cxn ang="0">
                <a:pos x="T6" y="T7"/>
              </a:cxn>
              <a:cxn ang="0">
                <a:pos x="T8" y="T9"/>
              </a:cxn>
            </a:cxnLst>
            <a:rect l="0" t="0" r="r" b="b"/>
            <a:pathLst>
              <a:path w="701" h="655">
                <a:moveTo>
                  <a:pt x="101" y="513"/>
                </a:moveTo>
                <a:cubicBezTo>
                  <a:pt x="0" y="381"/>
                  <a:pt x="30" y="196"/>
                  <a:pt x="168" y="98"/>
                </a:cubicBezTo>
                <a:cubicBezTo>
                  <a:pt x="306" y="0"/>
                  <a:pt x="500" y="28"/>
                  <a:pt x="600" y="159"/>
                </a:cubicBezTo>
                <a:cubicBezTo>
                  <a:pt x="701" y="290"/>
                  <a:pt x="660" y="460"/>
                  <a:pt x="522" y="558"/>
                </a:cubicBezTo>
                <a:cubicBezTo>
                  <a:pt x="384" y="655"/>
                  <a:pt x="202" y="644"/>
                  <a:pt x="101" y="513"/>
                </a:cubicBezTo>
              </a:path>
            </a:pathLst>
          </a:custGeom>
          <a:solidFill>
            <a:srgbClr val="2B0A3D"/>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9" name="Freeform 26">
            <a:extLst>
              <a:ext uri="{FF2B5EF4-FFF2-40B4-BE49-F238E27FC236}">
                <a16:creationId xmlns:a16="http://schemas.microsoft.com/office/drawing/2014/main" id="{00E12CF0-761D-4634-B721-2F6C5B53E099}"/>
              </a:ext>
            </a:extLst>
          </p:cNvPr>
          <p:cNvSpPr>
            <a:spLocks/>
          </p:cNvSpPr>
          <p:nvPr/>
        </p:nvSpPr>
        <p:spPr bwMode="auto">
          <a:xfrm>
            <a:off x="2855640" y="1699811"/>
            <a:ext cx="1330762" cy="1247369"/>
          </a:xfrm>
          <a:custGeom>
            <a:avLst/>
            <a:gdLst>
              <a:gd name="T0" fmla="*/ 60 w 422"/>
              <a:gd name="T1" fmla="*/ 309 h 395"/>
              <a:gd name="T2" fmla="*/ 101 w 422"/>
              <a:gd name="T3" fmla="*/ 59 h 395"/>
              <a:gd name="T4" fmla="*/ 362 w 422"/>
              <a:gd name="T5" fmla="*/ 96 h 395"/>
              <a:gd name="T6" fmla="*/ 314 w 422"/>
              <a:gd name="T7" fmla="*/ 336 h 395"/>
              <a:gd name="T8" fmla="*/ 60 w 422"/>
              <a:gd name="T9" fmla="*/ 309 h 395"/>
            </a:gdLst>
            <a:ahLst/>
            <a:cxnLst>
              <a:cxn ang="0">
                <a:pos x="T0" y="T1"/>
              </a:cxn>
              <a:cxn ang="0">
                <a:pos x="T2" y="T3"/>
              </a:cxn>
              <a:cxn ang="0">
                <a:pos x="T4" y="T5"/>
              </a:cxn>
              <a:cxn ang="0">
                <a:pos x="T6" y="T7"/>
              </a:cxn>
              <a:cxn ang="0">
                <a:pos x="T8" y="T9"/>
              </a:cxn>
            </a:cxnLst>
            <a:rect l="0" t="0" r="r" b="b"/>
            <a:pathLst>
              <a:path w="422" h="395">
                <a:moveTo>
                  <a:pt x="60" y="309"/>
                </a:moveTo>
                <a:cubicBezTo>
                  <a:pt x="0" y="230"/>
                  <a:pt x="18" y="118"/>
                  <a:pt x="101" y="59"/>
                </a:cubicBezTo>
                <a:cubicBezTo>
                  <a:pt x="184" y="0"/>
                  <a:pt x="301" y="17"/>
                  <a:pt x="362" y="96"/>
                </a:cubicBezTo>
                <a:cubicBezTo>
                  <a:pt x="422" y="175"/>
                  <a:pt x="397" y="278"/>
                  <a:pt x="314" y="336"/>
                </a:cubicBezTo>
                <a:cubicBezTo>
                  <a:pt x="231" y="395"/>
                  <a:pt x="121" y="388"/>
                  <a:pt x="60" y="309"/>
                </a:cubicBezTo>
              </a:path>
            </a:pathLst>
          </a:custGeom>
          <a:solidFill>
            <a:srgbClr val="FF304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42" name="Freeform 31">
            <a:extLst>
              <a:ext uri="{FF2B5EF4-FFF2-40B4-BE49-F238E27FC236}">
                <a16:creationId xmlns:a16="http://schemas.microsoft.com/office/drawing/2014/main" id="{28AE7B38-8B9B-4CBD-B7FD-1A1133339837}"/>
              </a:ext>
            </a:extLst>
          </p:cNvPr>
          <p:cNvSpPr>
            <a:spLocks/>
          </p:cNvSpPr>
          <p:nvPr/>
        </p:nvSpPr>
        <p:spPr bwMode="auto">
          <a:xfrm>
            <a:off x="353137" y="1675813"/>
            <a:ext cx="1359985" cy="1271367"/>
          </a:xfrm>
          <a:custGeom>
            <a:avLst/>
            <a:gdLst>
              <a:gd name="T0" fmla="*/ 207 w 1442"/>
              <a:gd name="T1" fmla="*/ 1053 h 1347"/>
              <a:gd name="T2" fmla="*/ 346 w 1442"/>
              <a:gd name="T3" fmla="*/ 201 h 1347"/>
              <a:gd name="T4" fmla="*/ 1235 w 1442"/>
              <a:gd name="T5" fmla="*/ 326 h 1347"/>
              <a:gd name="T6" fmla="*/ 1073 w 1442"/>
              <a:gd name="T7" fmla="*/ 1147 h 1347"/>
              <a:gd name="T8" fmla="*/ 207 w 1442"/>
              <a:gd name="T9" fmla="*/ 1053 h 1347"/>
            </a:gdLst>
            <a:ahLst/>
            <a:cxnLst>
              <a:cxn ang="0">
                <a:pos x="T0" y="T1"/>
              </a:cxn>
              <a:cxn ang="0">
                <a:pos x="T2" y="T3"/>
              </a:cxn>
              <a:cxn ang="0">
                <a:pos x="T4" y="T5"/>
              </a:cxn>
              <a:cxn ang="0">
                <a:pos x="T6" y="T7"/>
              </a:cxn>
              <a:cxn ang="0">
                <a:pos x="T8" y="T9"/>
              </a:cxn>
            </a:cxnLst>
            <a:rect l="0" t="0" r="r" b="b"/>
            <a:pathLst>
              <a:path w="1442" h="1347">
                <a:moveTo>
                  <a:pt x="207" y="1053"/>
                </a:moveTo>
                <a:cubicBezTo>
                  <a:pt x="0" y="783"/>
                  <a:pt x="62" y="401"/>
                  <a:pt x="346" y="201"/>
                </a:cubicBezTo>
                <a:cubicBezTo>
                  <a:pt x="629" y="0"/>
                  <a:pt x="1028" y="56"/>
                  <a:pt x="1235" y="326"/>
                </a:cubicBezTo>
                <a:cubicBezTo>
                  <a:pt x="1442" y="596"/>
                  <a:pt x="1357" y="946"/>
                  <a:pt x="1073" y="1147"/>
                </a:cubicBezTo>
                <a:cubicBezTo>
                  <a:pt x="790" y="1347"/>
                  <a:pt x="415" y="1324"/>
                  <a:pt x="207" y="1053"/>
                </a:cubicBezTo>
              </a:path>
            </a:pathLst>
          </a:custGeom>
          <a:solidFill>
            <a:srgbClr val="0070AD"/>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dirty="0"/>
          </a:p>
        </p:txBody>
      </p:sp>
      <p:sp>
        <p:nvSpPr>
          <p:cNvPr id="47" name="Text Placeholder 9">
            <a:extLst>
              <a:ext uri="{FF2B5EF4-FFF2-40B4-BE49-F238E27FC236}">
                <a16:creationId xmlns:a16="http://schemas.microsoft.com/office/drawing/2014/main" id="{194574D8-E8F4-4079-8488-EA56B0CF8330}"/>
              </a:ext>
            </a:extLst>
          </p:cNvPr>
          <p:cNvSpPr txBox="1">
            <a:spLocks/>
          </p:cNvSpPr>
          <p:nvPr/>
        </p:nvSpPr>
        <p:spPr>
          <a:xfrm>
            <a:off x="862790" y="3037919"/>
            <a:ext cx="2280665" cy="645047"/>
          </a:xfrm>
          <a:prstGeom prst="rect">
            <a:avLst/>
          </a:prstGeom>
          <a:noFill/>
        </p:spPr>
        <p:txBody>
          <a:bodyPr vert="horz" lIns="0" tIns="0" rIns="0" bIns="0" rtlCol="0" anchor="ctr">
            <a:noAutofit/>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pt-PT" b="1" dirty="0">
                <a:solidFill>
                  <a:srgbClr val="12ABDB"/>
                </a:solidFill>
                <a:latin typeface="Verdana" panose="020B0604030504040204" pitchFamily="34" charset="0"/>
                <a:ea typeface="Verdana" panose="020B0604030504040204" pitchFamily="34" charset="0"/>
                <a:cs typeface="Verdana" panose="020B0604030504040204" pitchFamily="34" charset="0"/>
              </a:rPr>
              <a:t>Non-nullable </a:t>
            </a:r>
            <a:br>
              <a:rPr lang="pt-PT" b="1" dirty="0">
                <a:solidFill>
                  <a:srgbClr val="12ABDB"/>
                </a:solidFill>
                <a:latin typeface="Verdana" panose="020B0604030504040204" pitchFamily="34" charset="0"/>
                <a:ea typeface="Verdana" panose="020B0604030504040204" pitchFamily="34" charset="0"/>
                <a:cs typeface="Verdana" panose="020B0604030504040204" pitchFamily="34" charset="0"/>
              </a:rPr>
            </a:br>
            <a:r>
              <a:rPr lang="pt-PT" b="1" dirty="0">
                <a:solidFill>
                  <a:srgbClr val="12ABDB"/>
                </a:solidFill>
                <a:latin typeface="Verdana" panose="020B0604030504040204" pitchFamily="34" charset="0"/>
                <a:ea typeface="Verdana" panose="020B0604030504040204" pitchFamily="34" charset="0"/>
                <a:cs typeface="Verdana" panose="020B0604030504040204" pitchFamily="34" charset="0"/>
              </a:rPr>
              <a:t>value types</a:t>
            </a:r>
            <a:endParaRPr kumimoji="0" lang="pt-PT" b="1" i="0" u="none" strike="noStrike" kern="1200" cap="none" spc="0" normalizeH="0" baseline="0" noProof="0" dirty="0">
              <a:ln>
                <a:noFill/>
              </a:ln>
              <a:solidFill>
                <a:srgbClr val="12ABDB"/>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48" name="Text Placeholder 10">
            <a:extLst>
              <a:ext uri="{FF2B5EF4-FFF2-40B4-BE49-F238E27FC236}">
                <a16:creationId xmlns:a16="http://schemas.microsoft.com/office/drawing/2014/main" id="{02D75BEE-CD4B-4BFD-9E2E-BF95CB478403}"/>
              </a:ext>
            </a:extLst>
          </p:cNvPr>
          <p:cNvSpPr txBox="1">
            <a:spLocks/>
          </p:cNvSpPr>
          <p:nvPr/>
        </p:nvSpPr>
        <p:spPr>
          <a:xfrm>
            <a:off x="862792" y="3709289"/>
            <a:ext cx="2330861" cy="1711208"/>
          </a:xfrm>
          <a:prstGeom prst="rect">
            <a:avLst/>
          </a:prstGeom>
        </p:spPr>
        <p:txBody>
          <a:bodyPr vert="horz" lIns="0" tIns="0" rIns="0" bIns="0" rtlCol="0">
            <a:noAutofit/>
          </a:bodyPr>
          <a:lstStyle/>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 </a:t>
            </a:r>
          </a:p>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 </a:t>
            </a:r>
            <a:b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br>
            <a:r>
              <a:rPr lang="en-US" sz="2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 </a:t>
            </a:r>
          </a:p>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 </a:t>
            </a:r>
          </a:p>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 </a:t>
            </a:r>
            <a:b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br>
            <a:r>
              <a:rPr lang="en-US" sz="2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 </a:t>
            </a:r>
            <a:endPar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endParaRPr>
          </a:p>
        </p:txBody>
      </p:sp>
      <p:sp>
        <p:nvSpPr>
          <p:cNvPr id="49" name="Text Placeholder 9">
            <a:extLst>
              <a:ext uri="{FF2B5EF4-FFF2-40B4-BE49-F238E27FC236}">
                <a16:creationId xmlns:a16="http://schemas.microsoft.com/office/drawing/2014/main" id="{32FE6BC4-9E11-4B75-9F4E-DF9C16ADD7EE}"/>
              </a:ext>
            </a:extLst>
          </p:cNvPr>
          <p:cNvSpPr txBox="1">
            <a:spLocks/>
          </p:cNvSpPr>
          <p:nvPr/>
        </p:nvSpPr>
        <p:spPr>
          <a:xfrm>
            <a:off x="3476517" y="3037919"/>
            <a:ext cx="1986405" cy="645047"/>
          </a:xfrm>
          <a:prstGeom prst="rect">
            <a:avLst/>
          </a:prstGeom>
          <a:noFill/>
        </p:spPr>
        <p:txBody>
          <a:bodyPr vert="horz" lIns="0" tIns="0" rIns="0" bIns="0" rtlCol="0" anchor="ctr">
            <a:noAutofit/>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b="1" i="0" u="none" strike="noStrike" kern="1200" cap="none" spc="0" normalizeH="0" baseline="0" noProof="0" dirty="0">
                <a:ln>
                  <a:noFill/>
                </a:ln>
                <a:solidFill>
                  <a:schemeClr val="accent4"/>
                </a:solidFill>
                <a:effectLst/>
                <a:uLnTx/>
                <a:uFillTx/>
                <a:latin typeface="Verdana" panose="020B0604030504040204" pitchFamily="34" charset="0"/>
                <a:ea typeface="Verdana" panose="020B0604030504040204" pitchFamily="34" charset="0"/>
                <a:cs typeface="Verdana" panose="020B0604030504040204" pitchFamily="34" charset="0"/>
              </a:rPr>
              <a:t>Nullable value types</a:t>
            </a:r>
          </a:p>
        </p:txBody>
      </p:sp>
      <p:sp>
        <p:nvSpPr>
          <p:cNvPr id="50" name="Text Placeholder 10">
            <a:extLst>
              <a:ext uri="{FF2B5EF4-FFF2-40B4-BE49-F238E27FC236}">
                <a16:creationId xmlns:a16="http://schemas.microsoft.com/office/drawing/2014/main" id="{18921B0F-9C57-4F3C-B875-00D36852E225}"/>
              </a:ext>
            </a:extLst>
          </p:cNvPr>
          <p:cNvSpPr txBox="1">
            <a:spLocks/>
          </p:cNvSpPr>
          <p:nvPr/>
        </p:nvSpPr>
        <p:spPr>
          <a:xfrm>
            <a:off x="3476519" y="3709289"/>
            <a:ext cx="2443286" cy="1711208"/>
          </a:xfrm>
          <a:prstGeom prst="rect">
            <a:avLst/>
          </a:prstGeom>
        </p:spPr>
        <p:txBody>
          <a:bodyPr vert="horz" lIns="0" tIns="0" rIns="0" bIns="0" rtlCol="0">
            <a:noAutofit/>
          </a:bodyPr>
          <a:lstStyle/>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 </a:t>
            </a:r>
          </a:p>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 </a:t>
            </a:r>
          </a:p>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 </a:t>
            </a:r>
          </a:p>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 </a:t>
            </a:r>
          </a:p>
        </p:txBody>
      </p:sp>
      <p:sp>
        <p:nvSpPr>
          <p:cNvPr id="51" name="Text Placeholder 9">
            <a:extLst>
              <a:ext uri="{FF2B5EF4-FFF2-40B4-BE49-F238E27FC236}">
                <a16:creationId xmlns:a16="http://schemas.microsoft.com/office/drawing/2014/main" id="{C1442078-1FFD-4CC5-8BB9-BF9F4413CC0D}"/>
              </a:ext>
            </a:extLst>
          </p:cNvPr>
          <p:cNvSpPr txBox="1">
            <a:spLocks/>
          </p:cNvSpPr>
          <p:nvPr/>
        </p:nvSpPr>
        <p:spPr>
          <a:xfrm>
            <a:off x="6223901" y="3037919"/>
            <a:ext cx="1888323" cy="645047"/>
          </a:xfrm>
          <a:prstGeom prst="rect">
            <a:avLst/>
          </a:prstGeom>
          <a:noFill/>
        </p:spPr>
        <p:txBody>
          <a:bodyPr vert="horz" lIns="0" tIns="0" rIns="0" bIns="0" rtlCol="0" anchor="ctr">
            <a:noAutofit/>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b="1" i="0" u="none" strike="noStrike" kern="1200" cap="none" spc="0" normalizeH="0" baseline="0" noProof="0" dirty="0">
                <a:ln>
                  <a:noFill/>
                </a:ln>
                <a:solidFill>
                  <a:schemeClr val="tx2"/>
                </a:solidFill>
                <a:effectLst/>
                <a:uLnTx/>
                <a:uFillTx/>
                <a:latin typeface="Verdana" panose="020B0604030504040204" pitchFamily="34" charset="0"/>
                <a:ea typeface="Verdana" panose="020B0604030504040204" pitchFamily="34" charset="0"/>
                <a:cs typeface="Verdana" panose="020B0604030504040204" pitchFamily="34" charset="0"/>
              </a:rPr>
              <a:t>Referente </a:t>
            </a:r>
            <a:r>
              <a:rPr lang="pt-PT" b="1" dirty="0">
                <a:solidFill>
                  <a:schemeClr val="tx2"/>
                </a:solidFill>
                <a:latin typeface="Verdana" panose="020B0604030504040204" pitchFamily="34" charset="0"/>
                <a:ea typeface="Verdana" panose="020B0604030504040204" pitchFamily="34" charset="0"/>
                <a:cs typeface="Verdana" panose="020B0604030504040204" pitchFamily="34" charset="0"/>
              </a:rPr>
              <a:t>types</a:t>
            </a:r>
            <a:endParaRPr kumimoji="0" lang="pt-PT" b="1" i="0" u="none" strike="noStrike" kern="1200" cap="none" spc="0" normalizeH="0" baseline="0" noProof="0" dirty="0">
              <a:ln>
                <a:noFill/>
              </a:ln>
              <a:solidFill>
                <a:schemeClr val="tx2"/>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52" name="Text Placeholder 10">
            <a:extLst>
              <a:ext uri="{FF2B5EF4-FFF2-40B4-BE49-F238E27FC236}">
                <a16:creationId xmlns:a16="http://schemas.microsoft.com/office/drawing/2014/main" id="{CB61B93B-589B-4A38-B114-804D134A010A}"/>
              </a:ext>
            </a:extLst>
          </p:cNvPr>
          <p:cNvSpPr txBox="1">
            <a:spLocks/>
          </p:cNvSpPr>
          <p:nvPr/>
        </p:nvSpPr>
        <p:spPr>
          <a:xfrm>
            <a:off x="6223903" y="3709289"/>
            <a:ext cx="2422578" cy="1711208"/>
          </a:xfrm>
          <a:prstGeom prst="rect">
            <a:avLst/>
          </a:prstGeom>
        </p:spPr>
        <p:txBody>
          <a:bodyPr vert="horz" lIns="0" tIns="0" rIns="0" bIns="0" rtlCol="0">
            <a:noAutofit/>
          </a:bodyPr>
          <a:lstStyle/>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 </a:t>
            </a:r>
          </a:p>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 </a:t>
            </a:r>
          </a:p>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 </a:t>
            </a:r>
          </a:p>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 </a:t>
            </a:r>
          </a:p>
        </p:txBody>
      </p:sp>
      <p:pic>
        <p:nvPicPr>
          <p:cNvPr id="57" name="Obraz 56">
            <a:extLst>
              <a:ext uri="{FF2B5EF4-FFF2-40B4-BE49-F238E27FC236}">
                <a16:creationId xmlns:a16="http://schemas.microsoft.com/office/drawing/2014/main" id="{BDC0C295-A509-49EC-83E9-5B6DCDC8734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74872" y="4799738"/>
            <a:ext cx="1475358" cy="210765"/>
          </a:xfrm>
          <a:prstGeom prst="rect">
            <a:avLst/>
          </a:prstGeom>
        </p:spPr>
      </p:pic>
      <p:pic>
        <p:nvPicPr>
          <p:cNvPr id="59" name="Obraz 58">
            <a:extLst>
              <a:ext uri="{FF2B5EF4-FFF2-40B4-BE49-F238E27FC236}">
                <a16:creationId xmlns:a16="http://schemas.microsoft.com/office/drawing/2014/main" id="{1C2E424D-8E03-4968-AA00-EBA910F22C4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74874" y="5090398"/>
            <a:ext cx="2172506" cy="397211"/>
          </a:xfrm>
          <a:prstGeom prst="rect">
            <a:avLst/>
          </a:prstGeom>
        </p:spPr>
      </p:pic>
      <p:pic>
        <p:nvPicPr>
          <p:cNvPr id="61" name="Obraz 60">
            <a:extLst>
              <a:ext uri="{FF2B5EF4-FFF2-40B4-BE49-F238E27FC236}">
                <a16:creationId xmlns:a16="http://schemas.microsoft.com/office/drawing/2014/main" id="{BDCCB597-1BF0-491E-8522-E31DB03C3863}"/>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74872" y="4559305"/>
            <a:ext cx="1475358" cy="210765"/>
          </a:xfrm>
          <a:prstGeom prst="rect">
            <a:avLst/>
          </a:prstGeom>
        </p:spPr>
      </p:pic>
      <p:pic>
        <p:nvPicPr>
          <p:cNvPr id="63" name="Obraz 62">
            <a:extLst>
              <a:ext uri="{FF2B5EF4-FFF2-40B4-BE49-F238E27FC236}">
                <a16:creationId xmlns:a16="http://schemas.microsoft.com/office/drawing/2014/main" id="{C101F8F6-E0E9-4F37-AD71-4B45B16CC749}"/>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74872" y="3709289"/>
            <a:ext cx="1134895" cy="218872"/>
          </a:xfrm>
          <a:prstGeom prst="rect">
            <a:avLst/>
          </a:prstGeom>
        </p:spPr>
      </p:pic>
      <p:pic>
        <p:nvPicPr>
          <p:cNvPr id="65" name="Obraz 64">
            <a:extLst>
              <a:ext uri="{FF2B5EF4-FFF2-40B4-BE49-F238E27FC236}">
                <a16:creationId xmlns:a16="http://schemas.microsoft.com/office/drawing/2014/main" id="{327701B6-81D2-40D1-9C1E-6F3EE1F9CDC7}"/>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974872" y="3946299"/>
            <a:ext cx="1394294" cy="210765"/>
          </a:xfrm>
          <a:prstGeom prst="rect">
            <a:avLst/>
          </a:prstGeom>
        </p:spPr>
      </p:pic>
      <p:pic>
        <p:nvPicPr>
          <p:cNvPr id="67" name="Obraz 66">
            <a:extLst>
              <a:ext uri="{FF2B5EF4-FFF2-40B4-BE49-F238E27FC236}">
                <a16:creationId xmlns:a16="http://schemas.microsoft.com/office/drawing/2014/main" id="{4BE1815C-10E8-4B70-AFAB-1BCE33B0B352}"/>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974872" y="4217743"/>
            <a:ext cx="2172508" cy="275616"/>
          </a:xfrm>
          <a:prstGeom prst="rect">
            <a:avLst/>
          </a:prstGeom>
        </p:spPr>
      </p:pic>
      <p:pic>
        <p:nvPicPr>
          <p:cNvPr id="69" name="Obraz 68">
            <a:extLst>
              <a:ext uri="{FF2B5EF4-FFF2-40B4-BE49-F238E27FC236}">
                <a16:creationId xmlns:a16="http://schemas.microsoft.com/office/drawing/2014/main" id="{765499DD-DD41-4D30-984E-2CAD84F94280}"/>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3698484" y="4460644"/>
            <a:ext cx="1764438" cy="246838"/>
          </a:xfrm>
          <a:prstGeom prst="rect">
            <a:avLst/>
          </a:prstGeom>
        </p:spPr>
      </p:pic>
      <p:pic>
        <p:nvPicPr>
          <p:cNvPr id="71" name="Obraz 70">
            <a:extLst>
              <a:ext uri="{FF2B5EF4-FFF2-40B4-BE49-F238E27FC236}">
                <a16:creationId xmlns:a16="http://schemas.microsoft.com/office/drawing/2014/main" id="{BB2E3EA9-DB17-4208-B3C2-7E5C96DD1736}"/>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3698484" y="4191161"/>
            <a:ext cx="1764439" cy="237696"/>
          </a:xfrm>
          <a:prstGeom prst="rect">
            <a:avLst/>
          </a:prstGeom>
        </p:spPr>
      </p:pic>
      <p:pic>
        <p:nvPicPr>
          <p:cNvPr id="73" name="Obraz 72">
            <a:extLst>
              <a:ext uri="{FF2B5EF4-FFF2-40B4-BE49-F238E27FC236}">
                <a16:creationId xmlns:a16="http://schemas.microsoft.com/office/drawing/2014/main" id="{0BD137AB-47AD-4F22-84B7-FE7769E72B23}"/>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3698484" y="3681405"/>
            <a:ext cx="1380468" cy="237696"/>
          </a:xfrm>
          <a:prstGeom prst="rect">
            <a:avLst/>
          </a:prstGeom>
        </p:spPr>
      </p:pic>
      <p:pic>
        <p:nvPicPr>
          <p:cNvPr id="75" name="Obraz 74">
            <a:extLst>
              <a:ext uri="{FF2B5EF4-FFF2-40B4-BE49-F238E27FC236}">
                <a16:creationId xmlns:a16="http://schemas.microsoft.com/office/drawing/2014/main" id="{B9B3B48B-D23B-4FF4-8133-1CA828E64320}"/>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3698484" y="3945428"/>
            <a:ext cx="1663875" cy="237696"/>
          </a:xfrm>
          <a:prstGeom prst="rect">
            <a:avLst/>
          </a:prstGeom>
        </p:spPr>
      </p:pic>
      <p:sp>
        <p:nvSpPr>
          <p:cNvPr id="79" name="Rectangle 59">
            <a:extLst>
              <a:ext uri="{FF2B5EF4-FFF2-40B4-BE49-F238E27FC236}">
                <a16:creationId xmlns:a16="http://schemas.microsoft.com/office/drawing/2014/main" id="{37E75DFC-5D5A-4969-BF86-0CD4DE76DB12}"/>
              </a:ext>
            </a:extLst>
          </p:cNvPr>
          <p:cNvSpPr/>
          <p:nvPr/>
        </p:nvSpPr>
        <p:spPr>
          <a:xfrm>
            <a:off x="8740515" y="2365334"/>
            <a:ext cx="2642269" cy="358346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80" name="Freeform 20">
            <a:extLst>
              <a:ext uri="{FF2B5EF4-FFF2-40B4-BE49-F238E27FC236}">
                <a16:creationId xmlns:a16="http://schemas.microsoft.com/office/drawing/2014/main" id="{F8859818-3D89-46CF-B9B1-D41B2F9B1D52}"/>
              </a:ext>
            </a:extLst>
          </p:cNvPr>
          <p:cNvSpPr>
            <a:spLocks/>
          </p:cNvSpPr>
          <p:nvPr/>
        </p:nvSpPr>
        <p:spPr bwMode="auto">
          <a:xfrm>
            <a:off x="8328248" y="1702869"/>
            <a:ext cx="1330762" cy="1244311"/>
          </a:xfrm>
          <a:custGeom>
            <a:avLst/>
            <a:gdLst>
              <a:gd name="T0" fmla="*/ 101 w 701"/>
              <a:gd name="T1" fmla="*/ 513 h 655"/>
              <a:gd name="T2" fmla="*/ 168 w 701"/>
              <a:gd name="T3" fmla="*/ 98 h 655"/>
              <a:gd name="T4" fmla="*/ 600 w 701"/>
              <a:gd name="T5" fmla="*/ 159 h 655"/>
              <a:gd name="T6" fmla="*/ 522 w 701"/>
              <a:gd name="T7" fmla="*/ 558 h 655"/>
              <a:gd name="T8" fmla="*/ 101 w 701"/>
              <a:gd name="T9" fmla="*/ 513 h 655"/>
            </a:gdLst>
            <a:ahLst/>
            <a:cxnLst>
              <a:cxn ang="0">
                <a:pos x="T0" y="T1"/>
              </a:cxn>
              <a:cxn ang="0">
                <a:pos x="T2" y="T3"/>
              </a:cxn>
              <a:cxn ang="0">
                <a:pos x="T4" y="T5"/>
              </a:cxn>
              <a:cxn ang="0">
                <a:pos x="T6" y="T7"/>
              </a:cxn>
              <a:cxn ang="0">
                <a:pos x="T8" y="T9"/>
              </a:cxn>
            </a:cxnLst>
            <a:rect l="0" t="0" r="r" b="b"/>
            <a:pathLst>
              <a:path w="701" h="655">
                <a:moveTo>
                  <a:pt x="101" y="513"/>
                </a:moveTo>
                <a:cubicBezTo>
                  <a:pt x="0" y="381"/>
                  <a:pt x="30" y="196"/>
                  <a:pt x="168" y="98"/>
                </a:cubicBezTo>
                <a:cubicBezTo>
                  <a:pt x="306" y="0"/>
                  <a:pt x="500" y="28"/>
                  <a:pt x="600" y="159"/>
                </a:cubicBezTo>
                <a:cubicBezTo>
                  <a:pt x="701" y="290"/>
                  <a:pt x="660" y="460"/>
                  <a:pt x="522" y="558"/>
                </a:cubicBezTo>
                <a:cubicBezTo>
                  <a:pt x="384" y="655"/>
                  <a:pt x="202" y="644"/>
                  <a:pt x="101" y="513"/>
                </a:cubicBezTo>
              </a:path>
            </a:pathLst>
          </a:custGeom>
          <a:solidFill>
            <a:srgbClr val="86086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81" name="Text Placeholder 9">
            <a:extLst>
              <a:ext uri="{FF2B5EF4-FFF2-40B4-BE49-F238E27FC236}">
                <a16:creationId xmlns:a16="http://schemas.microsoft.com/office/drawing/2014/main" id="{3724D3CD-87EB-4D6B-B0B7-8D0C503210C6}"/>
              </a:ext>
            </a:extLst>
          </p:cNvPr>
          <p:cNvSpPr txBox="1">
            <a:spLocks/>
          </p:cNvSpPr>
          <p:nvPr/>
        </p:nvSpPr>
        <p:spPr>
          <a:xfrm>
            <a:off x="8960205" y="3037919"/>
            <a:ext cx="2320371" cy="645047"/>
          </a:xfrm>
          <a:prstGeom prst="rect">
            <a:avLst/>
          </a:prstGeom>
          <a:noFill/>
        </p:spPr>
        <p:txBody>
          <a:bodyPr vert="horz" lIns="0" tIns="0" rIns="0" bIns="0" rtlCol="0" anchor="ctr">
            <a:noAutofit/>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b="1" i="0" u="none" strike="noStrike" kern="1200" cap="none" spc="0" normalizeH="0" baseline="0" noProof="0" dirty="0">
                <a:ln>
                  <a:noFill/>
                </a:ln>
                <a:solidFill>
                  <a:srgbClr val="860864"/>
                </a:solidFill>
                <a:effectLst/>
                <a:uLnTx/>
                <a:uFillTx/>
                <a:latin typeface="Verdana" panose="020B0604030504040204" pitchFamily="34" charset="0"/>
                <a:ea typeface="Verdana" panose="020B0604030504040204" pitchFamily="34" charset="0"/>
                <a:cs typeface="Verdana" panose="020B0604030504040204" pitchFamily="34" charset="0"/>
              </a:rPr>
              <a:t>Nullable reference types</a:t>
            </a:r>
          </a:p>
        </p:txBody>
      </p:sp>
      <p:sp>
        <p:nvSpPr>
          <p:cNvPr id="82" name="Text Placeholder 10">
            <a:extLst>
              <a:ext uri="{FF2B5EF4-FFF2-40B4-BE49-F238E27FC236}">
                <a16:creationId xmlns:a16="http://schemas.microsoft.com/office/drawing/2014/main" id="{D52374C7-3987-4AE0-8F46-1BC070401AA7}"/>
              </a:ext>
            </a:extLst>
          </p:cNvPr>
          <p:cNvSpPr txBox="1">
            <a:spLocks/>
          </p:cNvSpPr>
          <p:nvPr/>
        </p:nvSpPr>
        <p:spPr>
          <a:xfrm>
            <a:off x="8960207" y="3709289"/>
            <a:ext cx="2422578" cy="1711208"/>
          </a:xfrm>
          <a:prstGeom prst="rect">
            <a:avLst/>
          </a:prstGeom>
        </p:spPr>
        <p:txBody>
          <a:bodyPr vert="horz" lIns="0" tIns="0" rIns="0" bIns="0" rtlCol="0">
            <a:noAutofit/>
          </a:bodyPr>
          <a:lstStyle/>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 </a:t>
            </a:r>
            <a:b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br>
            <a:r>
              <a:rPr lang="en-US" sz="28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 </a:t>
            </a:r>
          </a:p>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 </a:t>
            </a:r>
          </a:p>
        </p:txBody>
      </p:sp>
      <p:pic>
        <p:nvPicPr>
          <p:cNvPr id="84" name="Obraz 83">
            <a:extLst>
              <a:ext uri="{FF2B5EF4-FFF2-40B4-BE49-F238E27FC236}">
                <a16:creationId xmlns:a16="http://schemas.microsoft.com/office/drawing/2014/main" id="{B817BB6F-F6DF-4B45-861E-D31A8C8C8439}"/>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9046987" y="3706389"/>
            <a:ext cx="2320371" cy="212712"/>
          </a:xfrm>
          <a:prstGeom prst="rect">
            <a:avLst/>
          </a:prstGeom>
        </p:spPr>
      </p:pic>
      <p:pic>
        <p:nvPicPr>
          <p:cNvPr id="86" name="Obraz 85">
            <a:extLst>
              <a:ext uri="{FF2B5EF4-FFF2-40B4-BE49-F238E27FC236}">
                <a16:creationId xmlns:a16="http://schemas.microsoft.com/office/drawing/2014/main" id="{8A41AE31-EFF8-4EDE-BAD6-FC536481C893}"/>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9046987" y="4387003"/>
            <a:ext cx="1742605" cy="212712"/>
          </a:xfrm>
          <a:prstGeom prst="rect">
            <a:avLst/>
          </a:prstGeom>
        </p:spPr>
      </p:pic>
      <p:pic>
        <p:nvPicPr>
          <p:cNvPr id="88" name="Obraz 87">
            <a:extLst>
              <a:ext uri="{FF2B5EF4-FFF2-40B4-BE49-F238E27FC236}">
                <a16:creationId xmlns:a16="http://schemas.microsoft.com/office/drawing/2014/main" id="{F24D392D-473E-4E32-BAF8-8558C192CB91}"/>
              </a:ext>
            </a:extLst>
          </p:cNvPr>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6335762" y="3706389"/>
            <a:ext cx="2291284" cy="212712"/>
          </a:xfrm>
          <a:prstGeom prst="rect">
            <a:avLst/>
          </a:prstGeom>
        </p:spPr>
      </p:pic>
      <p:pic>
        <p:nvPicPr>
          <p:cNvPr id="90" name="Obraz 89">
            <a:extLst>
              <a:ext uri="{FF2B5EF4-FFF2-40B4-BE49-F238E27FC236}">
                <a16:creationId xmlns:a16="http://schemas.microsoft.com/office/drawing/2014/main" id="{6FB9CD8B-1638-40FA-9EA0-B81854E3E048}"/>
              </a:ext>
            </a:extLst>
          </p:cNvPr>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6335762" y="3957920"/>
            <a:ext cx="1660793" cy="212712"/>
          </a:xfrm>
          <a:prstGeom prst="rect">
            <a:avLst/>
          </a:prstGeom>
        </p:spPr>
      </p:pic>
      <p:pic>
        <p:nvPicPr>
          <p:cNvPr id="92" name="Obraz 91">
            <a:extLst>
              <a:ext uri="{FF2B5EF4-FFF2-40B4-BE49-F238E27FC236}">
                <a16:creationId xmlns:a16="http://schemas.microsoft.com/office/drawing/2014/main" id="{27C1738F-9325-4AC2-BB6B-F4D7B462C6AA}"/>
              </a:ext>
            </a:extLst>
          </p:cNvPr>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6335762" y="4208174"/>
            <a:ext cx="1488988" cy="204531"/>
          </a:xfrm>
          <a:prstGeom prst="rect">
            <a:avLst/>
          </a:prstGeom>
        </p:spPr>
      </p:pic>
      <p:pic>
        <p:nvPicPr>
          <p:cNvPr id="94" name="Obraz 93">
            <a:extLst>
              <a:ext uri="{FF2B5EF4-FFF2-40B4-BE49-F238E27FC236}">
                <a16:creationId xmlns:a16="http://schemas.microsoft.com/office/drawing/2014/main" id="{8F3491ED-4307-4A9D-854A-250DF03EB23A}"/>
              </a:ext>
            </a:extLst>
          </p:cNvPr>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6339657" y="4439028"/>
            <a:ext cx="1488988" cy="204531"/>
          </a:xfrm>
          <a:prstGeom prst="rect">
            <a:avLst/>
          </a:prstGeom>
        </p:spPr>
      </p:pic>
      <p:pic>
        <p:nvPicPr>
          <p:cNvPr id="96" name="Obraz 95">
            <a:extLst>
              <a:ext uri="{FF2B5EF4-FFF2-40B4-BE49-F238E27FC236}">
                <a16:creationId xmlns:a16="http://schemas.microsoft.com/office/drawing/2014/main" id="{9D59134E-59F8-467F-ACDA-FE02E6885203}"/>
              </a:ext>
            </a:extLst>
          </p:cNvPr>
          <p:cNvPicPr>
            <a:picLocks noChangeAspect="1"/>
          </p:cNvPicPr>
          <p:nvPr/>
        </p:nvPicPr>
        <p:blipFill>
          <a:blip r:embed="rId18">
            <a:extLst>
              <a:ext uri="{28A0092B-C50C-407E-A947-70E740481C1C}">
                <a14:useLocalDpi xmlns:a14="http://schemas.microsoft.com/office/drawing/2010/main" val="0"/>
              </a:ext>
            </a:extLst>
          </a:blip>
          <a:stretch>
            <a:fillRect/>
          </a:stretch>
        </p:blipFill>
        <p:spPr>
          <a:xfrm>
            <a:off x="9046987" y="3968404"/>
            <a:ext cx="2212126" cy="404455"/>
          </a:xfrm>
          <a:prstGeom prst="rect">
            <a:avLst/>
          </a:prstGeom>
        </p:spPr>
      </p:pic>
      <p:pic>
        <p:nvPicPr>
          <p:cNvPr id="97" name="Obraz 96">
            <a:extLst>
              <a:ext uri="{FF2B5EF4-FFF2-40B4-BE49-F238E27FC236}">
                <a16:creationId xmlns:a16="http://schemas.microsoft.com/office/drawing/2014/main" id="{73D66130-21A8-4CFB-BC43-04673582CECD}"/>
              </a:ext>
            </a:extLst>
          </p:cNvPr>
          <p:cNvPicPr>
            <a:picLocks noChangeAspect="1"/>
          </p:cNvPicPr>
          <p:nvPr/>
        </p:nvPicPr>
        <p:blipFill>
          <a:blip r:embed="rId18">
            <a:extLst>
              <a:ext uri="{28A0092B-C50C-407E-A947-70E740481C1C}">
                <a14:useLocalDpi xmlns:a14="http://schemas.microsoft.com/office/drawing/2010/main" val="0"/>
              </a:ext>
            </a:extLst>
          </a:blip>
          <a:stretch>
            <a:fillRect/>
          </a:stretch>
        </p:blipFill>
        <p:spPr>
          <a:xfrm>
            <a:off x="9046987" y="4661636"/>
            <a:ext cx="2212126" cy="404455"/>
          </a:xfrm>
          <a:prstGeom prst="rect">
            <a:avLst/>
          </a:prstGeom>
        </p:spPr>
      </p:pic>
    </p:spTree>
    <p:extLst>
      <p:ext uri="{BB962C8B-B14F-4D97-AF65-F5344CB8AC3E}">
        <p14:creationId xmlns:p14="http://schemas.microsoft.com/office/powerpoint/2010/main" val="4157135593"/>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 name="Rectangle 59">
            <a:extLst>
              <a:ext uri="{FF2B5EF4-FFF2-40B4-BE49-F238E27FC236}">
                <a16:creationId xmlns:a16="http://schemas.microsoft.com/office/drawing/2014/main" id="{9428E008-8153-463A-9D08-E2DE23E0429B}"/>
              </a:ext>
            </a:extLst>
          </p:cNvPr>
          <p:cNvSpPr/>
          <p:nvPr/>
        </p:nvSpPr>
        <p:spPr>
          <a:xfrm>
            <a:off x="5984776" y="2365334"/>
            <a:ext cx="5398008" cy="358346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4" name="Tytuł 3">
            <a:extLst>
              <a:ext uri="{FF2B5EF4-FFF2-40B4-BE49-F238E27FC236}">
                <a16:creationId xmlns:a16="http://schemas.microsoft.com/office/drawing/2014/main" id="{BE6E47FB-5E55-45DB-B712-E4993D47A776}"/>
              </a:ext>
            </a:extLst>
          </p:cNvPr>
          <p:cNvSpPr>
            <a:spLocks noGrp="1"/>
          </p:cNvSpPr>
          <p:nvPr>
            <p:ph type="title"/>
          </p:nvPr>
        </p:nvSpPr>
        <p:spPr>
          <a:xfrm>
            <a:off x="974872" y="0"/>
            <a:ext cx="10377711" cy="1104900"/>
          </a:xfrm>
        </p:spPr>
        <p:txBody>
          <a:bodyPr/>
          <a:lstStyle/>
          <a:p>
            <a:r>
              <a:rPr lang="en-US" dirty="0"/>
              <a:t>Nullable reference types</a:t>
            </a:r>
          </a:p>
        </p:txBody>
      </p:sp>
      <p:sp>
        <p:nvSpPr>
          <p:cNvPr id="6" name="Symbol zastępczy tekstu 5">
            <a:extLst>
              <a:ext uri="{FF2B5EF4-FFF2-40B4-BE49-F238E27FC236}">
                <a16:creationId xmlns:a16="http://schemas.microsoft.com/office/drawing/2014/main" id="{1302AB4B-7554-47F7-BBCD-39BD33559A94}"/>
              </a:ext>
            </a:extLst>
          </p:cNvPr>
          <p:cNvSpPr>
            <a:spLocks noGrp="1"/>
          </p:cNvSpPr>
          <p:nvPr>
            <p:ph type="body" sz="quarter" idx="11"/>
          </p:nvPr>
        </p:nvSpPr>
        <p:spPr>
          <a:xfrm>
            <a:off x="974872" y="1148607"/>
            <a:ext cx="10940903" cy="504056"/>
          </a:xfrm>
        </p:spPr>
        <p:txBody>
          <a:bodyPr/>
          <a:lstStyle/>
          <a:p>
            <a:r>
              <a:rPr lang="en-US" dirty="0"/>
              <a:t>C# 8.0</a:t>
            </a:r>
          </a:p>
        </p:txBody>
      </p:sp>
      <p:sp>
        <p:nvSpPr>
          <p:cNvPr id="7" name="Symbol zastępczy tekstu 6">
            <a:extLst>
              <a:ext uri="{FF2B5EF4-FFF2-40B4-BE49-F238E27FC236}">
                <a16:creationId xmlns:a16="http://schemas.microsoft.com/office/drawing/2014/main" id="{5D8A2B1E-A86F-4A25-94A4-5CF446FD2951}"/>
              </a:ext>
            </a:extLst>
          </p:cNvPr>
          <p:cNvSpPr>
            <a:spLocks noGrp="1"/>
          </p:cNvSpPr>
          <p:nvPr>
            <p:ph type="body" sz="quarter" idx="12"/>
          </p:nvPr>
        </p:nvSpPr>
        <p:spPr/>
        <p:txBody>
          <a:bodyPr/>
          <a:lstStyle/>
          <a:p>
            <a:r>
              <a:rPr lang="en-US" dirty="0"/>
              <a:t>2</a:t>
            </a:r>
          </a:p>
        </p:txBody>
      </p:sp>
      <p:sp>
        <p:nvSpPr>
          <p:cNvPr id="31" name="Rectangle 59">
            <a:extLst>
              <a:ext uri="{FF2B5EF4-FFF2-40B4-BE49-F238E27FC236}">
                <a16:creationId xmlns:a16="http://schemas.microsoft.com/office/drawing/2014/main" id="{15F7EA8D-F12B-4352-9BF3-A323A5FA86F5}"/>
              </a:ext>
            </a:extLst>
          </p:cNvPr>
          <p:cNvSpPr/>
          <p:nvPr/>
        </p:nvSpPr>
        <p:spPr>
          <a:xfrm>
            <a:off x="551384" y="2365334"/>
            <a:ext cx="5379818" cy="358346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5" name="Freeform 20">
            <a:extLst>
              <a:ext uri="{FF2B5EF4-FFF2-40B4-BE49-F238E27FC236}">
                <a16:creationId xmlns:a16="http://schemas.microsoft.com/office/drawing/2014/main" id="{AA60DB81-6F24-4406-8A20-88F121160787}"/>
              </a:ext>
            </a:extLst>
          </p:cNvPr>
          <p:cNvSpPr>
            <a:spLocks/>
          </p:cNvSpPr>
          <p:nvPr/>
        </p:nvSpPr>
        <p:spPr bwMode="auto">
          <a:xfrm>
            <a:off x="5591944" y="1702869"/>
            <a:ext cx="1330762" cy="1244311"/>
          </a:xfrm>
          <a:custGeom>
            <a:avLst/>
            <a:gdLst>
              <a:gd name="T0" fmla="*/ 101 w 701"/>
              <a:gd name="T1" fmla="*/ 513 h 655"/>
              <a:gd name="T2" fmla="*/ 168 w 701"/>
              <a:gd name="T3" fmla="*/ 98 h 655"/>
              <a:gd name="T4" fmla="*/ 600 w 701"/>
              <a:gd name="T5" fmla="*/ 159 h 655"/>
              <a:gd name="T6" fmla="*/ 522 w 701"/>
              <a:gd name="T7" fmla="*/ 558 h 655"/>
              <a:gd name="T8" fmla="*/ 101 w 701"/>
              <a:gd name="T9" fmla="*/ 513 h 655"/>
            </a:gdLst>
            <a:ahLst/>
            <a:cxnLst>
              <a:cxn ang="0">
                <a:pos x="T0" y="T1"/>
              </a:cxn>
              <a:cxn ang="0">
                <a:pos x="T2" y="T3"/>
              </a:cxn>
              <a:cxn ang="0">
                <a:pos x="T4" y="T5"/>
              </a:cxn>
              <a:cxn ang="0">
                <a:pos x="T6" y="T7"/>
              </a:cxn>
              <a:cxn ang="0">
                <a:pos x="T8" y="T9"/>
              </a:cxn>
            </a:cxnLst>
            <a:rect l="0" t="0" r="r" b="b"/>
            <a:pathLst>
              <a:path w="701" h="655">
                <a:moveTo>
                  <a:pt x="101" y="513"/>
                </a:moveTo>
                <a:cubicBezTo>
                  <a:pt x="0" y="381"/>
                  <a:pt x="30" y="196"/>
                  <a:pt x="168" y="98"/>
                </a:cubicBezTo>
                <a:cubicBezTo>
                  <a:pt x="306" y="0"/>
                  <a:pt x="500" y="28"/>
                  <a:pt x="600" y="159"/>
                </a:cubicBezTo>
                <a:cubicBezTo>
                  <a:pt x="701" y="290"/>
                  <a:pt x="660" y="460"/>
                  <a:pt x="522" y="558"/>
                </a:cubicBezTo>
                <a:cubicBezTo>
                  <a:pt x="384" y="655"/>
                  <a:pt x="202" y="644"/>
                  <a:pt x="101" y="513"/>
                </a:cubicBezTo>
              </a:path>
            </a:pathLst>
          </a:custGeom>
          <a:solidFill>
            <a:srgbClr val="86086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42" name="Freeform 31">
            <a:extLst>
              <a:ext uri="{FF2B5EF4-FFF2-40B4-BE49-F238E27FC236}">
                <a16:creationId xmlns:a16="http://schemas.microsoft.com/office/drawing/2014/main" id="{28AE7B38-8B9B-4CBD-B7FD-1A1133339837}"/>
              </a:ext>
            </a:extLst>
          </p:cNvPr>
          <p:cNvSpPr>
            <a:spLocks/>
          </p:cNvSpPr>
          <p:nvPr/>
        </p:nvSpPr>
        <p:spPr bwMode="auto">
          <a:xfrm>
            <a:off x="353137" y="1675813"/>
            <a:ext cx="1359985" cy="1271367"/>
          </a:xfrm>
          <a:custGeom>
            <a:avLst/>
            <a:gdLst>
              <a:gd name="T0" fmla="*/ 207 w 1442"/>
              <a:gd name="T1" fmla="*/ 1053 h 1347"/>
              <a:gd name="T2" fmla="*/ 346 w 1442"/>
              <a:gd name="T3" fmla="*/ 201 h 1347"/>
              <a:gd name="T4" fmla="*/ 1235 w 1442"/>
              <a:gd name="T5" fmla="*/ 326 h 1347"/>
              <a:gd name="T6" fmla="*/ 1073 w 1442"/>
              <a:gd name="T7" fmla="*/ 1147 h 1347"/>
              <a:gd name="T8" fmla="*/ 207 w 1442"/>
              <a:gd name="T9" fmla="*/ 1053 h 1347"/>
            </a:gdLst>
            <a:ahLst/>
            <a:cxnLst>
              <a:cxn ang="0">
                <a:pos x="T0" y="T1"/>
              </a:cxn>
              <a:cxn ang="0">
                <a:pos x="T2" y="T3"/>
              </a:cxn>
              <a:cxn ang="0">
                <a:pos x="T4" y="T5"/>
              </a:cxn>
              <a:cxn ang="0">
                <a:pos x="T6" y="T7"/>
              </a:cxn>
              <a:cxn ang="0">
                <a:pos x="T8" y="T9"/>
              </a:cxn>
            </a:cxnLst>
            <a:rect l="0" t="0" r="r" b="b"/>
            <a:pathLst>
              <a:path w="1442" h="1347">
                <a:moveTo>
                  <a:pt x="207" y="1053"/>
                </a:moveTo>
                <a:cubicBezTo>
                  <a:pt x="0" y="783"/>
                  <a:pt x="62" y="401"/>
                  <a:pt x="346" y="201"/>
                </a:cubicBezTo>
                <a:cubicBezTo>
                  <a:pt x="629" y="0"/>
                  <a:pt x="1028" y="56"/>
                  <a:pt x="1235" y="326"/>
                </a:cubicBezTo>
                <a:cubicBezTo>
                  <a:pt x="1442" y="596"/>
                  <a:pt x="1357" y="946"/>
                  <a:pt x="1073" y="1147"/>
                </a:cubicBezTo>
                <a:cubicBezTo>
                  <a:pt x="790" y="1347"/>
                  <a:pt x="415" y="1324"/>
                  <a:pt x="207" y="1053"/>
                </a:cubicBezTo>
              </a:path>
            </a:pathLst>
          </a:custGeom>
          <a:solidFill>
            <a:srgbClr val="00206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dirty="0"/>
          </a:p>
        </p:txBody>
      </p:sp>
      <p:sp>
        <p:nvSpPr>
          <p:cNvPr id="47" name="Text Placeholder 9">
            <a:extLst>
              <a:ext uri="{FF2B5EF4-FFF2-40B4-BE49-F238E27FC236}">
                <a16:creationId xmlns:a16="http://schemas.microsoft.com/office/drawing/2014/main" id="{194574D8-E8F4-4079-8488-EA56B0CF8330}"/>
              </a:ext>
            </a:extLst>
          </p:cNvPr>
          <p:cNvSpPr txBox="1">
            <a:spLocks/>
          </p:cNvSpPr>
          <p:nvPr/>
        </p:nvSpPr>
        <p:spPr>
          <a:xfrm>
            <a:off x="862790" y="3037919"/>
            <a:ext cx="4873170" cy="645047"/>
          </a:xfrm>
          <a:prstGeom prst="rect">
            <a:avLst/>
          </a:prstGeom>
          <a:noFill/>
        </p:spPr>
        <p:txBody>
          <a:bodyPr vert="horz" lIns="0" tIns="0" rIns="0" bIns="0" rtlCol="0" anchor="ctr">
            <a:noAutofit/>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pt-PT" b="1" dirty="0">
                <a:solidFill>
                  <a:srgbClr val="002060"/>
                </a:solidFill>
                <a:latin typeface="Verdana" panose="020B0604030504040204" pitchFamily="34" charset="0"/>
                <a:ea typeface="Verdana" panose="020B0604030504040204" pitchFamily="34" charset="0"/>
                <a:cs typeface="Verdana" panose="020B0604030504040204" pitchFamily="34" charset="0"/>
              </a:rPr>
              <a:t>Non-nullable reference types</a:t>
            </a:r>
            <a:endParaRPr kumimoji="0" lang="pt-PT" b="1" i="0" u="none" strike="noStrike" kern="1200" cap="none" spc="0" normalizeH="0" baseline="0" noProof="0" dirty="0">
              <a:ln>
                <a:noFill/>
              </a:ln>
              <a:solidFill>
                <a:srgbClr val="002060"/>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48" name="Text Placeholder 10">
            <a:extLst>
              <a:ext uri="{FF2B5EF4-FFF2-40B4-BE49-F238E27FC236}">
                <a16:creationId xmlns:a16="http://schemas.microsoft.com/office/drawing/2014/main" id="{02D75BEE-CD4B-4BFD-9E2E-BF95CB478403}"/>
              </a:ext>
            </a:extLst>
          </p:cNvPr>
          <p:cNvSpPr txBox="1">
            <a:spLocks/>
          </p:cNvSpPr>
          <p:nvPr/>
        </p:nvSpPr>
        <p:spPr>
          <a:xfrm>
            <a:off x="862792" y="3709289"/>
            <a:ext cx="2330861" cy="1711208"/>
          </a:xfrm>
          <a:prstGeom prst="rect">
            <a:avLst/>
          </a:prstGeom>
        </p:spPr>
        <p:txBody>
          <a:bodyPr vert="horz" lIns="0" tIns="0" rIns="0" bIns="0" rtlCol="0">
            <a:noAutofit/>
          </a:bodyPr>
          <a:lstStyle/>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 </a:t>
            </a:r>
          </a:p>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 </a:t>
            </a:r>
            <a:b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br>
            <a:r>
              <a:rPr lang="en-US" sz="2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 </a:t>
            </a: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 </a:t>
            </a:r>
            <a:b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br>
            <a:r>
              <a:rPr lang="en-US" sz="2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 </a:t>
            </a:r>
            <a:endPar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endParaRPr>
          </a:p>
        </p:txBody>
      </p:sp>
      <p:sp>
        <p:nvSpPr>
          <p:cNvPr id="51" name="Text Placeholder 9">
            <a:extLst>
              <a:ext uri="{FF2B5EF4-FFF2-40B4-BE49-F238E27FC236}">
                <a16:creationId xmlns:a16="http://schemas.microsoft.com/office/drawing/2014/main" id="{C1442078-1FFD-4CC5-8BB9-BF9F4413CC0D}"/>
              </a:ext>
            </a:extLst>
          </p:cNvPr>
          <p:cNvSpPr txBox="1">
            <a:spLocks/>
          </p:cNvSpPr>
          <p:nvPr/>
        </p:nvSpPr>
        <p:spPr>
          <a:xfrm>
            <a:off x="6223901" y="3037919"/>
            <a:ext cx="5105309" cy="645047"/>
          </a:xfrm>
          <a:prstGeom prst="rect">
            <a:avLst/>
          </a:prstGeom>
          <a:noFill/>
        </p:spPr>
        <p:txBody>
          <a:bodyPr vert="horz" lIns="0" tIns="0" rIns="0" bIns="0" rtlCol="0" anchor="ctr">
            <a:noAutofit/>
          </a:bodyPr>
          <a:lstStyle/>
          <a:p>
            <a:pPr lvl="0">
              <a:lnSpc>
                <a:spcPct val="90000"/>
              </a:lnSpc>
              <a:spcBef>
                <a:spcPts val="1000"/>
              </a:spcBef>
              <a:defRPr/>
            </a:pPr>
            <a:r>
              <a:rPr lang="pt-PT" b="1" dirty="0">
                <a:solidFill>
                  <a:srgbClr val="860864"/>
                </a:solidFill>
                <a:latin typeface="Verdana" panose="020B0604030504040204" pitchFamily="34" charset="0"/>
                <a:ea typeface="Verdana" panose="020B0604030504040204" pitchFamily="34" charset="0"/>
                <a:cs typeface="Verdana" panose="020B0604030504040204" pitchFamily="34" charset="0"/>
              </a:rPr>
              <a:t>Nullable reference types</a:t>
            </a:r>
          </a:p>
        </p:txBody>
      </p:sp>
      <p:sp>
        <p:nvSpPr>
          <p:cNvPr id="52" name="Text Placeholder 10">
            <a:extLst>
              <a:ext uri="{FF2B5EF4-FFF2-40B4-BE49-F238E27FC236}">
                <a16:creationId xmlns:a16="http://schemas.microsoft.com/office/drawing/2014/main" id="{CB61B93B-589B-4A38-B114-804D134A010A}"/>
              </a:ext>
            </a:extLst>
          </p:cNvPr>
          <p:cNvSpPr txBox="1">
            <a:spLocks/>
          </p:cNvSpPr>
          <p:nvPr/>
        </p:nvSpPr>
        <p:spPr>
          <a:xfrm>
            <a:off x="6223903" y="3709289"/>
            <a:ext cx="2422578" cy="1711208"/>
          </a:xfrm>
          <a:prstGeom prst="rect">
            <a:avLst/>
          </a:prstGeom>
        </p:spPr>
        <p:txBody>
          <a:bodyPr vert="horz" lIns="0" tIns="0" rIns="0" bIns="0" rtlCol="0">
            <a:noAutofit/>
          </a:bodyPr>
          <a:lstStyle/>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 </a:t>
            </a:r>
            <a:b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br>
            <a:endPar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endParaRPr>
          </a:p>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  </a:t>
            </a:r>
          </a:p>
        </p:txBody>
      </p:sp>
      <p:pic>
        <p:nvPicPr>
          <p:cNvPr id="41" name="Obraz 40">
            <a:extLst>
              <a:ext uri="{FF2B5EF4-FFF2-40B4-BE49-F238E27FC236}">
                <a16:creationId xmlns:a16="http://schemas.microsoft.com/office/drawing/2014/main" id="{7DE41926-EA45-4893-BD5F-87187F514BD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75654" y="3700614"/>
            <a:ext cx="2291284" cy="212712"/>
          </a:xfrm>
          <a:prstGeom prst="rect">
            <a:avLst/>
          </a:prstGeom>
        </p:spPr>
      </p:pic>
      <p:pic>
        <p:nvPicPr>
          <p:cNvPr id="5" name="Obraz 4">
            <a:extLst>
              <a:ext uri="{FF2B5EF4-FFF2-40B4-BE49-F238E27FC236}">
                <a16:creationId xmlns:a16="http://schemas.microsoft.com/office/drawing/2014/main" id="{85CED379-0E39-40F2-8F01-6471859ABBB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81151" y="3956784"/>
            <a:ext cx="1703676" cy="209812"/>
          </a:xfrm>
          <a:prstGeom prst="rect">
            <a:avLst/>
          </a:prstGeom>
        </p:spPr>
      </p:pic>
      <p:pic>
        <p:nvPicPr>
          <p:cNvPr id="9" name="Obraz 8">
            <a:extLst>
              <a:ext uri="{FF2B5EF4-FFF2-40B4-BE49-F238E27FC236}">
                <a16:creationId xmlns:a16="http://schemas.microsoft.com/office/drawing/2014/main" id="{9E9EC5A8-B490-46AF-A86C-936AA2C82015}"/>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77980" y="4212878"/>
            <a:ext cx="2249196" cy="285345"/>
          </a:xfrm>
          <a:prstGeom prst="rect">
            <a:avLst/>
          </a:prstGeom>
        </p:spPr>
      </p:pic>
      <p:pic>
        <p:nvPicPr>
          <p:cNvPr id="11" name="Obraz 10">
            <a:extLst>
              <a:ext uri="{FF2B5EF4-FFF2-40B4-BE49-F238E27FC236}">
                <a16:creationId xmlns:a16="http://schemas.microsoft.com/office/drawing/2014/main" id="{DF0C6B97-DB74-4928-8F9D-4923DD3941FE}"/>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363005" y="3709289"/>
            <a:ext cx="2615085" cy="411176"/>
          </a:xfrm>
          <a:prstGeom prst="rect">
            <a:avLst/>
          </a:prstGeom>
        </p:spPr>
      </p:pic>
      <p:pic>
        <p:nvPicPr>
          <p:cNvPr id="13" name="Obraz 12">
            <a:extLst>
              <a:ext uri="{FF2B5EF4-FFF2-40B4-BE49-F238E27FC236}">
                <a16:creationId xmlns:a16="http://schemas.microsoft.com/office/drawing/2014/main" id="{3406775B-9FE6-4087-B497-7AF76B69702A}"/>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363004" y="4153612"/>
            <a:ext cx="2615085" cy="411176"/>
          </a:xfrm>
          <a:prstGeom prst="rect">
            <a:avLst/>
          </a:prstGeom>
        </p:spPr>
      </p:pic>
      <p:pic>
        <p:nvPicPr>
          <p:cNvPr id="15" name="Obraz 14">
            <a:extLst>
              <a:ext uri="{FF2B5EF4-FFF2-40B4-BE49-F238E27FC236}">
                <a16:creationId xmlns:a16="http://schemas.microsoft.com/office/drawing/2014/main" id="{F33D6DB9-9B18-472C-B6DA-AB6B0B155D6E}"/>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363004" y="4615229"/>
            <a:ext cx="2203911" cy="279600"/>
          </a:xfrm>
          <a:prstGeom prst="rect">
            <a:avLst/>
          </a:prstGeom>
        </p:spPr>
      </p:pic>
    </p:spTree>
    <p:extLst>
      <p:ext uri="{BB962C8B-B14F-4D97-AF65-F5344CB8AC3E}">
        <p14:creationId xmlns:p14="http://schemas.microsoft.com/office/powerpoint/2010/main" val="658457168"/>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 name="Rectangle 59">
            <a:extLst>
              <a:ext uri="{FF2B5EF4-FFF2-40B4-BE49-F238E27FC236}">
                <a16:creationId xmlns:a16="http://schemas.microsoft.com/office/drawing/2014/main" id="{9428E008-8153-463A-9D08-E2DE23E0429B}"/>
              </a:ext>
            </a:extLst>
          </p:cNvPr>
          <p:cNvSpPr/>
          <p:nvPr/>
        </p:nvSpPr>
        <p:spPr>
          <a:xfrm>
            <a:off x="5984776" y="2365334"/>
            <a:ext cx="2642269" cy="358346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76" name="Rectangle 59">
            <a:extLst>
              <a:ext uri="{FF2B5EF4-FFF2-40B4-BE49-F238E27FC236}">
                <a16:creationId xmlns:a16="http://schemas.microsoft.com/office/drawing/2014/main" id="{C36DD3A0-6C66-4648-B3BC-FCDB178CDBBF}"/>
              </a:ext>
            </a:extLst>
          </p:cNvPr>
          <p:cNvSpPr/>
          <p:nvPr/>
        </p:nvSpPr>
        <p:spPr>
          <a:xfrm>
            <a:off x="3277535" y="2365334"/>
            <a:ext cx="2642269" cy="358346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4" name="Tytuł 3">
            <a:extLst>
              <a:ext uri="{FF2B5EF4-FFF2-40B4-BE49-F238E27FC236}">
                <a16:creationId xmlns:a16="http://schemas.microsoft.com/office/drawing/2014/main" id="{BE6E47FB-5E55-45DB-B712-E4993D47A776}"/>
              </a:ext>
            </a:extLst>
          </p:cNvPr>
          <p:cNvSpPr>
            <a:spLocks noGrp="1"/>
          </p:cNvSpPr>
          <p:nvPr>
            <p:ph type="title"/>
          </p:nvPr>
        </p:nvSpPr>
        <p:spPr/>
        <p:txBody>
          <a:bodyPr/>
          <a:lstStyle/>
          <a:p>
            <a:r>
              <a:rPr lang="en-US" dirty="0"/>
              <a:t>Nullable reference types</a:t>
            </a:r>
          </a:p>
        </p:txBody>
      </p:sp>
      <p:sp>
        <p:nvSpPr>
          <p:cNvPr id="6" name="Symbol zastępczy tekstu 5">
            <a:extLst>
              <a:ext uri="{FF2B5EF4-FFF2-40B4-BE49-F238E27FC236}">
                <a16:creationId xmlns:a16="http://schemas.microsoft.com/office/drawing/2014/main" id="{1302AB4B-7554-47F7-BBCD-39BD33559A94}"/>
              </a:ext>
            </a:extLst>
          </p:cNvPr>
          <p:cNvSpPr>
            <a:spLocks noGrp="1"/>
          </p:cNvSpPr>
          <p:nvPr>
            <p:ph type="body" sz="quarter" idx="11"/>
          </p:nvPr>
        </p:nvSpPr>
        <p:spPr>
          <a:xfrm>
            <a:off x="974872" y="1148607"/>
            <a:ext cx="10940903" cy="504056"/>
          </a:xfrm>
        </p:spPr>
        <p:txBody>
          <a:bodyPr/>
          <a:lstStyle/>
          <a:p>
            <a:r>
              <a:rPr lang="en-US" dirty="0"/>
              <a:t>C# 8.0 - #nullable processor predicate</a:t>
            </a:r>
          </a:p>
        </p:txBody>
      </p:sp>
      <p:sp>
        <p:nvSpPr>
          <p:cNvPr id="7" name="Symbol zastępczy tekstu 6">
            <a:extLst>
              <a:ext uri="{FF2B5EF4-FFF2-40B4-BE49-F238E27FC236}">
                <a16:creationId xmlns:a16="http://schemas.microsoft.com/office/drawing/2014/main" id="{5D8A2B1E-A86F-4A25-94A4-5CF446FD2951}"/>
              </a:ext>
            </a:extLst>
          </p:cNvPr>
          <p:cNvSpPr>
            <a:spLocks noGrp="1"/>
          </p:cNvSpPr>
          <p:nvPr>
            <p:ph type="body" sz="quarter" idx="12"/>
          </p:nvPr>
        </p:nvSpPr>
        <p:spPr/>
        <p:txBody>
          <a:bodyPr/>
          <a:lstStyle/>
          <a:p>
            <a:r>
              <a:rPr lang="en-US" dirty="0"/>
              <a:t>3</a:t>
            </a:r>
          </a:p>
        </p:txBody>
      </p:sp>
      <p:sp>
        <p:nvSpPr>
          <p:cNvPr id="31" name="Rectangle 59">
            <a:extLst>
              <a:ext uri="{FF2B5EF4-FFF2-40B4-BE49-F238E27FC236}">
                <a16:creationId xmlns:a16="http://schemas.microsoft.com/office/drawing/2014/main" id="{15F7EA8D-F12B-4352-9BF3-A323A5FA86F5}"/>
              </a:ext>
            </a:extLst>
          </p:cNvPr>
          <p:cNvSpPr/>
          <p:nvPr/>
        </p:nvSpPr>
        <p:spPr>
          <a:xfrm>
            <a:off x="566400" y="2365334"/>
            <a:ext cx="2642269" cy="358346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5" name="Freeform 20">
            <a:extLst>
              <a:ext uri="{FF2B5EF4-FFF2-40B4-BE49-F238E27FC236}">
                <a16:creationId xmlns:a16="http://schemas.microsoft.com/office/drawing/2014/main" id="{AA60DB81-6F24-4406-8A20-88F121160787}"/>
              </a:ext>
            </a:extLst>
          </p:cNvPr>
          <p:cNvSpPr>
            <a:spLocks/>
          </p:cNvSpPr>
          <p:nvPr/>
        </p:nvSpPr>
        <p:spPr bwMode="auto">
          <a:xfrm>
            <a:off x="5591944" y="1702869"/>
            <a:ext cx="1330762" cy="1244311"/>
          </a:xfrm>
          <a:custGeom>
            <a:avLst/>
            <a:gdLst>
              <a:gd name="T0" fmla="*/ 101 w 701"/>
              <a:gd name="T1" fmla="*/ 513 h 655"/>
              <a:gd name="T2" fmla="*/ 168 w 701"/>
              <a:gd name="T3" fmla="*/ 98 h 655"/>
              <a:gd name="T4" fmla="*/ 600 w 701"/>
              <a:gd name="T5" fmla="*/ 159 h 655"/>
              <a:gd name="T6" fmla="*/ 522 w 701"/>
              <a:gd name="T7" fmla="*/ 558 h 655"/>
              <a:gd name="T8" fmla="*/ 101 w 701"/>
              <a:gd name="T9" fmla="*/ 513 h 655"/>
            </a:gdLst>
            <a:ahLst/>
            <a:cxnLst>
              <a:cxn ang="0">
                <a:pos x="T0" y="T1"/>
              </a:cxn>
              <a:cxn ang="0">
                <a:pos x="T2" y="T3"/>
              </a:cxn>
              <a:cxn ang="0">
                <a:pos x="T4" y="T5"/>
              </a:cxn>
              <a:cxn ang="0">
                <a:pos x="T6" y="T7"/>
              </a:cxn>
              <a:cxn ang="0">
                <a:pos x="T8" y="T9"/>
              </a:cxn>
            </a:cxnLst>
            <a:rect l="0" t="0" r="r" b="b"/>
            <a:pathLst>
              <a:path w="701" h="655">
                <a:moveTo>
                  <a:pt x="101" y="513"/>
                </a:moveTo>
                <a:cubicBezTo>
                  <a:pt x="0" y="381"/>
                  <a:pt x="30" y="196"/>
                  <a:pt x="168" y="98"/>
                </a:cubicBezTo>
                <a:cubicBezTo>
                  <a:pt x="306" y="0"/>
                  <a:pt x="500" y="28"/>
                  <a:pt x="600" y="159"/>
                </a:cubicBezTo>
                <a:cubicBezTo>
                  <a:pt x="701" y="290"/>
                  <a:pt x="660" y="460"/>
                  <a:pt x="522" y="558"/>
                </a:cubicBezTo>
                <a:cubicBezTo>
                  <a:pt x="384" y="655"/>
                  <a:pt x="202" y="644"/>
                  <a:pt x="101" y="513"/>
                </a:cubicBezTo>
              </a:path>
            </a:pathLst>
          </a:custGeom>
          <a:solidFill>
            <a:srgbClr val="2B0A3D"/>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9" name="Freeform 26">
            <a:extLst>
              <a:ext uri="{FF2B5EF4-FFF2-40B4-BE49-F238E27FC236}">
                <a16:creationId xmlns:a16="http://schemas.microsoft.com/office/drawing/2014/main" id="{00E12CF0-761D-4634-B721-2F6C5B53E099}"/>
              </a:ext>
            </a:extLst>
          </p:cNvPr>
          <p:cNvSpPr>
            <a:spLocks/>
          </p:cNvSpPr>
          <p:nvPr/>
        </p:nvSpPr>
        <p:spPr bwMode="auto">
          <a:xfrm>
            <a:off x="2855640" y="1699811"/>
            <a:ext cx="1330762" cy="1247369"/>
          </a:xfrm>
          <a:custGeom>
            <a:avLst/>
            <a:gdLst>
              <a:gd name="T0" fmla="*/ 60 w 422"/>
              <a:gd name="T1" fmla="*/ 309 h 395"/>
              <a:gd name="T2" fmla="*/ 101 w 422"/>
              <a:gd name="T3" fmla="*/ 59 h 395"/>
              <a:gd name="T4" fmla="*/ 362 w 422"/>
              <a:gd name="T5" fmla="*/ 96 h 395"/>
              <a:gd name="T6" fmla="*/ 314 w 422"/>
              <a:gd name="T7" fmla="*/ 336 h 395"/>
              <a:gd name="T8" fmla="*/ 60 w 422"/>
              <a:gd name="T9" fmla="*/ 309 h 395"/>
            </a:gdLst>
            <a:ahLst/>
            <a:cxnLst>
              <a:cxn ang="0">
                <a:pos x="T0" y="T1"/>
              </a:cxn>
              <a:cxn ang="0">
                <a:pos x="T2" y="T3"/>
              </a:cxn>
              <a:cxn ang="0">
                <a:pos x="T4" y="T5"/>
              </a:cxn>
              <a:cxn ang="0">
                <a:pos x="T6" y="T7"/>
              </a:cxn>
              <a:cxn ang="0">
                <a:pos x="T8" y="T9"/>
              </a:cxn>
            </a:cxnLst>
            <a:rect l="0" t="0" r="r" b="b"/>
            <a:pathLst>
              <a:path w="422" h="395">
                <a:moveTo>
                  <a:pt x="60" y="309"/>
                </a:moveTo>
                <a:cubicBezTo>
                  <a:pt x="0" y="230"/>
                  <a:pt x="18" y="118"/>
                  <a:pt x="101" y="59"/>
                </a:cubicBezTo>
                <a:cubicBezTo>
                  <a:pt x="184" y="0"/>
                  <a:pt x="301" y="17"/>
                  <a:pt x="362" y="96"/>
                </a:cubicBezTo>
                <a:cubicBezTo>
                  <a:pt x="422" y="175"/>
                  <a:pt x="397" y="278"/>
                  <a:pt x="314" y="336"/>
                </a:cubicBezTo>
                <a:cubicBezTo>
                  <a:pt x="231" y="395"/>
                  <a:pt x="121" y="388"/>
                  <a:pt x="60" y="309"/>
                </a:cubicBezTo>
              </a:path>
            </a:pathLst>
          </a:custGeom>
          <a:solidFill>
            <a:srgbClr val="FF304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42" name="Freeform 31">
            <a:extLst>
              <a:ext uri="{FF2B5EF4-FFF2-40B4-BE49-F238E27FC236}">
                <a16:creationId xmlns:a16="http://schemas.microsoft.com/office/drawing/2014/main" id="{28AE7B38-8B9B-4CBD-B7FD-1A1133339837}"/>
              </a:ext>
            </a:extLst>
          </p:cNvPr>
          <p:cNvSpPr>
            <a:spLocks/>
          </p:cNvSpPr>
          <p:nvPr/>
        </p:nvSpPr>
        <p:spPr bwMode="auto">
          <a:xfrm>
            <a:off x="353137" y="1675813"/>
            <a:ext cx="1359985" cy="1271367"/>
          </a:xfrm>
          <a:custGeom>
            <a:avLst/>
            <a:gdLst>
              <a:gd name="T0" fmla="*/ 207 w 1442"/>
              <a:gd name="T1" fmla="*/ 1053 h 1347"/>
              <a:gd name="T2" fmla="*/ 346 w 1442"/>
              <a:gd name="T3" fmla="*/ 201 h 1347"/>
              <a:gd name="T4" fmla="*/ 1235 w 1442"/>
              <a:gd name="T5" fmla="*/ 326 h 1347"/>
              <a:gd name="T6" fmla="*/ 1073 w 1442"/>
              <a:gd name="T7" fmla="*/ 1147 h 1347"/>
              <a:gd name="T8" fmla="*/ 207 w 1442"/>
              <a:gd name="T9" fmla="*/ 1053 h 1347"/>
            </a:gdLst>
            <a:ahLst/>
            <a:cxnLst>
              <a:cxn ang="0">
                <a:pos x="T0" y="T1"/>
              </a:cxn>
              <a:cxn ang="0">
                <a:pos x="T2" y="T3"/>
              </a:cxn>
              <a:cxn ang="0">
                <a:pos x="T4" y="T5"/>
              </a:cxn>
              <a:cxn ang="0">
                <a:pos x="T6" y="T7"/>
              </a:cxn>
              <a:cxn ang="0">
                <a:pos x="T8" y="T9"/>
              </a:cxn>
            </a:cxnLst>
            <a:rect l="0" t="0" r="r" b="b"/>
            <a:pathLst>
              <a:path w="1442" h="1347">
                <a:moveTo>
                  <a:pt x="207" y="1053"/>
                </a:moveTo>
                <a:cubicBezTo>
                  <a:pt x="0" y="783"/>
                  <a:pt x="62" y="401"/>
                  <a:pt x="346" y="201"/>
                </a:cubicBezTo>
                <a:cubicBezTo>
                  <a:pt x="629" y="0"/>
                  <a:pt x="1028" y="56"/>
                  <a:pt x="1235" y="326"/>
                </a:cubicBezTo>
                <a:cubicBezTo>
                  <a:pt x="1442" y="596"/>
                  <a:pt x="1357" y="946"/>
                  <a:pt x="1073" y="1147"/>
                </a:cubicBezTo>
                <a:cubicBezTo>
                  <a:pt x="790" y="1347"/>
                  <a:pt x="415" y="1324"/>
                  <a:pt x="207" y="1053"/>
                </a:cubicBezTo>
              </a:path>
            </a:pathLst>
          </a:custGeom>
          <a:solidFill>
            <a:srgbClr val="0070AD"/>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dirty="0"/>
          </a:p>
        </p:txBody>
      </p:sp>
      <p:sp>
        <p:nvSpPr>
          <p:cNvPr id="47" name="Text Placeholder 9">
            <a:extLst>
              <a:ext uri="{FF2B5EF4-FFF2-40B4-BE49-F238E27FC236}">
                <a16:creationId xmlns:a16="http://schemas.microsoft.com/office/drawing/2014/main" id="{194574D8-E8F4-4079-8488-EA56B0CF8330}"/>
              </a:ext>
            </a:extLst>
          </p:cNvPr>
          <p:cNvSpPr txBox="1">
            <a:spLocks/>
          </p:cNvSpPr>
          <p:nvPr/>
        </p:nvSpPr>
        <p:spPr>
          <a:xfrm>
            <a:off x="862790" y="3037919"/>
            <a:ext cx="2280665" cy="645047"/>
          </a:xfrm>
          <a:prstGeom prst="rect">
            <a:avLst/>
          </a:prstGeom>
          <a:noFill/>
        </p:spPr>
        <p:txBody>
          <a:bodyPr vert="horz" lIns="0" tIns="0" rIns="0" bIns="0" rtlCol="0" anchor="ctr">
            <a:noAutofit/>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pt-PT" b="1" dirty="0">
                <a:solidFill>
                  <a:srgbClr val="12ABDB"/>
                </a:solidFill>
                <a:latin typeface="Verdana" panose="020B0604030504040204" pitchFamily="34" charset="0"/>
                <a:ea typeface="Verdana" panose="020B0604030504040204" pitchFamily="34" charset="0"/>
                <a:cs typeface="Verdana" panose="020B0604030504040204" pitchFamily="34" charset="0"/>
              </a:rPr>
              <a:t>disable</a:t>
            </a:r>
            <a:endParaRPr kumimoji="0" lang="pt-PT" b="1" i="0" u="none" strike="noStrike" kern="1200" cap="none" spc="0" normalizeH="0" baseline="0" noProof="0" dirty="0">
              <a:ln>
                <a:noFill/>
              </a:ln>
              <a:solidFill>
                <a:srgbClr val="12ABDB"/>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49" name="Text Placeholder 9">
            <a:extLst>
              <a:ext uri="{FF2B5EF4-FFF2-40B4-BE49-F238E27FC236}">
                <a16:creationId xmlns:a16="http://schemas.microsoft.com/office/drawing/2014/main" id="{32FE6BC4-9E11-4B75-9F4E-DF9C16ADD7EE}"/>
              </a:ext>
            </a:extLst>
          </p:cNvPr>
          <p:cNvSpPr txBox="1">
            <a:spLocks/>
          </p:cNvSpPr>
          <p:nvPr/>
        </p:nvSpPr>
        <p:spPr>
          <a:xfrm>
            <a:off x="3476517" y="3037919"/>
            <a:ext cx="1986405" cy="645047"/>
          </a:xfrm>
          <a:prstGeom prst="rect">
            <a:avLst/>
          </a:prstGeom>
          <a:noFill/>
        </p:spPr>
        <p:txBody>
          <a:bodyPr vert="horz" lIns="0" tIns="0" rIns="0" bIns="0" rtlCol="0" anchor="ctr">
            <a:noAutofit/>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b="1" i="0" u="none" strike="noStrike" kern="1200" cap="none" spc="0" normalizeH="0" baseline="0" noProof="0" dirty="0">
                <a:ln>
                  <a:noFill/>
                </a:ln>
                <a:solidFill>
                  <a:schemeClr val="accent4"/>
                </a:solidFill>
                <a:effectLst/>
                <a:uLnTx/>
                <a:uFillTx/>
                <a:latin typeface="Verdana" panose="020B0604030504040204" pitchFamily="34" charset="0"/>
                <a:ea typeface="Verdana" panose="020B0604030504040204" pitchFamily="34" charset="0"/>
                <a:cs typeface="Verdana" panose="020B0604030504040204" pitchFamily="34" charset="0"/>
              </a:rPr>
              <a:t>enable</a:t>
            </a:r>
          </a:p>
        </p:txBody>
      </p:sp>
      <p:sp>
        <p:nvSpPr>
          <p:cNvPr id="51" name="Text Placeholder 9">
            <a:extLst>
              <a:ext uri="{FF2B5EF4-FFF2-40B4-BE49-F238E27FC236}">
                <a16:creationId xmlns:a16="http://schemas.microsoft.com/office/drawing/2014/main" id="{C1442078-1FFD-4CC5-8BB9-BF9F4413CC0D}"/>
              </a:ext>
            </a:extLst>
          </p:cNvPr>
          <p:cNvSpPr txBox="1">
            <a:spLocks/>
          </p:cNvSpPr>
          <p:nvPr/>
        </p:nvSpPr>
        <p:spPr>
          <a:xfrm>
            <a:off x="6223901" y="3037919"/>
            <a:ext cx="1888323" cy="645047"/>
          </a:xfrm>
          <a:prstGeom prst="rect">
            <a:avLst/>
          </a:prstGeom>
          <a:noFill/>
        </p:spPr>
        <p:txBody>
          <a:bodyPr vert="horz" lIns="0" tIns="0" rIns="0" bIns="0" rtlCol="0" anchor="ctr">
            <a:noAutofit/>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b="1" i="0" u="none" strike="noStrike" kern="1200" cap="none" spc="0" normalizeH="0" baseline="0" noProof="0" dirty="0">
                <a:ln>
                  <a:noFill/>
                </a:ln>
                <a:solidFill>
                  <a:schemeClr val="tx2"/>
                </a:solidFill>
                <a:effectLst/>
                <a:uLnTx/>
                <a:uFillTx/>
                <a:latin typeface="Verdana" panose="020B0604030504040204" pitchFamily="34" charset="0"/>
                <a:ea typeface="Verdana" panose="020B0604030504040204" pitchFamily="34" charset="0"/>
                <a:cs typeface="Verdana" panose="020B0604030504040204" pitchFamily="34" charset="0"/>
              </a:rPr>
              <a:t>safeonly</a:t>
            </a:r>
          </a:p>
        </p:txBody>
      </p:sp>
      <p:sp>
        <p:nvSpPr>
          <p:cNvPr id="79" name="Rectangle 59">
            <a:extLst>
              <a:ext uri="{FF2B5EF4-FFF2-40B4-BE49-F238E27FC236}">
                <a16:creationId xmlns:a16="http://schemas.microsoft.com/office/drawing/2014/main" id="{37E75DFC-5D5A-4969-BF86-0CD4DE76DB12}"/>
              </a:ext>
            </a:extLst>
          </p:cNvPr>
          <p:cNvSpPr/>
          <p:nvPr/>
        </p:nvSpPr>
        <p:spPr>
          <a:xfrm>
            <a:off x="8740515" y="2365334"/>
            <a:ext cx="2642269" cy="358346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80" name="Freeform 20">
            <a:extLst>
              <a:ext uri="{FF2B5EF4-FFF2-40B4-BE49-F238E27FC236}">
                <a16:creationId xmlns:a16="http://schemas.microsoft.com/office/drawing/2014/main" id="{F8859818-3D89-46CF-B9B1-D41B2F9B1D52}"/>
              </a:ext>
            </a:extLst>
          </p:cNvPr>
          <p:cNvSpPr>
            <a:spLocks/>
          </p:cNvSpPr>
          <p:nvPr/>
        </p:nvSpPr>
        <p:spPr bwMode="auto">
          <a:xfrm>
            <a:off x="8328248" y="1702869"/>
            <a:ext cx="1330762" cy="1244311"/>
          </a:xfrm>
          <a:custGeom>
            <a:avLst/>
            <a:gdLst>
              <a:gd name="T0" fmla="*/ 101 w 701"/>
              <a:gd name="T1" fmla="*/ 513 h 655"/>
              <a:gd name="T2" fmla="*/ 168 w 701"/>
              <a:gd name="T3" fmla="*/ 98 h 655"/>
              <a:gd name="T4" fmla="*/ 600 w 701"/>
              <a:gd name="T5" fmla="*/ 159 h 655"/>
              <a:gd name="T6" fmla="*/ 522 w 701"/>
              <a:gd name="T7" fmla="*/ 558 h 655"/>
              <a:gd name="T8" fmla="*/ 101 w 701"/>
              <a:gd name="T9" fmla="*/ 513 h 655"/>
            </a:gdLst>
            <a:ahLst/>
            <a:cxnLst>
              <a:cxn ang="0">
                <a:pos x="T0" y="T1"/>
              </a:cxn>
              <a:cxn ang="0">
                <a:pos x="T2" y="T3"/>
              </a:cxn>
              <a:cxn ang="0">
                <a:pos x="T4" y="T5"/>
              </a:cxn>
              <a:cxn ang="0">
                <a:pos x="T6" y="T7"/>
              </a:cxn>
              <a:cxn ang="0">
                <a:pos x="T8" y="T9"/>
              </a:cxn>
            </a:cxnLst>
            <a:rect l="0" t="0" r="r" b="b"/>
            <a:pathLst>
              <a:path w="701" h="655">
                <a:moveTo>
                  <a:pt x="101" y="513"/>
                </a:moveTo>
                <a:cubicBezTo>
                  <a:pt x="0" y="381"/>
                  <a:pt x="30" y="196"/>
                  <a:pt x="168" y="98"/>
                </a:cubicBezTo>
                <a:cubicBezTo>
                  <a:pt x="306" y="0"/>
                  <a:pt x="500" y="28"/>
                  <a:pt x="600" y="159"/>
                </a:cubicBezTo>
                <a:cubicBezTo>
                  <a:pt x="701" y="290"/>
                  <a:pt x="660" y="460"/>
                  <a:pt x="522" y="558"/>
                </a:cubicBezTo>
                <a:cubicBezTo>
                  <a:pt x="384" y="655"/>
                  <a:pt x="202" y="644"/>
                  <a:pt x="101" y="513"/>
                </a:cubicBezTo>
              </a:path>
            </a:pathLst>
          </a:custGeom>
          <a:solidFill>
            <a:srgbClr val="86086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81" name="Text Placeholder 9">
            <a:extLst>
              <a:ext uri="{FF2B5EF4-FFF2-40B4-BE49-F238E27FC236}">
                <a16:creationId xmlns:a16="http://schemas.microsoft.com/office/drawing/2014/main" id="{3724D3CD-87EB-4D6B-B0B7-8D0C503210C6}"/>
              </a:ext>
            </a:extLst>
          </p:cNvPr>
          <p:cNvSpPr txBox="1">
            <a:spLocks/>
          </p:cNvSpPr>
          <p:nvPr/>
        </p:nvSpPr>
        <p:spPr>
          <a:xfrm>
            <a:off x="8960205" y="3037919"/>
            <a:ext cx="2320371" cy="645047"/>
          </a:xfrm>
          <a:prstGeom prst="rect">
            <a:avLst/>
          </a:prstGeom>
          <a:noFill/>
        </p:spPr>
        <p:txBody>
          <a:bodyPr vert="horz" lIns="0" tIns="0" rIns="0" bIns="0" rtlCol="0" anchor="ctr">
            <a:noAutofit/>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b="1" i="0" u="none" strike="noStrike" kern="1200" cap="none" spc="0" normalizeH="0" baseline="0" noProof="0" dirty="0">
                <a:ln>
                  <a:noFill/>
                </a:ln>
                <a:solidFill>
                  <a:srgbClr val="860864"/>
                </a:solidFill>
                <a:effectLst/>
                <a:uLnTx/>
                <a:uFillTx/>
                <a:latin typeface="Verdana" panose="020B0604030504040204" pitchFamily="34" charset="0"/>
                <a:ea typeface="Verdana" panose="020B0604030504040204" pitchFamily="34" charset="0"/>
                <a:cs typeface="Verdana" panose="020B0604030504040204" pitchFamily="34" charset="0"/>
              </a:rPr>
              <a:t>restore</a:t>
            </a:r>
          </a:p>
        </p:txBody>
      </p:sp>
      <p:pic>
        <p:nvPicPr>
          <p:cNvPr id="3" name="Obraz 2">
            <a:extLst>
              <a:ext uri="{FF2B5EF4-FFF2-40B4-BE49-F238E27FC236}">
                <a16:creationId xmlns:a16="http://schemas.microsoft.com/office/drawing/2014/main" id="{CB7AF85C-5A12-4FF7-997E-888C304DE57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209618" y="4355550"/>
            <a:ext cx="2192584" cy="278163"/>
          </a:xfrm>
          <a:prstGeom prst="rect">
            <a:avLst/>
          </a:prstGeom>
        </p:spPr>
      </p:pic>
      <p:pic>
        <p:nvPicPr>
          <p:cNvPr id="8" name="Obraz 7">
            <a:extLst>
              <a:ext uri="{FF2B5EF4-FFF2-40B4-BE49-F238E27FC236}">
                <a16:creationId xmlns:a16="http://schemas.microsoft.com/office/drawing/2014/main" id="{688A291D-EBAB-4CEC-8CDC-CF47752719B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502377" y="4355551"/>
            <a:ext cx="2192584" cy="278163"/>
          </a:xfrm>
          <a:prstGeom prst="rect">
            <a:avLst/>
          </a:prstGeom>
        </p:spPr>
      </p:pic>
      <p:pic>
        <p:nvPicPr>
          <p:cNvPr id="10" name="Obraz 9">
            <a:extLst>
              <a:ext uri="{FF2B5EF4-FFF2-40B4-BE49-F238E27FC236}">
                <a16:creationId xmlns:a16="http://schemas.microsoft.com/office/drawing/2014/main" id="{31C6B7D2-5985-43DF-95A7-417B02F0E052}"/>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66400" y="3650902"/>
            <a:ext cx="2577056" cy="589052"/>
          </a:xfrm>
          <a:prstGeom prst="rect">
            <a:avLst/>
          </a:prstGeom>
        </p:spPr>
      </p:pic>
      <p:pic>
        <p:nvPicPr>
          <p:cNvPr id="12" name="Obraz 11">
            <a:extLst>
              <a:ext uri="{FF2B5EF4-FFF2-40B4-BE49-F238E27FC236}">
                <a16:creationId xmlns:a16="http://schemas.microsoft.com/office/drawing/2014/main" id="{E2D14C82-696D-4940-9FFF-9BEA0492CF52}"/>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273641" y="3650902"/>
            <a:ext cx="2597665" cy="589052"/>
          </a:xfrm>
          <a:prstGeom prst="rect">
            <a:avLst/>
          </a:prstGeom>
        </p:spPr>
      </p:pic>
      <p:pic>
        <p:nvPicPr>
          <p:cNvPr id="14" name="Obraz 13">
            <a:extLst>
              <a:ext uri="{FF2B5EF4-FFF2-40B4-BE49-F238E27FC236}">
                <a16:creationId xmlns:a16="http://schemas.microsoft.com/office/drawing/2014/main" id="{C9ABB7A8-ACA2-4A12-9430-3AF3F0658AB9}"/>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8740515" y="3654053"/>
            <a:ext cx="2601651" cy="809949"/>
          </a:xfrm>
          <a:prstGeom prst="rect">
            <a:avLst/>
          </a:prstGeom>
        </p:spPr>
      </p:pic>
      <p:pic>
        <p:nvPicPr>
          <p:cNvPr id="16" name="Obraz 15">
            <a:extLst>
              <a:ext uri="{FF2B5EF4-FFF2-40B4-BE49-F238E27FC236}">
                <a16:creationId xmlns:a16="http://schemas.microsoft.com/office/drawing/2014/main" id="{DFA5838B-1E54-4118-83CA-7F16974DE8B3}"/>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5993580" y="3650902"/>
            <a:ext cx="2601652" cy="589052"/>
          </a:xfrm>
          <a:prstGeom prst="rect">
            <a:avLst/>
          </a:prstGeom>
        </p:spPr>
      </p:pic>
      <p:pic>
        <p:nvPicPr>
          <p:cNvPr id="53" name="Obraz 52">
            <a:extLst>
              <a:ext uri="{FF2B5EF4-FFF2-40B4-BE49-F238E27FC236}">
                <a16:creationId xmlns:a16="http://schemas.microsoft.com/office/drawing/2014/main" id="{CD8EFC77-D22D-483D-93C2-3A5C88F8C82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548568" y="4681945"/>
            <a:ext cx="2192584" cy="278163"/>
          </a:xfrm>
          <a:prstGeom prst="rect">
            <a:avLst/>
          </a:prstGeom>
        </p:spPr>
      </p:pic>
      <p:pic>
        <p:nvPicPr>
          <p:cNvPr id="54" name="Obraz 53">
            <a:extLst>
              <a:ext uri="{FF2B5EF4-FFF2-40B4-BE49-F238E27FC236}">
                <a16:creationId xmlns:a16="http://schemas.microsoft.com/office/drawing/2014/main" id="{60A5DE2E-ADC7-4102-BFBE-1347623AFCC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024098" y="4681944"/>
            <a:ext cx="2192584" cy="278163"/>
          </a:xfrm>
          <a:prstGeom prst="rect">
            <a:avLst/>
          </a:prstGeom>
        </p:spPr>
      </p:pic>
    </p:spTree>
    <p:extLst>
      <p:ext uri="{BB962C8B-B14F-4D97-AF65-F5344CB8AC3E}">
        <p14:creationId xmlns:p14="http://schemas.microsoft.com/office/powerpoint/2010/main" val="2261994161"/>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Rectangle 59">
            <a:extLst>
              <a:ext uri="{FF2B5EF4-FFF2-40B4-BE49-F238E27FC236}">
                <a16:creationId xmlns:a16="http://schemas.microsoft.com/office/drawing/2014/main" id="{F2FA0A8B-4823-419A-B9D8-ADC12F510312}"/>
              </a:ext>
            </a:extLst>
          </p:cNvPr>
          <p:cNvSpPr/>
          <p:nvPr/>
        </p:nvSpPr>
        <p:spPr>
          <a:xfrm>
            <a:off x="7855929" y="2365334"/>
            <a:ext cx="3538545" cy="358346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7" name="Rectangle 59">
            <a:extLst>
              <a:ext uri="{FF2B5EF4-FFF2-40B4-BE49-F238E27FC236}">
                <a16:creationId xmlns:a16="http://schemas.microsoft.com/office/drawing/2014/main" id="{995678B8-0774-429A-B404-0524260E0199}"/>
              </a:ext>
            </a:extLst>
          </p:cNvPr>
          <p:cNvSpPr/>
          <p:nvPr/>
        </p:nvSpPr>
        <p:spPr>
          <a:xfrm>
            <a:off x="566400" y="2365334"/>
            <a:ext cx="3538545" cy="358346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76" name="Rectangle 59">
            <a:extLst>
              <a:ext uri="{FF2B5EF4-FFF2-40B4-BE49-F238E27FC236}">
                <a16:creationId xmlns:a16="http://schemas.microsoft.com/office/drawing/2014/main" id="{C36DD3A0-6C66-4648-B3BC-FCDB178CDBBF}"/>
              </a:ext>
            </a:extLst>
          </p:cNvPr>
          <p:cNvSpPr/>
          <p:nvPr/>
        </p:nvSpPr>
        <p:spPr>
          <a:xfrm>
            <a:off x="4213639" y="2365334"/>
            <a:ext cx="3538545" cy="358346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4" name="Tytuł 3">
            <a:extLst>
              <a:ext uri="{FF2B5EF4-FFF2-40B4-BE49-F238E27FC236}">
                <a16:creationId xmlns:a16="http://schemas.microsoft.com/office/drawing/2014/main" id="{BE6E47FB-5E55-45DB-B712-E4993D47A776}"/>
              </a:ext>
            </a:extLst>
          </p:cNvPr>
          <p:cNvSpPr>
            <a:spLocks noGrp="1"/>
          </p:cNvSpPr>
          <p:nvPr>
            <p:ph type="title"/>
          </p:nvPr>
        </p:nvSpPr>
        <p:spPr/>
        <p:txBody>
          <a:bodyPr/>
          <a:lstStyle/>
          <a:p>
            <a:r>
              <a:rPr lang="en-US" dirty="0"/>
              <a:t>Nullable reference types</a:t>
            </a:r>
          </a:p>
        </p:txBody>
      </p:sp>
      <p:sp>
        <p:nvSpPr>
          <p:cNvPr id="6" name="Symbol zastępczy tekstu 5">
            <a:extLst>
              <a:ext uri="{FF2B5EF4-FFF2-40B4-BE49-F238E27FC236}">
                <a16:creationId xmlns:a16="http://schemas.microsoft.com/office/drawing/2014/main" id="{1302AB4B-7554-47F7-BBCD-39BD33559A94}"/>
              </a:ext>
            </a:extLst>
          </p:cNvPr>
          <p:cNvSpPr>
            <a:spLocks noGrp="1"/>
          </p:cNvSpPr>
          <p:nvPr>
            <p:ph type="body" sz="quarter" idx="11"/>
          </p:nvPr>
        </p:nvSpPr>
        <p:spPr>
          <a:xfrm>
            <a:off x="974872" y="1148607"/>
            <a:ext cx="10940903" cy="504056"/>
          </a:xfrm>
        </p:spPr>
        <p:txBody>
          <a:bodyPr/>
          <a:lstStyle/>
          <a:p>
            <a:r>
              <a:rPr lang="en-US" dirty="0"/>
              <a:t>C# 8.0 – “damn it”/null-forgiving operator</a:t>
            </a:r>
          </a:p>
        </p:txBody>
      </p:sp>
      <p:sp>
        <p:nvSpPr>
          <p:cNvPr id="7" name="Symbol zastępczy tekstu 6">
            <a:extLst>
              <a:ext uri="{FF2B5EF4-FFF2-40B4-BE49-F238E27FC236}">
                <a16:creationId xmlns:a16="http://schemas.microsoft.com/office/drawing/2014/main" id="{5D8A2B1E-A86F-4A25-94A4-5CF446FD2951}"/>
              </a:ext>
            </a:extLst>
          </p:cNvPr>
          <p:cNvSpPr>
            <a:spLocks noGrp="1"/>
          </p:cNvSpPr>
          <p:nvPr>
            <p:ph type="body" sz="quarter" idx="12"/>
          </p:nvPr>
        </p:nvSpPr>
        <p:spPr/>
        <p:txBody>
          <a:bodyPr/>
          <a:lstStyle/>
          <a:p>
            <a:r>
              <a:rPr lang="en-US" dirty="0"/>
              <a:t>4</a:t>
            </a:r>
          </a:p>
        </p:txBody>
      </p:sp>
      <p:sp>
        <p:nvSpPr>
          <p:cNvPr id="39" name="Freeform 26">
            <a:extLst>
              <a:ext uri="{FF2B5EF4-FFF2-40B4-BE49-F238E27FC236}">
                <a16:creationId xmlns:a16="http://schemas.microsoft.com/office/drawing/2014/main" id="{00E12CF0-761D-4634-B721-2F6C5B53E099}"/>
              </a:ext>
            </a:extLst>
          </p:cNvPr>
          <p:cNvSpPr>
            <a:spLocks/>
          </p:cNvSpPr>
          <p:nvPr/>
        </p:nvSpPr>
        <p:spPr bwMode="auto">
          <a:xfrm>
            <a:off x="3791744" y="1699811"/>
            <a:ext cx="1330762" cy="1247369"/>
          </a:xfrm>
          <a:custGeom>
            <a:avLst/>
            <a:gdLst>
              <a:gd name="T0" fmla="*/ 60 w 422"/>
              <a:gd name="T1" fmla="*/ 309 h 395"/>
              <a:gd name="T2" fmla="*/ 101 w 422"/>
              <a:gd name="T3" fmla="*/ 59 h 395"/>
              <a:gd name="T4" fmla="*/ 362 w 422"/>
              <a:gd name="T5" fmla="*/ 96 h 395"/>
              <a:gd name="T6" fmla="*/ 314 w 422"/>
              <a:gd name="T7" fmla="*/ 336 h 395"/>
              <a:gd name="T8" fmla="*/ 60 w 422"/>
              <a:gd name="T9" fmla="*/ 309 h 395"/>
            </a:gdLst>
            <a:ahLst/>
            <a:cxnLst>
              <a:cxn ang="0">
                <a:pos x="T0" y="T1"/>
              </a:cxn>
              <a:cxn ang="0">
                <a:pos x="T2" y="T3"/>
              </a:cxn>
              <a:cxn ang="0">
                <a:pos x="T4" y="T5"/>
              </a:cxn>
              <a:cxn ang="0">
                <a:pos x="T6" y="T7"/>
              </a:cxn>
              <a:cxn ang="0">
                <a:pos x="T8" y="T9"/>
              </a:cxn>
            </a:cxnLst>
            <a:rect l="0" t="0" r="r" b="b"/>
            <a:pathLst>
              <a:path w="422" h="395">
                <a:moveTo>
                  <a:pt x="60" y="309"/>
                </a:moveTo>
                <a:cubicBezTo>
                  <a:pt x="0" y="230"/>
                  <a:pt x="18" y="118"/>
                  <a:pt x="101" y="59"/>
                </a:cubicBezTo>
                <a:cubicBezTo>
                  <a:pt x="184" y="0"/>
                  <a:pt x="301" y="17"/>
                  <a:pt x="362" y="96"/>
                </a:cubicBezTo>
                <a:cubicBezTo>
                  <a:pt x="422" y="175"/>
                  <a:pt x="397" y="278"/>
                  <a:pt x="314" y="336"/>
                </a:cubicBezTo>
                <a:cubicBezTo>
                  <a:pt x="231" y="395"/>
                  <a:pt x="121" y="388"/>
                  <a:pt x="60" y="309"/>
                </a:cubicBezTo>
              </a:path>
            </a:pathLst>
          </a:custGeom>
          <a:solidFill>
            <a:srgbClr val="FF304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42" name="Freeform 31">
            <a:extLst>
              <a:ext uri="{FF2B5EF4-FFF2-40B4-BE49-F238E27FC236}">
                <a16:creationId xmlns:a16="http://schemas.microsoft.com/office/drawing/2014/main" id="{28AE7B38-8B9B-4CBD-B7FD-1A1133339837}"/>
              </a:ext>
            </a:extLst>
          </p:cNvPr>
          <p:cNvSpPr>
            <a:spLocks/>
          </p:cNvSpPr>
          <p:nvPr/>
        </p:nvSpPr>
        <p:spPr bwMode="auto">
          <a:xfrm>
            <a:off x="353137" y="1675813"/>
            <a:ext cx="1359985" cy="1271367"/>
          </a:xfrm>
          <a:custGeom>
            <a:avLst/>
            <a:gdLst>
              <a:gd name="T0" fmla="*/ 207 w 1442"/>
              <a:gd name="T1" fmla="*/ 1053 h 1347"/>
              <a:gd name="T2" fmla="*/ 346 w 1442"/>
              <a:gd name="T3" fmla="*/ 201 h 1347"/>
              <a:gd name="T4" fmla="*/ 1235 w 1442"/>
              <a:gd name="T5" fmla="*/ 326 h 1347"/>
              <a:gd name="T6" fmla="*/ 1073 w 1442"/>
              <a:gd name="T7" fmla="*/ 1147 h 1347"/>
              <a:gd name="T8" fmla="*/ 207 w 1442"/>
              <a:gd name="T9" fmla="*/ 1053 h 1347"/>
            </a:gdLst>
            <a:ahLst/>
            <a:cxnLst>
              <a:cxn ang="0">
                <a:pos x="T0" y="T1"/>
              </a:cxn>
              <a:cxn ang="0">
                <a:pos x="T2" y="T3"/>
              </a:cxn>
              <a:cxn ang="0">
                <a:pos x="T4" y="T5"/>
              </a:cxn>
              <a:cxn ang="0">
                <a:pos x="T6" y="T7"/>
              </a:cxn>
              <a:cxn ang="0">
                <a:pos x="T8" y="T9"/>
              </a:cxn>
            </a:cxnLst>
            <a:rect l="0" t="0" r="r" b="b"/>
            <a:pathLst>
              <a:path w="1442" h="1347">
                <a:moveTo>
                  <a:pt x="207" y="1053"/>
                </a:moveTo>
                <a:cubicBezTo>
                  <a:pt x="0" y="783"/>
                  <a:pt x="62" y="401"/>
                  <a:pt x="346" y="201"/>
                </a:cubicBezTo>
                <a:cubicBezTo>
                  <a:pt x="629" y="0"/>
                  <a:pt x="1028" y="56"/>
                  <a:pt x="1235" y="326"/>
                </a:cubicBezTo>
                <a:cubicBezTo>
                  <a:pt x="1442" y="596"/>
                  <a:pt x="1357" y="946"/>
                  <a:pt x="1073" y="1147"/>
                </a:cubicBezTo>
                <a:cubicBezTo>
                  <a:pt x="790" y="1347"/>
                  <a:pt x="415" y="1324"/>
                  <a:pt x="207" y="1053"/>
                </a:cubicBezTo>
              </a:path>
            </a:pathLst>
          </a:custGeom>
          <a:solidFill>
            <a:srgbClr val="0070AD"/>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dirty="0"/>
          </a:p>
        </p:txBody>
      </p:sp>
      <p:sp>
        <p:nvSpPr>
          <p:cNvPr id="47" name="Text Placeholder 9">
            <a:extLst>
              <a:ext uri="{FF2B5EF4-FFF2-40B4-BE49-F238E27FC236}">
                <a16:creationId xmlns:a16="http://schemas.microsoft.com/office/drawing/2014/main" id="{194574D8-E8F4-4079-8488-EA56B0CF8330}"/>
              </a:ext>
            </a:extLst>
          </p:cNvPr>
          <p:cNvSpPr txBox="1">
            <a:spLocks/>
          </p:cNvSpPr>
          <p:nvPr/>
        </p:nvSpPr>
        <p:spPr>
          <a:xfrm>
            <a:off x="862790" y="3037919"/>
            <a:ext cx="2280665" cy="645047"/>
          </a:xfrm>
          <a:prstGeom prst="rect">
            <a:avLst/>
          </a:prstGeom>
          <a:noFill/>
        </p:spPr>
        <p:txBody>
          <a:bodyPr vert="horz" lIns="0" tIns="0" rIns="0" bIns="0" rtlCol="0" anchor="ctr">
            <a:noAutofit/>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pt-PT" b="1" dirty="0">
                <a:solidFill>
                  <a:srgbClr val="12ABDB"/>
                </a:solidFill>
                <a:latin typeface="Verdana" panose="020B0604030504040204" pitchFamily="34" charset="0"/>
                <a:ea typeface="Verdana" panose="020B0604030504040204" pitchFamily="34" charset="0"/>
                <a:cs typeface="Verdana" panose="020B0604030504040204" pitchFamily="34" charset="0"/>
              </a:rPr>
              <a:t>!= operator</a:t>
            </a:r>
            <a:endParaRPr kumimoji="0" lang="pt-PT" b="1" i="0" u="none" strike="noStrike" kern="1200" cap="none" spc="0" normalizeH="0" baseline="0" noProof="0" dirty="0">
              <a:ln>
                <a:noFill/>
              </a:ln>
              <a:solidFill>
                <a:srgbClr val="12ABDB"/>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49" name="Text Placeholder 9">
            <a:extLst>
              <a:ext uri="{FF2B5EF4-FFF2-40B4-BE49-F238E27FC236}">
                <a16:creationId xmlns:a16="http://schemas.microsoft.com/office/drawing/2014/main" id="{32FE6BC4-9E11-4B75-9F4E-DF9C16ADD7EE}"/>
              </a:ext>
            </a:extLst>
          </p:cNvPr>
          <p:cNvSpPr txBox="1">
            <a:spLocks/>
          </p:cNvSpPr>
          <p:nvPr/>
        </p:nvSpPr>
        <p:spPr>
          <a:xfrm>
            <a:off x="4412621" y="3037919"/>
            <a:ext cx="1986405" cy="645047"/>
          </a:xfrm>
          <a:prstGeom prst="rect">
            <a:avLst/>
          </a:prstGeom>
          <a:noFill/>
        </p:spPr>
        <p:txBody>
          <a:bodyPr vert="horz" lIns="0" tIns="0" rIns="0" bIns="0" rtlCol="0" anchor="ctr">
            <a:noAutofit/>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b="1" i="0" u="none" strike="noStrike" kern="1200" cap="none" spc="0" normalizeH="0" baseline="0" noProof="0" dirty="0">
                <a:ln>
                  <a:noFill/>
                </a:ln>
                <a:solidFill>
                  <a:schemeClr val="accent4"/>
                </a:solidFill>
                <a:effectLst/>
                <a:uLnTx/>
                <a:uFillTx/>
                <a:latin typeface="Verdana" panose="020B0604030504040204" pitchFamily="34" charset="0"/>
                <a:ea typeface="Verdana" panose="020B0604030504040204" pitchFamily="34" charset="0"/>
                <a:cs typeface="Verdana" panose="020B0604030504040204" pitchFamily="34" charset="0"/>
              </a:rPr>
              <a:t>IsNull method</a:t>
            </a:r>
          </a:p>
        </p:txBody>
      </p:sp>
      <p:sp>
        <p:nvSpPr>
          <p:cNvPr id="80" name="Freeform 20">
            <a:extLst>
              <a:ext uri="{FF2B5EF4-FFF2-40B4-BE49-F238E27FC236}">
                <a16:creationId xmlns:a16="http://schemas.microsoft.com/office/drawing/2014/main" id="{F8859818-3D89-46CF-B9B1-D41B2F9B1D52}"/>
              </a:ext>
            </a:extLst>
          </p:cNvPr>
          <p:cNvSpPr>
            <a:spLocks/>
          </p:cNvSpPr>
          <p:nvPr/>
        </p:nvSpPr>
        <p:spPr bwMode="auto">
          <a:xfrm>
            <a:off x="7464152" y="1702869"/>
            <a:ext cx="1330762" cy="1244311"/>
          </a:xfrm>
          <a:custGeom>
            <a:avLst/>
            <a:gdLst>
              <a:gd name="T0" fmla="*/ 101 w 701"/>
              <a:gd name="T1" fmla="*/ 513 h 655"/>
              <a:gd name="T2" fmla="*/ 168 w 701"/>
              <a:gd name="T3" fmla="*/ 98 h 655"/>
              <a:gd name="T4" fmla="*/ 600 w 701"/>
              <a:gd name="T5" fmla="*/ 159 h 655"/>
              <a:gd name="T6" fmla="*/ 522 w 701"/>
              <a:gd name="T7" fmla="*/ 558 h 655"/>
              <a:gd name="T8" fmla="*/ 101 w 701"/>
              <a:gd name="T9" fmla="*/ 513 h 655"/>
            </a:gdLst>
            <a:ahLst/>
            <a:cxnLst>
              <a:cxn ang="0">
                <a:pos x="T0" y="T1"/>
              </a:cxn>
              <a:cxn ang="0">
                <a:pos x="T2" y="T3"/>
              </a:cxn>
              <a:cxn ang="0">
                <a:pos x="T4" y="T5"/>
              </a:cxn>
              <a:cxn ang="0">
                <a:pos x="T6" y="T7"/>
              </a:cxn>
              <a:cxn ang="0">
                <a:pos x="T8" y="T9"/>
              </a:cxn>
            </a:cxnLst>
            <a:rect l="0" t="0" r="r" b="b"/>
            <a:pathLst>
              <a:path w="701" h="655">
                <a:moveTo>
                  <a:pt x="101" y="513"/>
                </a:moveTo>
                <a:cubicBezTo>
                  <a:pt x="0" y="381"/>
                  <a:pt x="30" y="196"/>
                  <a:pt x="168" y="98"/>
                </a:cubicBezTo>
                <a:cubicBezTo>
                  <a:pt x="306" y="0"/>
                  <a:pt x="500" y="28"/>
                  <a:pt x="600" y="159"/>
                </a:cubicBezTo>
                <a:cubicBezTo>
                  <a:pt x="701" y="290"/>
                  <a:pt x="660" y="460"/>
                  <a:pt x="522" y="558"/>
                </a:cubicBezTo>
                <a:cubicBezTo>
                  <a:pt x="384" y="655"/>
                  <a:pt x="202" y="644"/>
                  <a:pt x="101" y="513"/>
                </a:cubicBezTo>
              </a:path>
            </a:pathLst>
          </a:custGeom>
          <a:solidFill>
            <a:srgbClr val="86086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81" name="Text Placeholder 9">
            <a:extLst>
              <a:ext uri="{FF2B5EF4-FFF2-40B4-BE49-F238E27FC236}">
                <a16:creationId xmlns:a16="http://schemas.microsoft.com/office/drawing/2014/main" id="{3724D3CD-87EB-4D6B-B0B7-8D0C503210C6}"/>
              </a:ext>
            </a:extLst>
          </p:cNvPr>
          <p:cNvSpPr txBox="1">
            <a:spLocks/>
          </p:cNvSpPr>
          <p:nvPr/>
        </p:nvSpPr>
        <p:spPr>
          <a:xfrm>
            <a:off x="8096109" y="3037919"/>
            <a:ext cx="2320371" cy="645047"/>
          </a:xfrm>
          <a:prstGeom prst="rect">
            <a:avLst/>
          </a:prstGeom>
          <a:noFill/>
        </p:spPr>
        <p:txBody>
          <a:bodyPr vert="horz" lIns="0" tIns="0" rIns="0" bIns="0" rtlCol="0" anchor="ctr">
            <a:noAutofit/>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b="1" i="0" u="none" strike="noStrike" kern="1200" cap="none" spc="0" normalizeH="0" baseline="0" noProof="0" dirty="0">
                <a:ln>
                  <a:noFill/>
                </a:ln>
                <a:solidFill>
                  <a:srgbClr val="860864"/>
                </a:solidFill>
                <a:effectLst/>
                <a:uLnTx/>
                <a:uFillTx/>
                <a:latin typeface="Verdana" panose="020B0604030504040204" pitchFamily="34" charset="0"/>
                <a:ea typeface="Verdana" panose="020B0604030504040204" pitchFamily="34" charset="0"/>
                <a:cs typeface="Verdana" panose="020B0604030504040204" pitchFamily="34" charset="0"/>
              </a:rPr>
              <a:t>Damm-it!</a:t>
            </a:r>
          </a:p>
        </p:txBody>
      </p:sp>
      <p:pic>
        <p:nvPicPr>
          <p:cNvPr id="53" name="Obraz 52">
            <a:extLst>
              <a:ext uri="{FF2B5EF4-FFF2-40B4-BE49-F238E27FC236}">
                <a16:creationId xmlns:a16="http://schemas.microsoft.com/office/drawing/2014/main" id="{CD8EFC77-D22D-483D-93C2-3A5C88F8C82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852303" y="5239069"/>
            <a:ext cx="2192584" cy="278163"/>
          </a:xfrm>
          <a:prstGeom prst="rect">
            <a:avLst/>
          </a:prstGeom>
        </p:spPr>
      </p:pic>
      <p:pic>
        <p:nvPicPr>
          <p:cNvPr id="5" name="Obraz 4">
            <a:extLst>
              <a:ext uri="{FF2B5EF4-FFF2-40B4-BE49-F238E27FC236}">
                <a16:creationId xmlns:a16="http://schemas.microsoft.com/office/drawing/2014/main" id="{8E67588D-D64A-4F84-A3CC-3333CB555B4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458492" y="3859720"/>
            <a:ext cx="2246020" cy="1229573"/>
          </a:xfrm>
          <a:prstGeom prst="rect">
            <a:avLst/>
          </a:prstGeom>
        </p:spPr>
      </p:pic>
      <p:pic>
        <p:nvPicPr>
          <p:cNvPr id="15" name="Obraz 14">
            <a:extLst>
              <a:ext uri="{FF2B5EF4-FFF2-40B4-BE49-F238E27FC236}">
                <a16:creationId xmlns:a16="http://schemas.microsoft.com/office/drawing/2014/main" id="{C93529A2-9B72-474B-81BA-DA621BC32942}"/>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792989" y="3859721"/>
            <a:ext cx="2246020" cy="1229573"/>
          </a:xfrm>
          <a:prstGeom prst="rect">
            <a:avLst/>
          </a:prstGeom>
        </p:spPr>
      </p:pic>
      <p:pic>
        <p:nvPicPr>
          <p:cNvPr id="18" name="Obraz 17">
            <a:extLst>
              <a:ext uri="{FF2B5EF4-FFF2-40B4-BE49-F238E27FC236}">
                <a16:creationId xmlns:a16="http://schemas.microsoft.com/office/drawing/2014/main" id="{62EE5BB0-4279-4BBA-B8E6-1574A174D6FE}"/>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169673" y="3859721"/>
            <a:ext cx="2246020" cy="1229573"/>
          </a:xfrm>
          <a:prstGeom prst="rect">
            <a:avLst/>
          </a:prstGeom>
        </p:spPr>
      </p:pic>
    </p:spTree>
    <p:extLst>
      <p:ext uri="{BB962C8B-B14F-4D97-AF65-F5344CB8AC3E}">
        <p14:creationId xmlns:p14="http://schemas.microsoft.com/office/powerpoint/2010/main" val="2887199494"/>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pl-PL" dirty="0"/>
              <a:t>Agenda</a:t>
            </a:r>
            <a:endParaRPr lang="en-GB" dirty="0"/>
          </a:p>
        </p:txBody>
      </p:sp>
      <p:sp>
        <p:nvSpPr>
          <p:cNvPr id="5" name="Text Placeholder 4"/>
          <p:cNvSpPr>
            <a:spLocks noGrp="1"/>
          </p:cNvSpPr>
          <p:nvPr>
            <p:ph type="body" sz="quarter" idx="10"/>
          </p:nvPr>
        </p:nvSpPr>
        <p:spPr/>
        <p:txBody>
          <a:bodyPr/>
          <a:lstStyle/>
          <a:p>
            <a:pPr lvl="1"/>
            <a:r>
              <a:rPr lang="en-US" dirty="0">
                <a:solidFill>
                  <a:schemeClr val="bg1">
                    <a:lumMod val="95000"/>
                  </a:schemeClr>
                </a:solidFill>
              </a:rPr>
              <a:t>What’s new in C# 8.0</a:t>
            </a:r>
          </a:p>
          <a:p>
            <a:pPr lvl="2"/>
            <a:r>
              <a:rPr lang="en-US" dirty="0">
                <a:solidFill>
                  <a:schemeClr val="bg1">
                    <a:lumMod val="95000"/>
                  </a:schemeClr>
                </a:solidFill>
              </a:rPr>
              <a:t>Nullable reference types,</a:t>
            </a:r>
          </a:p>
          <a:p>
            <a:pPr lvl="2"/>
            <a:r>
              <a:rPr lang="en-US" dirty="0">
                <a:solidFill>
                  <a:schemeClr val="bg1">
                    <a:lumMod val="95000"/>
                  </a:schemeClr>
                </a:solidFill>
              </a:rPr>
              <a:t>async streams,</a:t>
            </a:r>
          </a:p>
          <a:p>
            <a:pPr lvl="2"/>
            <a:r>
              <a:rPr lang="en-US" dirty="0">
                <a:solidFill>
                  <a:schemeClr val="bg1">
                    <a:lumMod val="95000"/>
                  </a:schemeClr>
                </a:solidFill>
              </a:rPr>
              <a:t>ranges and indices,</a:t>
            </a:r>
          </a:p>
          <a:p>
            <a:pPr lvl="2"/>
            <a:r>
              <a:rPr lang="en-US" dirty="0">
                <a:solidFill>
                  <a:schemeClr val="bg1">
                    <a:lumMod val="95000"/>
                  </a:schemeClr>
                </a:solidFill>
              </a:rPr>
              <a:t>default interface members,</a:t>
            </a:r>
          </a:p>
          <a:p>
            <a:pPr lvl="2"/>
            <a:r>
              <a:rPr lang="en-US" dirty="0">
                <a:solidFill>
                  <a:schemeClr val="bg1">
                    <a:lumMod val="95000"/>
                  </a:schemeClr>
                </a:solidFill>
              </a:rPr>
              <a:t>recursive patterns,</a:t>
            </a:r>
          </a:p>
          <a:p>
            <a:pPr lvl="2"/>
            <a:r>
              <a:rPr lang="en-US" dirty="0">
                <a:solidFill>
                  <a:schemeClr val="bg1">
                    <a:lumMod val="95000"/>
                  </a:schemeClr>
                </a:solidFill>
              </a:rPr>
              <a:t>switch expressions,</a:t>
            </a:r>
          </a:p>
          <a:p>
            <a:pPr lvl="2"/>
            <a:r>
              <a:rPr lang="en-US" dirty="0">
                <a:solidFill>
                  <a:schemeClr val="bg1">
                    <a:lumMod val="95000"/>
                  </a:schemeClr>
                </a:solidFill>
              </a:rPr>
              <a:t>target-typed new-expressions,</a:t>
            </a:r>
          </a:p>
          <a:p>
            <a:pPr lvl="2"/>
            <a:r>
              <a:rPr lang="en-US" dirty="0">
                <a:solidFill>
                  <a:schemeClr val="bg1">
                    <a:lumMod val="95000"/>
                  </a:schemeClr>
                </a:solidFill>
              </a:rPr>
              <a:t>extension everything,</a:t>
            </a:r>
          </a:p>
          <a:p>
            <a:pPr lvl="2"/>
            <a:r>
              <a:rPr lang="en-US" dirty="0">
                <a:solidFill>
                  <a:schemeClr val="bg1">
                    <a:lumMod val="95000"/>
                  </a:schemeClr>
                </a:solidFill>
              </a:rPr>
              <a:t>using declarations.</a:t>
            </a:r>
            <a:endParaRPr lang="en-GB" dirty="0">
              <a:solidFill>
                <a:schemeClr val="bg1">
                  <a:lumMod val="95000"/>
                </a:schemeClr>
              </a:solidFill>
            </a:endParaRPr>
          </a:p>
          <a:p>
            <a:pPr lvl="2"/>
            <a:endParaRPr lang="en-GB" dirty="0">
              <a:solidFill>
                <a:schemeClr val="bg1">
                  <a:lumMod val="95000"/>
                </a:schemeClr>
              </a:solidFill>
            </a:endParaRPr>
          </a:p>
        </p:txBody>
      </p:sp>
      <p:sp>
        <p:nvSpPr>
          <p:cNvPr id="6" name="Text Placeholder 5"/>
          <p:cNvSpPr>
            <a:spLocks noGrp="1"/>
          </p:cNvSpPr>
          <p:nvPr>
            <p:ph type="body" sz="quarter" idx="11"/>
          </p:nvPr>
        </p:nvSpPr>
        <p:spPr/>
        <p:txBody>
          <a:bodyPr/>
          <a:lstStyle/>
          <a:p>
            <a:r>
              <a:rPr lang="en-US" dirty="0"/>
              <a:t>We are going to talk about…</a:t>
            </a:r>
          </a:p>
        </p:txBody>
      </p:sp>
      <p:sp>
        <p:nvSpPr>
          <p:cNvPr id="7" name="Text Placeholder 4">
            <a:extLst>
              <a:ext uri="{FF2B5EF4-FFF2-40B4-BE49-F238E27FC236}">
                <a16:creationId xmlns:a16="http://schemas.microsoft.com/office/drawing/2014/main" id="{63765791-BF79-472B-ACEA-FA2DB95D860D}"/>
              </a:ext>
            </a:extLst>
          </p:cNvPr>
          <p:cNvSpPr txBox="1">
            <a:spLocks/>
          </p:cNvSpPr>
          <p:nvPr/>
        </p:nvSpPr>
        <p:spPr>
          <a:xfrm>
            <a:off x="227348" y="1815351"/>
            <a:ext cx="11700000" cy="4466201"/>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r>
              <a:rPr lang="en-US" dirty="0"/>
              <a:t>What’s new in C# 8.0</a:t>
            </a:r>
          </a:p>
          <a:p>
            <a:pPr lvl="2"/>
            <a:r>
              <a:rPr lang="en-US" dirty="0"/>
              <a:t>Nullable reference types,</a:t>
            </a:r>
          </a:p>
          <a:p>
            <a:pPr lvl="2"/>
            <a:r>
              <a:rPr lang="en-US" dirty="0"/>
              <a:t>async streams,</a:t>
            </a:r>
          </a:p>
        </p:txBody>
      </p:sp>
    </p:spTree>
    <p:extLst>
      <p:ext uri="{BB962C8B-B14F-4D97-AF65-F5344CB8AC3E}">
        <p14:creationId xmlns:p14="http://schemas.microsoft.com/office/powerpoint/2010/main" val="92960814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
                                            <p:txEl>
                                              <p:pRg st="2" end="2"/>
                                            </p:txEl>
                                          </p:spTgt>
                                        </p:tgtEl>
                                        <p:attrNameLst>
                                          <p:attrName>style.visibility</p:attrName>
                                        </p:attrNameLst>
                                      </p:cBhvr>
                                      <p:to>
                                        <p:strVal val="visible"/>
                                      </p:to>
                                    </p:set>
                                    <p:animEffect transition="in" filter="fade">
                                      <p:cBhvr>
                                        <p:cTn id="7" dur="500"/>
                                        <p:tgtEl>
                                          <p:spTgt spid="7">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1">
            <a:extLst>
              <a:ext uri="{FF2B5EF4-FFF2-40B4-BE49-F238E27FC236}">
                <a16:creationId xmlns:a16="http://schemas.microsoft.com/office/drawing/2014/main" id="{D0C039F8-AB48-4F1A-9F72-DFCF4B682E68}"/>
              </a:ext>
            </a:extLst>
          </p:cNvPr>
          <p:cNvSpPr>
            <a:spLocks noGrp="1"/>
          </p:cNvSpPr>
          <p:nvPr>
            <p:ph type="pic" sz="quarter" idx="10"/>
          </p:nvPr>
        </p:nvSpPr>
        <p:spPr/>
      </p:sp>
      <p:sp>
        <p:nvSpPr>
          <p:cNvPr id="6" name="Symbol zastępczy tekstu 5">
            <a:extLst>
              <a:ext uri="{FF2B5EF4-FFF2-40B4-BE49-F238E27FC236}">
                <a16:creationId xmlns:a16="http://schemas.microsoft.com/office/drawing/2014/main" id="{EC19D1F0-CA19-48E4-B6B7-FE7D3388EB92}"/>
              </a:ext>
            </a:extLst>
          </p:cNvPr>
          <p:cNvSpPr>
            <a:spLocks noGrp="1"/>
          </p:cNvSpPr>
          <p:nvPr>
            <p:ph type="body" sz="quarter" idx="11"/>
          </p:nvPr>
        </p:nvSpPr>
        <p:spPr/>
        <p:txBody>
          <a:bodyPr/>
          <a:lstStyle/>
          <a:p>
            <a:r>
              <a:rPr lang="en-US" dirty="0"/>
              <a:t>What’s new in C# 8.0</a:t>
            </a:r>
          </a:p>
          <a:p>
            <a:r>
              <a:rPr lang="en-US" sz="2400" dirty="0"/>
              <a:t>Async streams</a:t>
            </a:r>
          </a:p>
        </p:txBody>
      </p:sp>
      <p:sp>
        <p:nvSpPr>
          <p:cNvPr id="7" name="Freeform 37">
            <a:extLst>
              <a:ext uri="{FF2B5EF4-FFF2-40B4-BE49-F238E27FC236}">
                <a16:creationId xmlns:a16="http://schemas.microsoft.com/office/drawing/2014/main" id="{E0C420C1-8251-4869-A338-6B55AABF9E90}"/>
              </a:ext>
            </a:extLst>
          </p:cNvPr>
          <p:cNvSpPr>
            <a:spLocks/>
          </p:cNvSpPr>
          <p:nvPr/>
        </p:nvSpPr>
        <p:spPr bwMode="auto">
          <a:xfrm>
            <a:off x="8830800" y="3578400"/>
            <a:ext cx="844550" cy="793750"/>
          </a:xfrm>
          <a:custGeom>
            <a:avLst/>
            <a:gdLst>
              <a:gd name="T0" fmla="*/ 51 w 440"/>
              <a:gd name="T1" fmla="*/ 298 h 410"/>
              <a:gd name="T2" fmla="*/ 128 w 440"/>
              <a:gd name="T3" fmla="*/ 48 h 410"/>
              <a:gd name="T4" fmla="*/ 389 w 440"/>
              <a:gd name="T5" fmla="*/ 122 h 410"/>
              <a:gd name="T6" fmla="*/ 307 w 440"/>
              <a:gd name="T7" fmla="*/ 362 h 410"/>
              <a:gd name="T8" fmla="*/ 51 w 440"/>
              <a:gd name="T9" fmla="*/ 298 h 410"/>
            </a:gdLst>
            <a:ahLst/>
            <a:cxnLst>
              <a:cxn ang="0">
                <a:pos x="T0" y="T1"/>
              </a:cxn>
              <a:cxn ang="0">
                <a:pos x="T2" y="T3"/>
              </a:cxn>
              <a:cxn ang="0">
                <a:pos x="T4" y="T5"/>
              </a:cxn>
              <a:cxn ang="0">
                <a:pos x="T6" y="T7"/>
              </a:cxn>
              <a:cxn ang="0">
                <a:pos x="T8" y="T9"/>
              </a:cxn>
            </a:cxnLst>
            <a:rect l="0" t="0" r="r" b="b"/>
            <a:pathLst>
              <a:path w="440" h="410">
                <a:moveTo>
                  <a:pt x="51" y="298"/>
                </a:moveTo>
                <a:cubicBezTo>
                  <a:pt x="0" y="209"/>
                  <a:pt x="34" y="97"/>
                  <a:pt x="128" y="48"/>
                </a:cubicBezTo>
                <a:cubicBezTo>
                  <a:pt x="221" y="0"/>
                  <a:pt x="338" y="33"/>
                  <a:pt x="389" y="122"/>
                </a:cubicBezTo>
                <a:cubicBezTo>
                  <a:pt x="440" y="212"/>
                  <a:pt x="400" y="313"/>
                  <a:pt x="307" y="362"/>
                </a:cubicBezTo>
                <a:cubicBezTo>
                  <a:pt x="214" y="410"/>
                  <a:pt x="102" y="388"/>
                  <a:pt x="51" y="298"/>
                </a:cubicBezTo>
              </a:path>
            </a:pathLst>
          </a:custGeom>
          <a:solidFill>
            <a:srgbClr val="860864"/>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8" name="Oval 20">
            <a:extLst>
              <a:ext uri="{FF2B5EF4-FFF2-40B4-BE49-F238E27FC236}">
                <a16:creationId xmlns:a16="http://schemas.microsoft.com/office/drawing/2014/main" id="{A2AE892E-BB8D-49B5-8A54-5E8B3B6775AD}"/>
              </a:ext>
            </a:extLst>
          </p:cNvPr>
          <p:cNvSpPr/>
          <p:nvPr/>
        </p:nvSpPr>
        <p:spPr>
          <a:xfrm>
            <a:off x="6899617" y="3501008"/>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9" name="Oval 20">
            <a:extLst>
              <a:ext uri="{FF2B5EF4-FFF2-40B4-BE49-F238E27FC236}">
                <a16:creationId xmlns:a16="http://schemas.microsoft.com/office/drawing/2014/main" id="{5E2FF979-2281-4854-A228-88F5BB5F6A69}"/>
              </a:ext>
            </a:extLst>
          </p:cNvPr>
          <p:cNvSpPr/>
          <p:nvPr/>
        </p:nvSpPr>
        <p:spPr>
          <a:xfrm>
            <a:off x="8904312" y="4263464"/>
            <a:ext cx="1356623" cy="128178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10" name="Group 588">
            <a:extLst>
              <a:ext uri="{FF2B5EF4-FFF2-40B4-BE49-F238E27FC236}">
                <a16:creationId xmlns:a16="http://schemas.microsoft.com/office/drawing/2014/main" id="{06A6E23D-C201-451C-B915-866177A32E72}"/>
              </a:ext>
            </a:extLst>
          </p:cNvPr>
          <p:cNvGrpSpPr/>
          <p:nvPr/>
        </p:nvGrpSpPr>
        <p:grpSpPr>
          <a:xfrm>
            <a:off x="7133884" y="3787843"/>
            <a:ext cx="1365119" cy="1278951"/>
            <a:chOff x="2894013" y="4765678"/>
            <a:chExt cx="477837" cy="447676"/>
          </a:xfrm>
        </p:grpSpPr>
        <p:sp>
          <p:nvSpPr>
            <p:cNvPr id="12" name="Oval 177">
              <a:extLst>
                <a:ext uri="{FF2B5EF4-FFF2-40B4-BE49-F238E27FC236}">
                  <a16:creationId xmlns:a16="http://schemas.microsoft.com/office/drawing/2014/main" id="{ACB9DAAA-0DDA-4B1D-A440-B0165BBA9DCD}"/>
                </a:ext>
              </a:extLst>
            </p:cNvPr>
            <p:cNvSpPr>
              <a:spLocks noChangeArrowheads="1"/>
            </p:cNvSpPr>
            <p:nvPr/>
          </p:nvSpPr>
          <p:spPr bwMode="auto">
            <a:xfrm>
              <a:off x="2894013" y="4960940"/>
              <a:ext cx="146050" cy="131763"/>
            </a:xfrm>
            <a:prstGeom prst="ellipse">
              <a:avLst/>
            </a:prstGeom>
            <a:solidFill>
              <a:schemeClr val="accent5"/>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3" name="Freeform 178">
              <a:extLst>
                <a:ext uri="{FF2B5EF4-FFF2-40B4-BE49-F238E27FC236}">
                  <a16:creationId xmlns:a16="http://schemas.microsoft.com/office/drawing/2014/main" id="{642E378A-A7B5-41C8-B9D3-7F29E2E624D0}"/>
                </a:ext>
              </a:extLst>
            </p:cNvPr>
            <p:cNvSpPr>
              <a:spLocks/>
            </p:cNvSpPr>
            <p:nvPr/>
          </p:nvSpPr>
          <p:spPr bwMode="auto">
            <a:xfrm>
              <a:off x="3178175" y="4765678"/>
              <a:ext cx="163512" cy="155575"/>
            </a:xfrm>
            <a:custGeom>
              <a:avLst/>
              <a:gdLst>
                <a:gd name="T0" fmla="*/ 75 w 85"/>
                <a:gd name="T1" fmla="*/ 21 h 80"/>
                <a:gd name="T2" fmla="*/ 60 w 85"/>
                <a:gd name="T3" fmla="*/ 70 h 80"/>
                <a:gd name="T4" fmla="*/ 10 w 85"/>
                <a:gd name="T5" fmla="*/ 59 h 80"/>
                <a:gd name="T6" fmla="*/ 25 w 85"/>
                <a:gd name="T7" fmla="*/ 11 h 80"/>
                <a:gd name="T8" fmla="*/ 75 w 85"/>
                <a:gd name="T9" fmla="*/ 21 h 80"/>
              </a:gdLst>
              <a:ahLst/>
              <a:cxnLst>
                <a:cxn ang="0">
                  <a:pos x="T0" y="T1"/>
                </a:cxn>
                <a:cxn ang="0">
                  <a:pos x="T2" y="T3"/>
                </a:cxn>
                <a:cxn ang="0">
                  <a:pos x="T4" y="T5"/>
                </a:cxn>
                <a:cxn ang="0">
                  <a:pos x="T6" y="T7"/>
                </a:cxn>
                <a:cxn ang="0">
                  <a:pos x="T8" y="T9"/>
                </a:cxn>
              </a:cxnLst>
              <a:rect l="0" t="0" r="r" b="b"/>
              <a:pathLst>
                <a:path w="85" h="80">
                  <a:moveTo>
                    <a:pt x="75" y="21"/>
                  </a:moveTo>
                  <a:cubicBezTo>
                    <a:pt x="85" y="38"/>
                    <a:pt x="78" y="59"/>
                    <a:pt x="60" y="70"/>
                  </a:cubicBezTo>
                  <a:cubicBezTo>
                    <a:pt x="42" y="80"/>
                    <a:pt x="19" y="76"/>
                    <a:pt x="10" y="59"/>
                  </a:cubicBezTo>
                  <a:cubicBezTo>
                    <a:pt x="0" y="43"/>
                    <a:pt x="7" y="21"/>
                    <a:pt x="25" y="11"/>
                  </a:cubicBezTo>
                  <a:cubicBezTo>
                    <a:pt x="44" y="0"/>
                    <a:pt x="66" y="5"/>
                    <a:pt x="75" y="21"/>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4" name="Freeform 179">
              <a:extLst>
                <a:ext uri="{FF2B5EF4-FFF2-40B4-BE49-F238E27FC236}">
                  <a16:creationId xmlns:a16="http://schemas.microsoft.com/office/drawing/2014/main" id="{66118D1C-F9ED-4DD7-B38C-5CAA483464B7}"/>
                </a:ext>
              </a:extLst>
            </p:cNvPr>
            <p:cNvSpPr>
              <a:spLocks/>
            </p:cNvSpPr>
            <p:nvPr/>
          </p:nvSpPr>
          <p:spPr bwMode="auto">
            <a:xfrm>
              <a:off x="3008313" y="4984753"/>
              <a:ext cx="127000" cy="42863"/>
            </a:xfrm>
            <a:custGeom>
              <a:avLst/>
              <a:gdLst>
                <a:gd name="T0" fmla="*/ 62 w 66"/>
                <a:gd name="T1" fmla="*/ 11 h 22"/>
                <a:gd name="T2" fmla="*/ 6 w 66"/>
                <a:gd name="T3" fmla="*/ 21 h 22"/>
                <a:gd name="T4" fmla="*/ 1 w 66"/>
                <a:gd name="T5" fmla="*/ 18 h 22"/>
                <a:gd name="T6" fmla="*/ 1 w 66"/>
                <a:gd name="T7" fmla="*/ 17 h 22"/>
                <a:gd name="T8" fmla="*/ 4 w 66"/>
                <a:gd name="T9" fmla="*/ 11 h 22"/>
                <a:gd name="T10" fmla="*/ 60 w 66"/>
                <a:gd name="T11" fmla="*/ 1 h 22"/>
                <a:gd name="T12" fmla="*/ 65 w 66"/>
                <a:gd name="T13" fmla="*/ 4 h 22"/>
                <a:gd name="T14" fmla="*/ 65 w 66"/>
                <a:gd name="T15" fmla="*/ 5 h 22"/>
                <a:gd name="T16" fmla="*/ 62 w 66"/>
                <a:gd name="T17" fmla="*/ 11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6" h="22">
                  <a:moveTo>
                    <a:pt x="62" y="11"/>
                  </a:moveTo>
                  <a:cubicBezTo>
                    <a:pt x="6" y="21"/>
                    <a:pt x="6" y="21"/>
                    <a:pt x="6" y="21"/>
                  </a:cubicBezTo>
                  <a:cubicBezTo>
                    <a:pt x="4" y="22"/>
                    <a:pt x="2" y="20"/>
                    <a:pt x="1" y="18"/>
                  </a:cubicBezTo>
                  <a:cubicBezTo>
                    <a:pt x="1" y="17"/>
                    <a:pt x="1" y="17"/>
                    <a:pt x="1" y="17"/>
                  </a:cubicBezTo>
                  <a:cubicBezTo>
                    <a:pt x="0" y="14"/>
                    <a:pt x="2" y="12"/>
                    <a:pt x="4" y="11"/>
                  </a:cubicBezTo>
                  <a:cubicBezTo>
                    <a:pt x="60" y="1"/>
                    <a:pt x="60" y="1"/>
                    <a:pt x="60" y="1"/>
                  </a:cubicBezTo>
                  <a:cubicBezTo>
                    <a:pt x="62" y="0"/>
                    <a:pt x="65" y="2"/>
                    <a:pt x="65" y="4"/>
                  </a:cubicBezTo>
                  <a:cubicBezTo>
                    <a:pt x="65" y="5"/>
                    <a:pt x="65" y="5"/>
                    <a:pt x="65" y="5"/>
                  </a:cubicBezTo>
                  <a:cubicBezTo>
                    <a:pt x="66" y="8"/>
                    <a:pt x="64" y="10"/>
                    <a:pt x="62" y="11"/>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 name="Freeform 180">
              <a:extLst>
                <a:ext uri="{FF2B5EF4-FFF2-40B4-BE49-F238E27FC236}">
                  <a16:creationId xmlns:a16="http://schemas.microsoft.com/office/drawing/2014/main" id="{1996DF64-DD9A-4510-94F8-042298803F97}"/>
                </a:ext>
              </a:extLst>
            </p:cNvPr>
            <p:cNvSpPr>
              <a:spLocks/>
            </p:cNvSpPr>
            <p:nvPr/>
          </p:nvSpPr>
          <p:spPr bwMode="auto">
            <a:xfrm>
              <a:off x="3144838" y="4881565"/>
              <a:ext cx="88900" cy="106363"/>
            </a:xfrm>
            <a:custGeom>
              <a:avLst/>
              <a:gdLst>
                <a:gd name="T0" fmla="*/ 44 w 46"/>
                <a:gd name="T1" fmla="*/ 9 h 55"/>
                <a:gd name="T2" fmla="*/ 9 w 46"/>
                <a:gd name="T3" fmla="*/ 53 h 55"/>
                <a:gd name="T4" fmla="*/ 3 w 46"/>
                <a:gd name="T5" fmla="*/ 54 h 55"/>
                <a:gd name="T6" fmla="*/ 2 w 46"/>
                <a:gd name="T7" fmla="*/ 53 h 55"/>
                <a:gd name="T8" fmla="*/ 1 w 46"/>
                <a:gd name="T9" fmla="*/ 47 h 55"/>
                <a:gd name="T10" fmla="*/ 36 w 46"/>
                <a:gd name="T11" fmla="*/ 2 h 55"/>
                <a:gd name="T12" fmla="*/ 42 w 46"/>
                <a:gd name="T13" fmla="*/ 2 h 55"/>
                <a:gd name="T14" fmla="*/ 43 w 46"/>
                <a:gd name="T15" fmla="*/ 2 h 55"/>
                <a:gd name="T16" fmla="*/ 44 w 46"/>
                <a:gd name="T17" fmla="*/ 9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6" h="55">
                  <a:moveTo>
                    <a:pt x="44" y="9"/>
                  </a:moveTo>
                  <a:cubicBezTo>
                    <a:pt x="9" y="53"/>
                    <a:pt x="9" y="53"/>
                    <a:pt x="9" y="53"/>
                  </a:cubicBezTo>
                  <a:cubicBezTo>
                    <a:pt x="8" y="55"/>
                    <a:pt x="5" y="55"/>
                    <a:pt x="3" y="54"/>
                  </a:cubicBezTo>
                  <a:cubicBezTo>
                    <a:pt x="2" y="53"/>
                    <a:pt x="2" y="53"/>
                    <a:pt x="2" y="53"/>
                  </a:cubicBezTo>
                  <a:cubicBezTo>
                    <a:pt x="0" y="52"/>
                    <a:pt x="0" y="49"/>
                    <a:pt x="1" y="47"/>
                  </a:cubicBezTo>
                  <a:cubicBezTo>
                    <a:pt x="36" y="2"/>
                    <a:pt x="36" y="2"/>
                    <a:pt x="36" y="2"/>
                  </a:cubicBezTo>
                  <a:cubicBezTo>
                    <a:pt x="37" y="0"/>
                    <a:pt x="40" y="0"/>
                    <a:pt x="42" y="2"/>
                  </a:cubicBezTo>
                  <a:cubicBezTo>
                    <a:pt x="43" y="2"/>
                    <a:pt x="43" y="2"/>
                    <a:pt x="43" y="2"/>
                  </a:cubicBezTo>
                  <a:cubicBezTo>
                    <a:pt x="45" y="4"/>
                    <a:pt x="46" y="7"/>
                    <a:pt x="44" y="9"/>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 name="Freeform 181">
              <a:extLst>
                <a:ext uri="{FF2B5EF4-FFF2-40B4-BE49-F238E27FC236}">
                  <a16:creationId xmlns:a16="http://schemas.microsoft.com/office/drawing/2014/main" id="{09F8764E-B778-438B-B496-E7D5F814BCC4}"/>
                </a:ext>
              </a:extLst>
            </p:cNvPr>
            <p:cNvSpPr>
              <a:spLocks/>
            </p:cNvSpPr>
            <p:nvPr/>
          </p:nvSpPr>
          <p:spPr bwMode="auto">
            <a:xfrm>
              <a:off x="3149600" y="4995866"/>
              <a:ext cx="96837" cy="96838"/>
            </a:xfrm>
            <a:custGeom>
              <a:avLst/>
              <a:gdLst>
                <a:gd name="T0" fmla="*/ 9 w 51"/>
                <a:gd name="T1" fmla="*/ 1 h 50"/>
                <a:gd name="T2" fmla="*/ 49 w 51"/>
                <a:gd name="T3" fmla="*/ 41 h 50"/>
                <a:gd name="T4" fmla="*/ 49 w 51"/>
                <a:gd name="T5" fmla="*/ 48 h 50"/>
                <a:gd name="T6" fmla="*/ 48 w 51"/>
                <a:gd name="T7" fmla="*/ 49 h 50"/>
                <a:gd name="T8" fmla="*/ 42 w 51"/>
                <a:gd name="T9" fmla="*/ 49 h 50"/>
                <a:gd name="T10" fmla="*/ 2 w 51"/>
                <a:gd name="T11" fmla="*/ 9 h 50"/>
                <a:gd name="T12" fmla="*/ 2 w 51"/>
                <a:gd name="T13" fmla="*/ 2 h 50"/>
                <a:gd name="T14" fmla="*/ 3 w 51"/>
                <a:gd name="T15" fmla="*/ 1 h 50"/>
                <a:gd name="T16" fmla="*/ 9 w 51"/>
                <a:gd name="T17" fmla="*/ 1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1" h="50">
                  <a:moveTo>
                    <a:pt x="9" y="1"/>
                  </a:moveTo>
                  <a:cubicBezTo>
                    <a:pt x="49" y="41"/>
                    <a:pt x="49" y="41"/>
                    <a:pt x="49" y="41"/>
                  </a:cubicBezTo>
                  <a:cubicBezTo>
                    <a:pt x="51" y="43"/>
                    <a:pt x="51" y="46"/>
                    <a:pt x="49" y="48"/>
                  </a:cubicBezTo>
                  <a:cubicBezTo>
                    <a:pt x="48" y="49"/>
                    <a:pt x="48" y="49"/>
                    <a:pt x="48" y="49"/>
                  </a:cubicBezTo>
                  <a:cubicBezTo>
                    <a:pt x="47" y="50"/>
                    <a:pt x="44" y="50"/>
                    <a:pt x="42" y="49"/>
                  </a:cubicBezTo>
                  <a:cubicBezTo>
                    <a:pt x="2" y="9"/>
                    <a:pt x="2" y="9"/>
                    <a:pt x="2" y="9"/>
                  </a:cubicBezTo>
                  <a:cubicBezTo>
                    <a:pt x="0" y="7"/>
                    <a:pt x="0" y="4"/>
                    <a:pt x="2" y="2"/>
                  </a:cubicBezTo>
                  <a:cubicBezTo>
                    <a:pt x="3" y="1"/>
                    <a:pt x="3" y="1"/>
                    <a:pt x="3" y="1"/>
                  </a:cubicBezTo>
                  <a:cubicBezTo>
                    <a:pt x="5" y="0"/>
                    <a:pt x="7" y="0"/>
                    <a:pt x="9" y="1"/>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 name="Freeform 182">
              <a:extLst>
                <a:ext uri="{FF2B5EF4-FFF2-40B4-BE49-F238E27FC236}">
                  <a16:creationId xmlns:a16="http://schemas.microsoft.com/office/drawing/2014/main" id="{34FFBB0C-2345-4E18-BB77-B755369D80A7}"/>
                </a:ext>
              </a:extLst>
            </p:cNvPr>
            <p:cNvSpPr>
              <a:spLocks/>
            </p:cNvSpPr>
            <p:nvPr/>
          </p:nvSpPr>
          <p:spPr bwMode="auto">
            <a:xfrm>
              <a:off x="3087688" y="4927603"/>
              <a:ext cx="117475" cy="119063"/>
            </a:xfrm>
            <a:custGeom>
              <a:avLst/>
              <a:gdLst>
                <a:gd name="T0" fmla="*/ 59 w 61"/>
                <a:gd name="T1" fmla="*/ 27 h 61"/>
                <a:gd name="T2" fmla="*/ 35 w 61"/>
                <a:gd name="T3" fmla="*/ 59 h 61"/>
                <a:gd name="T4" fmla="*/ 2 w 61"/>
                <a:gd name="T5" fmla="*/ 35 h 61"/>
                <a:gd name="T6" fmla="*/ 27 w 61"/>
                <a:gd name="T7" fmla="*/ 2 h 61"/>
                <a:gd name="T8" fmla="*/ 59 w 61"/>
                <a:gd name="T9" fmla="*/ 27 h 61"/>
              </a:gdLst>
              <a:ahLst/>
              <a:cxnLst>
                <a:cxn ang="0">
                  <a:pos x="T0" y="T1"/>
                </a:cxn>
                <a:cxn ang="0">
                  <a:pos x="T2" y="T3"/>
                </a:cxn>
                <a:cxn ang="0">
                  <a:pos x="T4" y="T5"/>
                </a:cxn>
                <a:cxn ang="0">
                  <a:pos x="T6" y="T7"/>
                </a:cxn>
                <a:cxn ang="0">
                  <a:pos x="T8" y="T9"/>
                </a:cxn>
              </a:cxnLst>
              <a:rect l="0" t="0" r="r" b="b"/>
              <a:pathLst>
                <a:path w="61" h="61">
                  <a:moveTo>
                    <a:pt x="59" y="27"/>
                  </a:moveTo>
                  <a:cubicBezTo>
                    <a:pt x="61" y="42"/>
                    <a:pt x="50" y="57"/>
                    <a:pt x="35" y="59"/>
                  </a:cubicBezTo>
                  <a:cubicBezTo>
                    <a:pt x="19" y="61"/>
                    <a:pt x="4" y="50"/>
                    <a:pt x="2" y="35"/>
                  </a:cubicBezTo>
                  <a:cubicBezTo>
                    <a:pt x="0" y="19"/>
                    <a:pt x="11" y="4"/>
                    <a:pt x="27" y="2"/>
                  </a:cubicBezTo>
                  <a:cubicBezTo>
                    <a:pt x="42" y="0"/>
                    <a:pt x="57" y="11"/>
                    <a:pt x="59" y="27"/>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 name="Freeform 183">
              <a:extLst>
                <a:ext uri="{FF2B5EF4-FFF2-40B4-BE49-F238E27FC236}">
                  <a16:creationId xmlns:a16="http://schemas.microsoft.com/office/drawing/2014/main" id="{061D75B6-05D4-4636-A6AF-B74009B17ADD}"/>
                </a:ext>
              </a:extLst>
            </p:cNvPr>
            <p:cNvSpPr>
              <a:spLocks/>
            </p:cNvSpPr>
            <p:nvPr/>
          </p:nvSpPr>
          <p:spPr bwMode="auto">
            <a:xfrm>
              <a:off x="3187700" y="5040316"/>
              <a:ext cx="184150" cy="173038"/>
            </a:xfrm>
            <a:custGeom>
              <a:avLst/>
              <a:gdLst>
                <a:gd name="T0" fmla="*/ 91 w 96"/>
                <a:gd name="T1" fmla="*/ 33 h 89"/>
                <a:gd name="T2" fmla="*/ 58 w 96"/>
                <a:gd name="T3" fmla="*/ 83 h 89"/>
                <a:gd name="T4" fmla="*/ 5 w 96"/>
                <a:gd name="T5" fmla="*/ 55 h 89"/>
                <a:gd name="T6" fmla="*/ 38 w 96"/>
                <a:gd name="T7" fmla="*/ 6 h 89"/>
                <a:gd name="T8" fmla="*/ 91 w 96"/>
                <a:gd name="T9" fmla="*/ 33 h 89"/>
              </a:gdLst>
              <a:ahLst/>
              <a:cxnLst>
                <a:cxn ang="0">
                  <a:pos x="T0" y="T1"/>
                </a:cxn>
                <a:cxn ang="0">
                  <a:pos x="T2" y="T3"/>
                </a:cxn>
                <a:cxn ang="0">
                  <a:pos x="T4" y="T5"/>
                </a:cxn>
                <a:cxn ang="0">
                  <a:pos x="T6" y="T7"/>
                </a:cxn>
                <a:cxn ang="0">
                  <a:pos x="T8" y="T9"/>
                </a:cxn>
              </a:cxnLst>
              <a:rect l="0" t="0" r="r" b="b"/>
              <a:pathLst>
                <a:path w="96" h="89">
                  <a:moveTo>
                    <a:pt x="91" y="33"/>
                  </a:moveTo>
                  <a:cubicBezTo>
                    <a:pt x="96" y="55"/>
                    <a:pt x="82" y="77"/>
                    <a:pt x="58" y="83"/>
                  </a:cubicBezTo>
                  <a:cubicBezTo>
                    <a:pt x="34" y="89"/>
                    <a:pt x="10" y="77"/>
                    <a:pt x="5" y="55"/>
                  </a:cubicBezTo>
                  <a:cubicBezTo>
                    <a:pt x="0" y="34"/>
                    <a:pt x="14" y="12"/>
                    <a:pt x="38" y="6"/>
                  </a:cubicBezTo>
                  <a:cubicBezTo>
                    <a:pt x="62" y="0"/>
                    <a:pt x="85" y="12"/>
                    <a:pt x="91" y="33"/>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1546224433"/>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ytuł 3">
            <a:extLst>
              <a:ext uri="{FF2B5EF4-FFF2-40B4-BE49-F238E27FC236}">
                <a16:creationId xmlns:a16="http://schemas.microsoft.com/office/drawing/2014/main" id="{BE6E47FB-5E55-45DB-B712-E4993D47A776}"/>
              </a:ext>
            </a:extLst>
          </p:cNvPr>
          <p:cNvSpPr>
            <a:spLocks noGrp="1"/>
          </p:cNvSpPr>
          <p:nvPr>
            <p:ph type="title"/>
          </p:nvPr>
        </p:nvSpPr>
        <p:spPr/>
        <p:txBody>
          <a:bodyPr/>
          <a:lstStyle/>
          <a:p>
            <a:r>
              <a:rPr lang="en-US" sz="3200" dirty="0"/>
              <a:t>Async streams</a:t>
            </a:r>
          </a:p>
        </p:txBody>
      </p:sp>
      <p:sp>
        <p:nvSpPr>
          <p:cNvPr id="5" name="Symbol zastępczy tekstu 4">
            <a:extLst>
              <a:ext uri="{FF2B5EF4-FFF2-40B4-BE49-F238E27FC236}">
                <a16:creationId xmlns:a16="http://schemas.microsoft.com/office/drawing/2014/main" id="{566C6C9B-DE4F-4D57-8491-6FC8D45FC924}"/>
              </a:ext>
            </a:extLst>
          </p:cNvPr>
          <p:cNvSpPr>
            <a:spLocks noGrp="1"/>
          </p:cNvSpPr>
          <p:nvPr>
            <p:ph type="body" sz="quarter" idx="10"/>
          </p:nvPr>
        </p:nvSpPr>
        <p:spPr/>
        <p:txBody>
          <a:bodyPr/>
          <a:lstStyle/>
          <a:p>
            <a:endParaRPr lang="en-US" dirty="0"/>
          </a:p>
        </p:txBody>
      </p:sp>
      <p:sp>
        <p:nvSpPr>
          <p:cNvPr id="6" name="Symbol zastępczy tekstu 5">
            <a:extLst>
              <a:ext uri="{FF2B5EF4-FFF2-40B4-BE49-F238E27FC236}">
                <a16:creationId xmlns:a16="http://schemas.microsoft.com/office/drawing/2014/main" id="{1302AB4B-7554-47F7-BBCD-39BD33559A94}"/>
              </a:ext>
            </a:extLst>
          </p:cNvPr>
          <p:cNvSpPr>
            <a:spLocks noGrp="1"/>
          </p:cNvSpPr>
          <p:nvPr>
            <p:ph type="body" sz="quarter" idx="11"/>
          </p:nvPr>
        </p:nvSpPr>
        <p:spPr/>
        <p:txBody>
          <a:bodyPr/>
          <a:lstStyle/>
          <a:p>
            <a:r>
              <a:rPr lang="en-US" dirty="0"/>
              <a:t>C# 7.3</a:t>
            </a:r>
          </a:p>
        </p:txBody>
      </p:sp>
      <p:sp>
        <p:nvSpPr>
          <p:cNvPr id="7" name="Symbol zastępczy tekstu 6">
            <a:extLst>
              <a:ext uri="{FF2B5EF4-FFF2-40B4-BE49-F238E27FC236}">
                <a16:creationId xmlns:a16="http://schemas.microsoft.com/office/drawing/2014/main" id="{5D8A2B1E-A86F-4A25-94A4-5CF446FD2951}"/>
              </a:ext>
            </a:extLst>
          </p:cNvPr>
          <p:cNvSpPr>
            <a:spLocks noGrp="1"/>
          </p:cNvSpPr>
          <p:nvPr>
            <p:ph type="body" sz="quarter" idx="12"/>
          </p:nvPr>
        </p:nvSpPr>
        <p:spPr/>
        <p:txBody>
          <a:bodyPr/>
          <a:lstStyle/>
          <a:p>
            <a:r>
              <a:rPr lang="en-US" dirty="0"/>
              <a:t>1</a:t>
            </a:r>
          </a:p>
        </p:txBody>
      </p:sp>
    </p:spTree>
    <p:extLst>
      <p:ext uri="{BB962C8B-B14F-4D97-AF65-F5344CB8AC3E}">
        <p14:creationId xmlns:p14="http://schemas.microsoft.com/office/powerpoint/2010/main" val="3928637596"/>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ytuł 3">
            <a:extLst>
              <a:ext uri="{FF2B5EF4-FFF2-40B4-BE49-F238E27FC236}">
                <a16:creationId xmlns:a16="http://schemas.microsoft.com/office/drawing/2014/main" id="{BE6E47FB-5E55-45DB-B712-E4993D47A776}"/>
              </a:ext>
            </a:extLst>
          </p:cNvPr>
          <p:cNvSpPr>
            <a:spLocks noGrp="1"/>
          </p:cNvSpPr>
          <p:nvPr>
            <p:ph type="title"/>
          </p:nvPr>
        </p:nvSpPr>
        <p:spPr/>
        <p:txBody>
          <a:bodyPr/>
          <a:lstStyle/>
          <a:p>
            <a:r>
              <a:rPr lang="en-US" sz="3200" dirty="0"/>
              <a:t>Async streams</a:t>
            </a:r>
          </a:p>
        </p:txBody>
      </p:sp>
      <p:sp>
        <p:nvSpPr>
          <p:cNvPr id="5" name="Symbol zastępczy tekstu 4">
            <a:extLst>
              <a:ext uri="{FF2B5EF4-FFF2-40B4-BE49-F238E27FC236}">
                <a16:creationId xmlns:a16="http://schemas.microsoft.com/office/drawing/2014/main" id="{566C6C9B-DE4F-4D57-8491-6FC8D45FC924}"/>
              </a:ext>
            </a:extLst>
          </p:cNvPr>
          <p:cNvSpPr>
            <a:spLocks noGrp="1"/>
          </p:cNvSpPr>
          <p:nvPr>
            <p:ph type="body" sz="quarter" idx="10"/>
          </p:nvPr>
        </p:nvSpPr>
        <p:spPr/>
        <p:txBody>
          <a:bodyPr/>
          <a:lstStyle/>
          <a:p>
            <a:endParaRPr lang="en-US" dirty="0"/>
          </a:p>
        </p:txBody>
      </p:sp>
      <p:sp>
        <p:nvSpPr>
          <p:cNvPr id="6" name="Symbol zastępczy tekstu 5">
            <a:extLst>
              <a:ext uri="{FF2B5EF4-FFF2-40B4-BE49-F238E27FC236}">
                <a16:creationId xmlns:a16="http://schemas.microsoft.com/office/drawing/2014/main" id="{1302AB4B-7554-47F7-BBCD-39BD33559A94}"/>
              </a:ext>
            </a:extLst>
          </p:cNvPr>
          <p:cNvSpPr>
            <a:spLocks noGrp="1"/>
          </p:cNvSpPr>
          <p:nvPr>
            <p:ph type="body" sz="quarter" idx="11"/>
          </p:nvPr>
        </p:nvSpPr>
        <p:spPr/>
        <p:txBody>
          <a:bodyPr/>
          <a:lstStyle/>
          <a:p>
            <a:r>
              <a:rPr lang="en-US" dirty="0"/>
              <a:t>C# 8.0</a:t>
            </a:r>
          </a:p>
        </p:txBody>
      </p:sp>
      <p:sp>
        <p:nvSpPr>
          <p:cNvPr id="7" name="Symbol zastępczy tekstu 6">
            <a:extLst>
              <a:ext uri="{FF2B5EF4-FFF2-40B4-BE49-F238E27FC236}">
                <a16:creationId xmlns:a16="http://schemas.microsoft.com/office/drawing/2014/main" id="{5D8A2B1E-A86F-4A25-94A4-5CF446FD2951}"/>
              </a:ext>
            </a:extLst>
          </p:cNvPr>
          <p:cNvSpPr>
            <a:spLocks noGrp="1"/>
          </p:cNvSpPr>
          <p:nvPr>
            <p:ph type="body" sz="quarter" idx="12"/>
          </p:nvPr>
        </p:nvSpPr>
        <p:spPr/>
        <p:txBody>
          <a:bodyPr/>
          <a:lstStyle/>
          <a:p>
            <a:r>
              <a:rPr lang="en-US" dirty="0"/>
              <a:t>2</a:t>
            </a:r>
          </a:p>
        </p:txBody>
      </p:sp>
    </p:spTree>
    <p:extLst>
      <p:ext uri="{BB962C8B-B14F-4D97-AF65-F5344CB8AC3E}">
        <p14:creationId xmlns:p14="http://schemas.microsoft.com/office/powerpoint/2010/main" val="3652981951"/>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pl-PL" dirty="0"/>
              <a:t>Agenda</a:t>
            </a:r>
            <a:endParaRPr lang="en-GB" dirty="0"/>
          </a:p>
        </p:txBody>
      </p:sp>
      <p:sp>
        <p:nvSpPr>
          <p:cNvPr id="5" name="Text Placeholder 4"/>
          <p:cNvSpPr>
            <a:spLocks noGrp="1"/>
          </p:cNvSpPr>
          <p:nvPr>
            <p:ph type="body" sz="quarter" idx="10"/>
          </p:nvPr>
        </p:nvSpPr>
        <p:spPr/>
        <p:txBody>
          <a:bodyPr/>
          <a:lstStyle/>
          <a:p>
            <a:pPr lvl="1"/>
            <a:r>
              <a:rPr lang="en-US" dirty="0">
                <a:solidFill>
                  <a:schemeClr val="bg1">
                    <a:lumMod val="95000"/>
                  </a:schemeClr>
                </a:solidFill>
              </a:rPr>
              <a:t>What’s new in C# 8.0</a:t>
            </a:r>
          </a:p>
          <a:p>
            <a:pPr lvl="2"/>
            <a:r>
              <a:rPr lang="en-US" dirty="0">
                <a:solidFill>
                  <a:schemeClr val="bg1">
                    <a:lumMod val="95000"/>
                  </a:schemeClr>
                </a:solidFill>
              </a:rPr>
              <a:t>Nullable reference types,</a:t>
            </a:r>
          </a:p>
          <a:p>
            <a:pPr lvl="2"/>
            <a:r>
              <a:rPr lang="en-US" dirty="0">
                <a:solidFill>
                  <a:schemeClr val="bg1">
                    <a:lumMod val="95000"/>
                  </a:schemeClr>
                </a:solidFill>
              </a:rPr>
              <a:t>async streams,</a:t>
            </a:r>
          </a:p>
          <a:p>
            <a:pPr lvl="2"/>
            <a:r>
              <a:rPr lang="en-US" dirty="0">
                <a:solidFill>
                  <a:schemeClr val="bg1">
                    <a:lumMod val="95000"/>
                  </a:schemeClr>
                </a:solidFill>
              </a:rPr>
              <a:t>ranges and indices,</a:t>
            </a:r>
          </a:p>
          <a:p>
            <a:pPr lvl="2"/>
            <a:r>
              <a:rPr lang="en-US" dirty="0">
                <a:solidFill>
                  <a:schemeClr val="bg1">
                    <a:lumMod val="95000"/>
                  </a:schemeClr>
                </a:solidFill>
              </a:rPr>
              <a:t>default interface members,</a:t>
            </a:r>
          </a:p>
          <a:p>
            <a:pPr lvl="2"/>
            <a:r>
              <a:rPr lang="en-US" dirty="0">
                <a:solidFill>
                  <a:schemeClr val="bg1">
                    <a:lumMod val="95000"/>
                  </a:schemeClr>
                </a:solidFill>
              </a:rPr>
              <a:t>recursive patterns,</a:t>
            </a:r>
          </a:p>
          <a:p>
            <a:pPr lvl="2"/>
            <a:r>
              <a:rPr lang="en-US" dirty="0">
                <a:solidFill>
                  <a:schemeClr val="bg1">
                    <a:lumMod val="95000"/>
                  </a:schemeClr>
                </a:solidFill>
              </a:rPr>
              <a:t>switch expressions,</a:t>
            </a:r>
          </a:p>
          <a:p>
            <a:pPr lvl="2"/>
            <a:r>
              <a:rPr lang="en-US" dirty="0">
                <a:solidFill>
                  <a:schemeClr val="bg1">
                    <a:lumMod val="95000"/>
                  </a:schemeClr>
                </a:solidFill>
              </a:rPr>
              <a:t>target-typed new-expressions,</a:t>
            </a:r>
          </a:p>
          <a:p>
            <a:pPr lvl="2"/>
            <a:r>
              <a:rPr lang="en-US" dirty="0">
                <a:solidFill>
                  <a:schemeClr val="bg1">
                    <a:lumMod val="95000"/>
                  </a:schemeClr>
                </a:solidFill>
              </a:rPr>
              <a:t>extension everything,</a:t>
            </a:r>
          </a:p>
          <a:p>
            <a:pPr lvl="2"/>
            <a:r>
              <a:rPr lang="en-US" dirty="0">
                <a:solidFill>
                  <a:schemeClr val="bg1">
                    <a:lumMod val="95000"/>
                  </a:schemeClr>
                </a:solidFill>
              </a:rPr>
              <a:t>using declarations.</a:t>
            </a:r>
            <a:endParaRPr lang="en-GB" dirty="0">
              <a:solidFill>
                <a:schemeClr val="bg1">
                  <a:lumMod val="95000"/>
                </a:schemeClr>
              </a:solidFill>
            </a:endParaRPr>
          </a:p>
          <a:p>
            <a:pPr lvl="2"/>
            <a:endParaRPr lang="en-GB" dirty="0">
              <a:solidFill>
                <a:schemeClr val="bg1">
                  <a:lumMod val="95000"/>
                </a:schemeClr>
              </a:solidFill>
            </a:endParaRPr>
          </a:p>
        </p:txBody>
      </p:sp>
      <p:sp>
        <p:nvSpPr>
          <p:cNvPr id="6" name="Text Placeholder 5"/>
          <p:cNvSpPr>
            <a:spLocks noGrp="1"/>
          </p:cNvSpPr>
          <p:nvPr>
            <p:ph type="body" sz="quarter" idx="11"/>
          </p:nvPr>
        </p:nvSpPr>
        <p:spPr/>
        <p:txBody>
          <a:bodyPr/>
          <a:lstStyle/>
          <a:p>
            <a:r>
              <a:rPr lang="en-US" dirty="0"/>
              <a:t>We are going to talk about…</a:t>
            </a:r>
          </a:p>
        </p:txBody>
      </p:sp>
      <p:sp>
        <p:nvSpPr>
          <p:cNvPr id="7" name="Text Placeholder 4">
            <a:extLst>
              <a:ext uri="{FF2B5EF4-FFF2-40B4-BE49-F238E27FC236}">
                <a16:creationId xmlns:a16="http://schemas.microsoft.com/office/drawing/2014/main" id="{63765791-BF79-472B-ACEA-FA2DB95D860D}"/>
              </a:ext>
            </a:extLst>
          </p:cNvPr>
          <p:cNvSpPr txBox="1">
            <a:spLocks/>
          </p:cNvSpPr>
          <p:nvPr/>
        </p:nvSpPr>
        <p:spPr>
          <a:xfrm>
            <a:off x="227348" y="1815351"/>
            <a:ext cx="11700000" cy="4466201"/>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r>
              <a:rPr lang="en-US" dirty="0"/>
              <a:t>What’s new in C# 8.0</a:t>
            </a:r>
          </a:p>
          <a:p>
            <a:pPr lvl="2"/>
            <a:r>
              <a:rPr lang="en-US" dirty="0"/>
              <a:t>Nullable reference types,</a:t>
            </a:r>
          </a:p>
          <a:p>
            <a:pPr lvl="2"/>
            <a:r>
              <a:rPr lang="en-US" dirty="0"/>
              <a:t>async streams,</a:t>
            </a:r>
          </a:p>
          <a:p>
            <a:pPr lvl="2"/>
            <a:r>
              <a:rPr lang="en-US" dirty="0"/>
              <a:t>ranges and indices,</a:t>
            </a:r>
          </a:p>
        </p:txBody>
      </p:sp>
    </p:spTree>
    <p:extLst>
      <p:ext uri="{BB962C8B-B14F-4D97-AF65-F5344CB8AC3E}">
        <p14:creationId xmlns:p14="http://schemas.microsoft.com/office/powerpoint/2010/main" val="348906273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
                                            <p:txEl>
                                              <p:pRg st="3" end="3"/>
                                            </p:txEl>
                                          </p:spTgt>
                                        </p:tgtEl>
                                        <p:attrNameLst>
                                          <p:attrName>style.visibility</p:attrName>
                                        </p:attrNameLst>
                                      </p:cBhvr>
                                      <p:to>
                                        <p:strVal val="visible"/>
                                      </p:to>
                                    </p:set>
                                    <p:animEffect transition="in" filter="fade">
                                      <p:cBhvr>
                                        <p:cTn id="7" dur="500"/>
                                        <p:tgtEl>
                                          <p:spTgt spid="7">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23A5B85C-F9EE-4523-9FF0-24A1D6C76194}" vid="{5CD0F2CD-C149-47AE-9000-EEF59CE5E48D}"/>
    </a:ext>
  </a:extLst>
</a:theme>
</file>

<file path=ppt/theme/theme2.xml><?xml version="1.0" encoding="utf-8"?>
<a:theme xmlns:a="http://schemas.openxmlformats.org/drawingml/2006/main" name="Section break">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23A5B85C-F9EE-4523-9FF0-24A1D6C76194}" vid="{DE8F4A0B-9F16-4844-BE61-471FEF40F3D8}"/>
    </a:ext>
  </a:extLst>
</a:theme>
</file>

<file path=ppt/theme/theme3.xml><?xml version="1.0" encoding="utf-8"?>
<a:theme xmlns:a="http://schemas.openxmlformats.org/drawingml/2006/main" name="Cover options">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23A5B85C-F9EE-4523-9FF0-24A1D6C76194}" vid="{BC6B8890-D991-439D-826B-DCE21B240705}"/>
    </a:ext>
  </a:extLst>
</a:theme>
</file>

<file path=ppt/theme/theme4.xml><?xml version="1.0" encoding="utf-8"?>
<a:theme xmlns:a="http://schemas.openxmlformats.org/drawingml/2006/main" name="Final slides">
  <a:themeElements>
    <a:clrScheme name="Capgemini Palette">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23A5B85C-F9EE-4523-9FF0-24A1D6C76194}" vid="{29F60F53-522A-480F-8AD4-5739EBA4B994}"/>
    </a:ext>
  </a:extLst>
</a:theme>
</file>

<file path=ppt/theme/theme5.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CSharp80</Template>
  <TotalTime>3228</TotalTime>
  <Words>4732</Words>
  <Application>Microsoft Office PowerPoint</Application>
  <PresentationFormat>Panoramiczny</PresentationFormat>
  <Paragraphs>1185</Paragraphs>
  <Slides>153</Slides>
  <Notes>8</Notes>
  <HiddenSlides>0</HiddenSlides>
  <MMClips>0</MMClips>
  <ScaleCrop>false</ScaleCrop>
  <HeadingPairs>
    <vt:vector size="8" baseType="variant">
      <vt:variant>
        <vt:lpstr>Używane czcionki</vt:lpstr>
      </vt:variant>
      <vt:variant>
        <vt:i4>3</vt:i4>
      </vt:variant>
      <vt:variant>
        <vt:lpstr>Motyw</vt:lpstr>
      </vt:variant>
      <vt:variant>
        <vt:i4>4</vt:i4>
      </vt:variant>
      <vt:variant>
        <vt:lpstr>Osadzone serwery OLE</vt:lpstr>
      </vt:variant>
      <vt:variant>
        <vt:i4>1</vt:i4>
      </vt:variant>
      <vt:variant>
        <vt:lpstr>Tytuły slajdów</vt:lpstr>
      </vt:variant>
      <vt:variant>
        <vt:i4>153</vt:i4>
      </vt:variant>
    </vt:vector>
  </HeadingPairs>
  <TitlesOfParts>
    <vt:vector size="161" baseType="lpstr">
      <vt:lpstr>Arial</vt:lpstr>
      <vt:lpstr>Verdana</vt:lpstr>
      <vt:lpstr>Wingdings</vt:lpstr>
      <vt:lpstr>Capgemini Master</vt:lpstr>
      <vt:lpstr>Section break</vt:lpstr>
      <vt:lpstr>Cover options</vt:lpstr>
      <vt:lpstr>Final slides</vt:lpstr>
      <vt:lpstr>think-cell Slide</vt:lpstr>
      <vt:lpstr>Upgrade your .NET code! From C# 7.0 to C# 8.0 walkthrough</vt:lpstr>
      <vt:lpstr>Agenda</vt:lpstr>
      <vt:lpstr>Agenda</vt:lpstr>
      <vt:lpstr>Agenda</vt:lpstr>
      <vt:lpstr>Prezentacja programu PowerPoint</vt:lpstr>
      <vt:lpstr>Agenda</vt:lpstr>
      <vt:lpstr>The recent C# versions timeline C# 8.0 pre-requirements</vt:lpstr>
      <vt:lpstr>Agenda</vt:lpstr>
      <vt:lpstr>Dive into an example</vt:lpstr>
      <vt:lpstr>Example</vt:lpstr>
      <vt:lpstr>Example</vt:lpstr>
      <vt:lpstr>Prezentacja programu PowerPoint</vt:lpstr>
      <vt:lpstr>Agenda</vt:lpstr>
      <vt:lpstr>Prezentacja programu PowerPoint</vt:lpstr>
      <vt:lpstr>Async Main method</vt:lpstr>
      <vt:lpstr>Async Main method</vt:lpstr>
      <vt:lpstr>Async Main method</vt:lpstr>
      <vt:lpstr>Async Main method</vt:lpstr>
      <vt:lpstr>Async Main method</vt:lpstr>
      <vt:lpstr>Async Main method</vt:lpstr>
      <vt:lpstr>Async Main method</vt:lpstr>
      <vt:lpstr>Agenda</vt:lpstr>
      <vt:lpstr>Prezentacja programu PowerPoint</vt:lpstr>
      <vt:lpstr>Default literal expressions</vt:lpstr>
      <vt:lpstr>Default literal expressions</vt:lpstr>
      <vt:lpstr>Agenda</vt:lpstr>
      <vt:lpstr>Prezentacja programu PowerPoint</vt:lpstr>
      <vt:lpstr>Inferred tuple element names</vt:lpstr>
      <vt:lpstr>Inferred tuple element names</vt:lpstr>
      <vt:lpstr>Prezentacja programu PowerPoint</vt:lpstr>
      <vt:lpstr>Agenda</vt:lpstr>
      <vt:lpstr>Prezentacja programu PowerPoint</vt:lpstr>
      <vt:lpstr>Safe efficient code enhancements</vt:lpstr>
      <vt:lpstr>Safe efficient code enhancements</vt:lpstr>
      <vt:lpstr>Agenda</vt:lpstr>
      <vt:lpstr>Prezentacja programu PowerPoint</vt:lpstr>
      <vt:lpstr>Non-trailing named arguments</vt:lpstr>
      <vt:lpstr>Non-trailing named arguments</vt:lpstr>
      <vt:lpstr>Agenda</vt:lpstr>
      <vt:lpstr>Prezentacja programu PowerPoint</vt:lpstr>
      <vt:lpstr>Leading underscores in numeric literals</vt:lpstr>
      <vt:lpstr>Leading underscores in numeric literals</vt:lpstr>
      <vt:lpstr>Agenda</vt:lpstr>
      <vt:lpstr>Prezentacja programu PowerPoint</vt:lpstr>
      <vt:lpstr>Private protected access modifier</vt:lpstr>
      <vt:lpstr>Private protected access modifier</vt:lpstr>
      <vt:lpstr>Agenda</vt:lpstr>
      <vt:lpstr>Prezentacja programu PowerPoint</vt:lpstr>
      <vt:lpstr>Conditional ref expressions</vt:lpstr>
      <vt:lpstr>Conditional ref expressions</vt:lpstr>
      <vt:lpstr>Prezentacja programu PowerPoint</vt:lpstr>
      <vt:lpstr>Agenda</vt:lpstr>
      <vt:lpstr>Prezentacja programu PowerPoint</vt:lpstr>
      <vt:lpstr>Fixed fields without pinning access</vt:lpstr>
      <vt:lpstr>Fixed fields without pinning access</vt:lpstr>
      <vt:lpstr>Agenda</vt:lpstr>
      <vt:lpstr>Prezentacja programu PowerPoint</vt:lpstr>
      <vt:lpstr>Local ref variables reassignment</vt:lpstr>
      <vt:lpstr>Local ref variables reassignment</vt:lpstr>
      <vt:lpstr>Agenda</vt:lpstr>
      <vt:lpstr>Prezentacja programu PowerPoint</vt:lpstr>
      <vt:lpstr>Array initializers with stackalloc</vt:lpstr>
      <vt:lpstr>Array initializers with stackalloc</vt:lpstr>
      <vt:lpstr>Agenda</vt:lpstr>
      <vt:lpstr>Prezentacja programu PowerPoint</vt:lpstr>
      <vt:lpstr>Extended fixed support for types</vt:lpstr>
      <vt:lpstr>Extended fixed support for types</vt:lpstr>
      <vt:lpstr>Agenda</vt:lpstr>
      <vt:lpstr>Prezentacja programu PowerPoint</vt:lpstr>
      <vt:lpstr>Enhanced generic constraints</vt:lpstr>
      <vt:lpstr>Enhanced generic constraints</vt:lpstr>
      <vt:lpstr>Agenda</vt:lpstr>
      <vt:lpstr>Prezentacja programu PowerPoint</vt:lpstr>
      <vt:lpstr>Equality comparator tuple support</vt:lpstr>
      <vt:lpstr>Equality comparator tuple support</vt:lpstr>
      <vt:lpstr>Agenda</vt:lpstr>
      <vt:lpstr>Prezentacja programu PowerPoint</vt:lpstr>
      <vt:lpstr>Field attributes for auto-implemented properties</vt:lpstr>
      <vt:lpstr>Field attributes for auto-implemented properties</vt:lpstr>
      <vt:lpstr>Agenda</vt:lpstr>
      <vt:lpstr>Prezentacja programu PowerPoint</vt:lpstr>
      <vt:lpstr>In method overload</vt:lpstr>
      <vt:lpstr>In method overload</vt:lpstr>
      <vt:lpstr>Agenda</vt:lpstr>
      <vt:lpstr>Prezentacja programu PowerPoint</vt:lpstr>
      <vt:lpstr>Extend expression variables in initializers</vt:lpstr>
      <vt:lpstr>Extend expression variables in initializers</vt:lpstr>
      <vt:lpstr>Prezentacja programu PowerPoint</vt:lpstr>
      <vt:lpstr>Agenda</vt:lpstr>
      <vt:lpstr>Prezentacja programu PowerPoint</vt:lpstr>
      <vt:lpstr>Nullable reference types</vt:lpstr>
      <vt:lpstr>Nullable reference types</vt:lpstr>
      <vt:lpstr>Nullable reference types</vt:lpstr>
      <vt:lpstr>Nullable reference types</vt:lpstr>
      <vt:lpstr>Agenda</vt:lpstr>
      <vt:lpstr>Prezentacja programu PowerPoint</vt:lpstr>
      <vt:lpstr>Async streams</vt:lpstr>
      <vt:lpstr>Async streams</vt:lpstr>
      <vt:lpstr>Agenda</vt:lpstr>
      <vt:lpstr>Prezentacja programu PowerPoint</vt:lpstr>
      <vt:lpstr>Ranges and indices</vt:lpstr>
      <vt:lpstr>Ranges and indices</vt:lpstr>
      <vt:lpstr>Agenda</vt:lpstr>
      <vt:lpstr>Prezentacja programu PowerPoint</vt:lpstr>
      <vt:lpstr>Default interface members</vt:lpstr>
      <vt:lpstr>Default interface members</vt:lpstr>
      <vt:lpstr>Default interface members</vt:lpstr>
      <vt:lpstr>Default interface members</vt:lpstr>
      <vt:lpstr>Default interface members</vt:lpstr>
      <vt:lpstr>Default interface members</vt:lpstr>
      <vt:lpstr>Default interface members</vt:lpstr>
      <vt:lpstr>Default interface members</vt:lpstr>
      <vt:lpstr>Default interface members</vt:lpstr>
      <vt:lpstr>Default interface members</vt:lpstr>
      <vt:lpstr>Default interface members</vt:lpstr>
      <vt:lpstr>Default interface members</vt:lpstr>
      <vt:lpstr>Default interface members</vt:lpstr>
      <vt:lpstr>Agenda</vt:lpstr>
      <vt:lpstr>Prezentacja programu PowerPoint</vt:lpstr>
      <vt:lpstr>Pattern matching</vt:lpstr>
      <vt:lpstr>Pattern matching</vt:lpstr>
      <vt:lpstr>Recursive patterns</vt:lpstr>
      <vt:lpstr>Recursive patterns</vt:lpstr>
      <vt:lpstr>Agenda</vt:lpstr>
      <vt:lpstr>Prezentacja programu PowerPoint</vt:lpstr>
      <vt:lpstr>Switch statements</vt:lpstr>
      <vt:lpstr>Switch statements</vt:lpstr>
      <vt:lpstr>Switch statements</vt:lpstr>
      <vt:lpstr>Switch statements</vt:lpstr>
      <vt:lpstr>Switch statements</vt:lpstr>
      <vt:lpstr>Switch expressions</vt:lpstr>
      <vt:lpstr>Switch expressions</vt:lpstr>
      <vt:lpstr>Switch expressions</vt:lpstr>
      <vt:lpstr>Switch expressions</vt:lpstr>
      <vt:lpstr>Switch expressions</vt:lpstr>
      <vt:lpstr>Agenda</vt:lpstr>
      <vt:lpstr>Prezentacja programu PowerPoint</vt:lpstr>
      <vt:lpstr>Target-typed new-expressions</vt:lpstr>
      <vt:lpstr>Target-typed new-expressions</vt:lpstr>
      <vt:lpstr>Agenda</vt:lpstr>
      <vt:lpstr>Prezentacja programu PowerPoint</vt:lpstr>
      <vt:lpstr>Extension everything</vt:lpstr>
      <vt:lpstr>Extension everything</vt:lpstr>
      <vt:lpstr>Agenda</vt:lpstr>
      <vt:lpstr>Prezentacja programu PowerPoint</vt:lpstr>
      <vt:lpstr>Using declarations</vt:lpstr>
      <vt:lpstr>Using declarations</vt:lpstr>
      <vt:lpstr>Prezentacja programu PowerPoint</vt:lpstr>
      <vt:lpstr>Prezentacja programu PowerPoint</vt:lpstr>
      <vt:lpstr>Title (Work for 1 or 2 lines of title)</vt:lpstr>
      <vt:lpstr>Title (Work for 1 or 2 lines of title)</vt:lpstr>
      <vt:lpstr>Title (Work for 1 or 2 lines of title)</vt:lpstr>
      <vt:lpstr>Title (Work for 1 or 2 lines of title)</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hat is new in C#8.0?</dc:title>
  <dc:subject>ppt template</dc:subject>
  <dc:creator>Tomasz Strzałka</dc:creator>
  <cp:lastModifiedBy>Tomasz Strzałka</cp:lastModifiedBy>
  <cp:revision>179</cp:revision>
  <dcterms:created xsi:type="dcterms:W3CDTF">2019-02-10T09:17:17Z</dcterms:created>
  <dcterms:modified xsi:type="dcterms:W3CDTF">2019-03-02T19:43:04Z</dcterms:modified>
</cp:coreProperties>
</file>